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403.xml" ContentType="application/vnd.openxmlformats-officedocument.presentationml.tags+xml"/>
  <Override PartName="/ppt/notesSlides/notesSlide4.xml" ContentType="application/vnd.openxmlformats-officedocument.presentationml.notesSlide+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notesSlides/notesSlide5.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charts/chart22.xml" ContentType="application/vnd.openxmlformats-officedocument.drawingml.chart+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charts/chart23.xml" ContentType="application/vnd.openxmlformats-officedocument.drawingml.chart+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notesSlides/notesSlide6.xml" ContentType="application/vnd.openxmlformats-officedocument.presentationml.notesSlide+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charts/chart28.xml" ContentType="application/vnd.openxmlformats-officedocument.drawingml.chart+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notesSlides/notesSlide7.xml" ContentType="application/vnd.openxmlformats-officedocument.presentationml.notesSlide+xml"/>
  <Override PartName="/ppt/charts/chart29.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90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bookmarkIdSeed="9">
  <p:sldMasterIdLst>
    <p:sldMasterId id="2147483660" r:id="rId1"/>
  </p:sldMasterIdLst>
  <p:notesMasterIdLst>
    <p:notesMasterId r:id="rId79"/>
  </p:notesMasterIdLst>
  <p:handoutMasterIdLst>
    <p:handoutMasterId r:id="rId80"/>
  </p:handoutMasterIdLst>
  <p:sldIdLst>
    <p:sldId id="665" r:id="rId2"/>
    <p:sldId id="2147470414" r:id="rId3"/>
    <p:sldId id="2147470415" r:id="rId4"/>
    <p:sldId id="366" r:id="rId5"/>
    <p:sldId id="2147470385" r:id="rId6"/>
    <p:sldId id="2147470382" r:id="rId7"/>
    <p:sldId id="681" r:id="rId8"/>
    <p:sldId id="2147470383" r:id="rId9"/>
    <p:sldId id="2147470384" r:id="rId10"/>
    <p:sldId id="2147470386" r:id="rId11"/>
    <p:sldId id="2147470387" r:id="rId12"/>
    <p:sldId id="2147470388" r:id="rId13"/>
    <p:sldId id="367" r:id="rId14"/>
    <p:sldId id="693" r:id="rId15"/>
    <p:sldId id="708" r:id="rId16"/>
    <p:sldId id="703" r:id="rId17"/>
    <p:sldId id="727" r:id="rId18"/>
    <p:sldId id="707" r:id="rId19"/>
    <p:sldId id="717" r:id="rId20"/>
    <p:sldId id="730" r:id="rId21"/>
    <p:sldId id="731" r:id="rId22"/>
    <p:sldId id="699" r:id="rId23"/>
    <p:sldId id="732" r:id="rId24"/>
    <p:sldId id="558" r:id="rId25"/>
    <p:sldId id="560" r:id="rId26"/>
    <p:sldId id="615" r:id="rId27"/>
    <p:sldId id="2147470343" r:id="rId28"/>
    <p:sldId id="589" r:id="rId29"/>
    <p:sldId id="553" r:id="rId30"/>
    <p:sldId id="657" r:id="rId31"/>
    <p:sldId id="663" r:id="rId32"/>
    <p:sldId id="729" r:id="rId33"/>
    <p:sldId id="728" r:id="rId34"/>
    <p:sldId id="694" r:id="rId35"/>
    <p:sldId id="715" r:id="rId36"/>
    <p:sldId id="664" r:id="rId37"/>
    <p:sldId id="564" r:id="rId38"/>
    <p:sldId id="456" r:id="rId39"/>
    <p:sldId id="686" r:id="rId40"/>
    <p:sldId id="687" r:id="rId41"/>
    <p:sldId id="725" r:id="rId42"/>
    <p:sldId id="551" r:id="rId43"/>
    <p:sldId id="459" r:id="rId44"/>
    <p:sldId id="460" r:id="rId45"/>
    <p:sldId id="461" r:id="rId46"/>
    <p:sldId id="565" r:id="rId47"/>
    <p:sldId id="481" r:id="rId48"/>
    <p:sldId id="666" r:id="rId49"/>
    <p:sldId id="462" r:id="rId50"/>
    <p:sldId id="688" r:id="rId51"/>
    <p:sldId id="594" r:id="rId52"/>
    <p:sldId id="2147470413" r:id="rId53"/>
    <p:sldId id="722" r:id="rId54"/>
    <p:sldId id="638" r:id="rId55"/>
    <p:sldId id="2147470412" r:id="rId56"/>
    <p:sldId id="2147470376" r:id="rId57"/>
    <p:sldId id="692" r:id="rId58"/>
    <p:sldId id="567" r:id="rId59"/>
    <p:sldId id="463" r:id="rId60"/>
    <p:sldId id="571" r:id="rId61"/>
    <p:sldId id="420" r:id="rId62"/>
    <p:sldId id="495" r:id="rId63"/>
    <p:sldId id="718" r:id="rId64"/>
    <p:sldId id="470" r:id="rId65"/>
    <p:sldId id="419" r:id="rId66"/>
    <p:sldId id="704" r:id="rId67"/>
    <p:sldId id="465" r:id="rId68"/>
    <p:sldId id="689" r:id="rId69"/>
    <p:sldId id="466" r:id="rId70"/>
    <p:sldId id="678" r:id="rId71"/>
    <p:sldId id="726" r:id="rId72"/>
    <p:sldId id="479" r:id="rId73"/>
    <p:sldId id="480" r:id="rId74"/>
    <p:sldId id="705" r:id="rId75"/>
    <p:sldId id="720" r:id="rId76"/>
    <p:sldId id="719" r:id="rId77"/>
    <p:sldId id="608" r:id="rId78"/>
  </p:sldIdLst>
  <p:sldSz cx="9906000" cy="6858000" type="A4"/>
  <p:notesSz cx="6858000" cy="9945688"/>
  <p:custDataLst>
    <p:tags r:id="rId8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7" pos="6114" userDrawn="1">
          <p15:clr>
            <a:srgbClr val="A4A3A4"/>
          </p15:clr>
        </p15:guide>
        <p15:guide id="8" orient="horz" pos="709" userDrawn="1">
          <p15:clr>
            <a:srgbClr val="A4A3A4"/>
          </p15:clr>
        </p15:guide>
        <p15:guide id="10" pos="716" userDrawn="1">
          <p15:clr>
            <a:srgbClr val="A4A3A4"/>
          </p15:clr>
        </p15:guide>
        <p15:guide id="11" pos="126" userDrawn="1">
          <p15:clr>
            <a:srgbClr val="A4A3A4"/>
          </p15:clr>
        </p15:guide>
        <p15:guide id="13" orient="horz" pos="2795" userDrawn="1">
          <p15:clr>
            <a:srgbClr val="A4A3A4"/>
          </p15:clr>
        </p15:guide>
        <p15:guide id="15" orient="horz" pos="4247">
          <p15:clr>
            <a:srgbClr val="A4A3A4"/>
          </p15:clr>
        </p15:guide>
        <p15:guide id="16" orient="horz" userDrawn="1">
          <p15:clr>
            <a:srgbClr val="A4A3A4"/>
          </p15:clr>
        </p15:guide>
        <p15:guide id="17" orient="horz" pos="1979" userDrawn="1">
          <p15:clr>
            <a:srgbClr val="A4A3A4"/>
          </p15:clr>
        </p15:guide>
        <p15:guide id="18" pos="5524" userDrawn="1">
          <p15:clr>
            <a:srgbClr val="A4A3A4"/>
          </p15:clr>
        </p15:guide>
        <p15:guide id="19" pos="3120" userDrawn="1">
          <p15:clr>
            <a:srgbClr val="A4A3A4"/>
          </p15:clr>
        </p15:guide>
        <p15:guide id="20" orient="horz" pos="2432" userDrawn="1">
          <p15:clr>
            <a:srgbClr val="A4A3A4"/>
          </p15:clr>
        </p15:guide>
        <p15:guide id="21"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CCE8"/>
    <a:srgbClr val="C0E6F4"/>
    <a:srgbClr val="1F497D"/>
    <a:srgbClr val="A2BBDC"/>
    <a:srgbClr val="F0F4FA"/>
    <a:srgbClr val="AA8622"/>
    <a:srgbClr val="CFCFCF"/>
    <a:srgbClr val="DCDCDC"/>
    <a:srgbClr val="DADADA"/>
    <a:srgbClr val="E4E4E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B0BCC95-9675-45C2-8900-0C6AFC5F81D7}" v="1" dt="2023-03-27T08:28:02.080"/>
    <p1510:client id="{D13438E5-1AD0-422A-A5F4-B51E3CAA3D12}" v="2" dt="2023-03-28T06:57:44.653"/>
    <p1510:client id="{D32C31B2-8BF5-4C72-B1D7-94346CEFF01F}" v="2" dt="2023-03-28T02:35:34.217"/>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3636" autoAdjust="0"/>
    <p:restoredTop sz="91979" autoAdjust="0"/>
  </p:normalViewPr>
  <p:slideViewPr>
    <p:cSldViewPr>
      <p:cViewPr varScale="1">
        <p:scale>
          <a:sx n="62" d="100"/>
          <a:sy n="62" d="100"/>
        </p:scale>
        <p:origin x="1328" y="40"/>
      </p:cViewPr>
      <p:guideLst>
        <p:guide pos="6114"/>
        <p:guide orient="horz" pos="709"/>
        <p:guide pos="716"/>
        <p:guide pos="126"/>
        <p:guide orient="horz" pos="2795"/>
        <p:guide orient="horz" pos="4247"/>
        <p:guide orient="horz"/>
        <p:guide orient="horz" pos="1979"/>
        <p:guide pos="5524"/>
        <p:guide pos="3120"/>
        <p:guide orient="horz" pos="2432"/>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notesMaster" Target="notesMasters/notesMaster1.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handoutMaster" Target="handoutMasters/handoutMaster1.xml"/><Relationship Id="rId85"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tags" Target="tags/tag1.xml"/><Relationship Id="rId86"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61" Type="http://schemas.openxmlformats.org/officeDocument/2006/relationships/slide" Target="slides/slide60.xml"/><Relationship Id="rId8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669025952140209E-2"/>
          <c:y val="0.1336206896551724"/>
          <c:w val="0.907819346140883"/>
          <c:h val="0.7995689655172413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3502155172413793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940-4803-8477-524D1DFF004F}"/>
                </c:ext>
              </c:extLst>
            </c:dLbl>
            <c:dLbl>
              <c:idx val="1"/>
              <c:layout>
                <c:manualLayout>
                  <c:x val="0"/>
                  <c:y val="-0.3534482758620689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940-4803-8477-524D1DFF004F}"/>
                </c:ext>
              </c:extLst>
            </c:dLbl>
            <c:dLbl>
              <c:idx val="2"/>
              <c:layout>
                <c:manualLayout>
                  <c:x val="0"/>
                  <c:y val="-0.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940-4803-8477-524D1DFF004F}"/>
                </c:ext>
              </c:extLst>
            </c:dLbl>
            <c:dLbl>
              <c:idx val="3"/>
              <c:layout>
                <c:manualLayout>
                  <c:x val="0"/>
                  <c:y val="-0.465517241379310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940-4803-8477-524D1DFF004F}"/>
                </c:ext>
              </c:extLst>
            </c:dLbl>
            <c:dLbl>
              <c:idx val="4"/>
              <c:layout>
                <c:manualLayout>
                  <c:x val="0"/>
                  <c:y val="-0.4439655172413793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940-4803-8477-524D1DFF004F}"/>
                </c:ext>
              </c:extLst>
            </c:dLbl>
            <c:dLbl>
              <c:idx val="5"/>
              <c:layout>
                <c:manualLayout>
                  <c:x val="0"/>
                  <c:y val="-0.4321120689655172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940-4803-8477-524D1DFF004F}"/>
                </c:ext>
              </c:extLst>
            </c:dLbl>
            <c:dLbl>
              <c:idx val="6"/>
              <c:layout>
                <c:manualLayout>
                  <c:x val="0"/>
                  <c:y val="-0.4127155172413793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940-4803-8477-524D1DFF004F}"/>
                </c:ext>
              </c:extLst>
            </c:dLbl>
            <c:dLbl>
              <c:idx val="7"/>
              <c:layout>
                <c:manualLayout>
                  <c:x val="0"/>
                  <c:y val="-0.3911637931034482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940-4803-8477-524D1DFF004F}"/>
                </c:ext>
              </c:extLst>
            </c:dLbl>
            <c:dLbl>
              <c:idx val="8"/>
              <c:layout>
                <c:manualLayout>
                  <c:x val="0"/>
                  <c:y val="-0.3771551724137930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940-4803-8477-524D1DFF004F}"/>
                </c:ext>
              </c:extLst>
            </c:dLbl>
            <c:dLbl>
              <c:idx val="9"/>
              <c:layout>
                <c:manualLayout>
                  <c:x val="0"/>
                  <c:y val="-0.3803879310344827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940-4803-8477-524D1DFF004F}"/>
                </c:ext>
              </c:extLst>
            </c:dLbl>
            <c:dLbl>
              <c:idx val="10"/>
              <c:layout>
                <c:manualLayout>
                  <c:x val="0"/>
                  <c:y val="-0.3825431034482758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940-4803-8477-524D1DFF004F}"/>
                </c:ext>
              </c:extLst>
            </c:dLbl>
            <c:dLbl>
              <c:idx val="11"/>
              <c:layout>
                <c:manualLayout>
                  <c:x val="0"/>
                  <c:y val="-0.3857758620689655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940-4803-8477-524D1DFF004F}"/>
                </c:ext>
              </c:extLst>
            </c:dLbl>
            <c:dLbl>
              <c:idx val="12"/>
              <c:layout>
                <c:manualLayout>
                  <c:x val="0"/>
                  <c:y val="-0.3890086206896551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940-4803-8477-524D1DFF004F}"/>
                </c:ext>
              </c:extLst>
            </c:dLbl>
            <c:dLbl>
              <c:idx val="13"/>
              <c:layout>
                <c:manualLayout>
                  <c:x val="0"/>
                  <c:y val="-0.3911637931034482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940-4803-8477-524D1DFF004F}"/>
                </c:ext>
              </c:extLst>
            </c:dLbl>
            <c:dLbl>
              <c:idx val="14"/>
              <c:layout>
                <c:manualLayout>
                  <c:x val="0"/>
                  <c:y val="-0.3943965517241379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940-4803-8477-524D1DFF004F}"/>
                </c:ext>
              </c:extLst>
            </c:dLbl>
            <c:dLbl>
              <c:idx val="15"/>
              <c:layout>
                <c:manualLayout>
                  <c:x val="0"/>
                  <c:y val="-0.3965517241379310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940-4803-8477-524D1DFF004F}"/>
                </c:ext>
              </c:extLst>
            </c:dLbl>
            <c:dLbl>
              <c:idx val="16"/>
              <c:layout>
                <c:manualLayout>
                  <c:x val="0"/>
                  <c:y val="-0.3997844827586206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940-4803-8477-524D1DFF004F}"/>
                </c:ext>
              </c:extLst>
            </c:dLbl>
            <c:dLbl>
              <c:idx val="17"/>
              <c:layout>
                <c:manualLayout>
                  <c:x val="0"/>
                  <c:y val="-0.4019396551724138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940-4803-8477-524D1DFF004F}"/>
                </c:ext>
              </c:extLst>
            </c:dLbl>
            <c:dLbl>
              <c:idx val="18"/>
              <c:layout>
                <c:manualLayout>
                  <c:x val="0"/>
                  <c:y val="-0.4051724137931034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940-4803-8477-524D1DFF004F}"/>
                </c:ext>
              </c:extLst>
            </c:dLbl>
            <c:dLbl>
              <c:idx val="19"/>
              <c:layout>
                <c:manualLayout>
                  <c:x val="0"/>
                  <c:y val="-0.4073275862068965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940-4803-8477-524D1DFF004F}"/>
                </c:ext>
              </c:extLst>
            </c:dLbl>
            <c:dLbl>
              <c:idx val="20"/>
              <c:layout>
                <c:manualLayout>
                  <c:x val="0"/>
                  <c:y val="-0.4094827586206896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940-4803-8477-524D1DFF004F}"/>
                </c:ext>
              </c:extLst>
            </c:dLbl>
            <c:dLbl>
              <c:idx val="21"/>
              <c:layout>
                <c:manualLayout>
                  <c:x val="0"/>
                  <c:y val="-0.4116379310344827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940-4803-8477-524D1DFF004F}"/>
                </c:ext>
              </c:extLst>
            </c:dLbl>
            <c:dLbl>
              <c:idx val="22"/>
              <c:layout>
                <c:manualLayout>
                  <c:x val="0"/>
                  <c:y val="-0.4267241379310344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940-4803-8477-524D1DFF004F}"/>
                </c:ext>
              </c:extLst>
            </c:dLbl>
            <c:dLbl>
              <c:idx val="23"/>
              <c:layout>
                <c:manualLayout>
                  <c:x val="0"/>
                  <c:y val="-0.4364224137931034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940-4803-8477-524D1DFF004F}"/>
                </c:ext>
              </c:extLst>
            </c:dLbl>
            <c:dLbl>
              <c:idx val="24"/>
              <c:layout>
                <c:manualLayout>
                  <c:x val="0"/>
                  <c:y val="-0.4385775862068965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940-4803-8477-524D1DFF004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75.87371999999999</c:v>
                </c:pt>
                <c:pt idx="1">
                  <c:v>178.211882</c:v>
                </c:pt>
                <c:pt idx="2">
                  <c:v>180.476686</c:v>
                </c:pt>
                <c:pt idx="3">
                  <c:v>182.629278</c:v>
                </c:pt>
                <c:pt idx="4">
                  <c:v>184.72204300000001</c:v>
                </c:pt>
                <c:pt idx="5">
                  <c:v>186.79733400000001</c:v>
                </c:pt>
                <c:pt idx="6">
                  <c:v>188.82068200000001</c:v>
                </c:pt>
                <c:pt idx="7">
                  <c:v>190.77945299999999</c:v>
                </c:pt>
                <c:pt idx="8">
                  <c:v>192.67231699999999</c:v>
                </c:pt>
                <c:pt idx="9">
                  <c:v>194.517549</c:v>
                </c:pt>
                <c:pt idx="10">
                  <c:v>196.35349199999999</c:v>
                </c:pt>
                <c:pt idx="11">
                  <c:v>198.18530200000001</c:v>
                </c:pt>
                <c:pt idx="12">
                  <c:v>199.97770700000001</c:v>
                </c:pt>
                <c:pt idx="13">
                  <c:v>201.721767</c:v>
                </c:pt>
                <c:pt idx="14">
                  <c:v>203.45965100000001</c:v>
                </c:pt>
                <c:pt idx="15">
                  <c:v>205.18820500000001</c:v>
                </c:pt>
                <c:pt idx="16">
                  <c:v>206.859578</c:v>
                </c:pt>
                <c:pt idx="17">
                  <c:v>208.50496000000001</c:v>
                </c:pt>
                <c:pt idx="18">
                  <c:v>210.16659300000001</c:v>
                </c:pt>
                <c:pt idx="19">
                  <c:v>211.78287800000001</c:v>
                </c:pt>
                <c:pt idx="20">
                  <c:v>213.196304</c:v>
                </c:pt>
                <c:pt idx="21">
                  <c:v>214.326223</c:v>
                </c:pt>
                <c:pt idx="22">
                  <c:v>223.90896900000001</c:v>
                </c:pt>
                <c:pt idx="23">
                  <c:v>230.132293</c:v>
                </c:pt>
                <c:pt idx="24">
                  <c:v>230.88572500000001</c:v>
                </c:pt>
              </c:numCache>
            </c:numRef>
          </c:val>
          <c:extLst>
            <c:ext xmlns:c16="http://schemas.microsoft.com/office/drawing/2014/chart" uri="{C3380CC4-5D6E-409C-BE32-E72D297353CC}">
              <c16:uniqueId val="{00000019-2940-4803-8477-524D1DFF004F}"/>
            </c:ext>
          </c:extLst>
        </c:ser>
        <c:dLbls>
          <c:showLegendKey val="0"/>
          <c:showVal val="0"/>
          <c:showCatName val="0"/>
          <c:showSerName val="0"/>
          <c:showPercent val="0"/>
          <c:showBubbleSize val="0"/>
        </c:dLbls>
        <c:gapWidth val="60"/>
        <c:overlap val="100"/>
        <c:axId val="654395935"/>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163793103448275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940-4803-8477-524D1DFF004F}"/>
                </c:ext>
              </c:extLst>
            </c:dLbl>
            <c:dLbl>
              <c:idx val="1"/>
              <c:layout>
                <c:manualLayout>
                  <c:x val="0"/>
                  <c:y val="-0.1163793103448275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2940-4803-8477-524D1DFF004F}"/>
                </c:ext>
              </c:extLst>
            </c:dLbl>
            <c:dLbl>
              <c:idx val="5"/>
              <c:layout>
                <c:manualLayout>
                  <c:x val="0"/>
                  <c:y val="0.1163793103448275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2940-4803-8477-524D1DFF004F}"/>
                </c:ext>
              </c:extLst>
            </c:dLbl>
            <c:dLbl>
              <c:idx val="6"/>
              <c:layout>
                <c:manualLayout>
                  <c:x val="0"/>
                  <c:y val="0.1163793103448275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2940-4803-8477-524D1DFF004F}"/>
                </c:ext>
              </c:extLst>
            </c:dLbl>
            <c:dLbl>
              <c:idx val="7"/>
              <c:layout>
                <c:manualLayout>
                  <c:x val="0"/>
                  <c:y val="0.1163793103448275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2940-4803-8477-524D1DFF004F}"/>
                </c:ext>
              </c:extLst>
            </c:dLbl>
            <c:dLbl>
              <c:idx val="8"/>
              <c:layout>
                <c:manualLayout>
                  <c:x val="0"/>
                  <c:y val="0.1163793103448275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2940-4803-8477-524D1DFF004F}"/>
                </c:ext>
              </c:extLst>
            </c:dLbl>
            <c:dLbl>
              <c:idx val="9"/>
              <c:layout>
                <c:manualLayout>
                  <c:x val="0"/>
                  <c:y val="0.1163793103448275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2940-4803-8477-524D1DFF004F}"/>
                </c:ext>
              </c:extLst>
            </c:dLbl>
            <c:dLbl>
              <c:idx val="10"/>
              <c:layout>
                <c:manualLayout>
                  <c:x val="0"/>
                  <c:y val="0.1163793103448275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2940-4803-8477-524D1DFF004F}"/>
                </c:ext>
              </c:extLst>
            </c:dLbl>
            <c:dLbl>
              <c:idx val="11"/>
              <c:layout>
                <c:manualLayout>
                  <c:x val="0"/>
                  <c:y val="0.1163793103448275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2940-4803-8477-524D1DFF004F}"/>
                </c:ext>
              </c:extLst>
            </c:dLbl>
            <c:dLbl>
              <c:idx val="12"/>
              <c:layout>
                <c:manualLayout>
                  <c:x val="0"/>
                  <c:y val="0.1163793103448275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2940-4803-8477-524D1DFF004F}"/>
                </c:ext>
              </c:extLst>
            </c:dLbl>
            <c:dLbl>
              <c:idx val="13"/>
              <c:layout>
                <c:manualLayout>
                  <c:x val="0"/>
                  <c:y val="0.1163793103448275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2940-4803-8477-524D1DFF004F}"/>
                </c:ext>
              </c:extLst>
            </c:dLbl>
            <c:dLbl>
              <c:idx val="14"/>
              <c:layout>
                <c:manualLayout>
                  <c:x val="0"/>
                  <c:y val="0.1163793103448275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2940-4803-8477-524D1DFF004F}"/>
                </c:ext>
              </c:extLst>
            </c:dLbl>
            <c:dLbl>
              <c:idx val="15"/>
              <c:layout>
                <c:manualLayout>
                  <c:x val="0"/>
                  <c:y val="0.1163793103448275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2940-4803-8477-524D1DFF004F}"/>
                </c:ext>
              </c:extLst>
            </c:dLbl>
            <c:dLbl>
              <c:idx val="16"/>
              <c:layout>
                <c:manualLayout>
                  <c:x val="0"/>
                  <c:y val="0.1163793103448275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2940-4803-8477-524D1DFF004F}"/>
                </c:ext>
              </c:extLst>
            </c:dLbl>
            <c:dLbl>
              <c:idx val="17"/>
              <c:layout>
                <c:manualLayout>
                  <c:x val="0"/>
                  <c:y val="0.1163793103448275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2940-4803-8477-524D1DFF004F}"/>
                </c:ext>
              </c:extLst>
            </c:dLbl>
            <c:dLbl>
              <c:idx val="18"/>
              <c:layout>
                <c:manualLayout>
                  <c:x val="0"/>
                  <c:y val="0.1163793103448275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2940-4803-8477-524D1DFF004F}"/>
                </c:ext>
              </c:extLst>
            </c:dLbl>
            <c:dLbl>
              <c:idx val="19"/>
              <c:layout>
                <c:manualLayout>
                  <c:x val="0"/>
                  <c:y val="0.1163793103448275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2940-4803-8477-524D1DFF004F}"/>
                </c:ext>
              </c:extLst>
            </c:dLbl>
            <c:dLbl>
              <c:idx val="20"/>
              <c:layout>
                <c:manualLayout>
                  <c:x val="0"/>
                  <c:y val="0.1163793103448275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2940-4803-8477-524D1DFF004F}"/>
                </c:ext>
              </c:extLst>
            </c:dLbl>
            <c:dLbl>
              <c:idx val="21"/>
              <c:layout>
                <c:manualLayout>
                  <c:x val="0"/>
                  <c:y val="0.1163793103448275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2940-4803-8477-524D1DFF004F}"/>
                </c:ext>
              </c:extLst>
            </c:dLbl>
            <c:dLbl>
              <c:idx val="22"/>
              <c:layout>
                <c:manualLayout>
                  <c:x val="0"/>
                  <c:y val="0.1163793103448275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2940-4803-8477-524D1DFF004F}"/>
                </c:ext>
              </c:extLst>
            </c:dLbl>
            <c:dLbl>
              <c:idx val="23"/>
              <c:layout>
                <c:manualLayout>
                  <c:x val="0"/>
                  <c:y val="0.1163793103448275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2940-4803-8477-524D1DFF004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1.3761543484813066</c:v>
                </c:pt>
                <c:pt idx="1">
                  <c:v>1.3294550203407418</c:v>
                </c:pt>
                <c:pt idx="2">
                  <c:v>1.2708490447342902</c:v>
                </c:pt>
                <c:pt idx="3">
                  <c:v>1.1927258017137898</c:v>
                </c:pt>
                <c:pt idx="4">
                  <c:v>1.1459088175336252</c:v>
                </c:pt>
                <c:pt idx="5">
                  <c:v>1.1234668945275805</c:v>
                </c:pt>
                <c:pt idx="6">
                  <c:v>1.0831781999629531</c:v>
                </c:pt>
                <c:pt idx="7">
                  <c:v>1.0373710015516124</c:v>
                </c:pt>
                <c:pt idx="8">
                  <c:v>0.9921739318541789</c:v>
                </c:pt>
                <c:pt idx="9">
                  <c:v>0.95770478537402504</c:v>
                </c:pt>
                <c:pt idx="10">
                  <c:v>0.94384440346817478</c:v>
                </c:pt>
                <c:pt idx="11">
                  <c:v>0.93291439909815033</c:v>
                </c:pt>
                <c:pt idx="12">
                  <c:v>0.90440864277614441</c:v>
                </c:pt>
                <c:pt idx="13">
                  <c:v>0.87212721165963458</c:v>
                </c:pt>
                <c:pt idx="14">
                  <c:v>0.86152527109284449</c:v>
                </c:pt>
                <c:pt idx="15">
                  <c:v>0.84958073578922377</c:v>
                </c:pt>
                <c:pt idx="16">
                  <c:v>0.81455608035558846</c:v>
                </c:pt>
                <c:pt idx="17">
                  <c:v>0.79541011149120155</c:v>
                </c:pt>
                <c:pt idx="18">
                  <c:v>0.79692732489433649</c:v>
                </c:pt>
                <c:pt idx="19">
                  <c:v>0.76904943689124483</c:v>
                </c:pt>
                <c:pt idx="20">
                  <c:v>0.66739389574259622</c:v>
                </c:pt>
                <c:pt idx="21">
                  <c:v>0.52998995704915952</c:v>
                </c:pt>
                <c:pt idx="22">
                  <c:v>0.41215858313079501</c:v>
                </c:pt>
                <c:pt idx="23">
                  <c:v>0.16214240827336912</c:v>
                </c:pt>
                <c:pt idx="24">
                  <c:v>-6.3161909042164233E-2</c:v>
                </c:pt>
              </c:numCache>
            </c:numRef>
          </c:val>
          <c:smooth val="0"/>
          <c:extLst>
            <c:ext xmlns:c16="http://schemas.microsoft.com/office/drawing/2014/chart" uri="{C3380CC4-5D6E-409C-BE32-E72D297353CC}">
              <c16:uniqueId val="{0000002F-2940-4803-8477-524D1DFF004F}"/>
            </c:ext>
          </c:extLst>
        </c:ser>
        <c:dLbls>
          <c:showLegendKey val="0"/>
          <c:showVal val="0"/>
          <c:showCatName val="0"/>
          <c:showSerName val="0"/>
          <c:showPercent val="0"/>
          <c:showBubbleSize val="0"/>
        </c:dLbls>
        <c:marker val="1"/>
        <c:smooth val="0"/>
        <c:axId val="3"/>
        <c:axId val="2"/>
      </c:lineChart>
      <c:catAx>
        <c:axId val="65439593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654395935"/>
        <c:crosses val="min"/>
        <c:crossBetween val="between"/>
        <c:majorUnit val="250"/>
      </c:valAx>
      <c:valAx>
        <c:axId val="2"/>
        <c:scaling>
          <c:orientation val="minMax"/>
          <c:max val="1.5"/>
          <c:min val="-0.5"/>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6AB6-4608-BA1D-0C99507456C7}"/>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6AB6-4608-BA1D-0C99507456C7}"/>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6AB6-4608-BA1D-0C99507456C7}"/>
              </c:ext>
            </c:extLst>
          </c:dPt>
          <c:dLbls>
            <c:dLbl>
              <c:idx val="0"/>
              <c:layout>
                <c:manualLayout>
                  <c:x val="5.2852348993288591E-2"/>
                  <c:y val="2.8668941979522185E-2"/>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B6-4608-BA1D-0C99507456C7}"/>
                </c:ext>
              </c:extLst>
            </c:dLbl>
            <c:dLbl>
              <c:idx val="1"/>
              <c:layout>
                <c:manualLayout>
                  <c:x val="-5.8305369127516778E-2"/>
                  <c:y val="1.0238907849829351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B6-4608-BA1D-0C99507456C7}"/>
                </c:ext>
              </c:extLst>
            </c:dLbl>
            <c:dLbl>
              <c:idx val="2"/>
              <c:layout>
                <c:manualLayout>
                  <c:x val="-2.9781879194630871E-2"/>
                  <c:y val="-0.10648464163822526"/>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B6-4608-BA1D-0C99507456C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0.3</c:v>
                </c:pt>
                <c:pt idx="1">
                  <c:v>26</c:v>
                </c:pt>
                <c:pt idx="2">
                  <c:v>13.700000000000001</c:v>
                </c:pt>
              </c:numCache>
            </c:numRef>
          </c:val>
          <c:extLst>
            <c:ext xmlns:c16="http://schemas.microsoft.com/office/drawing/2014/chart" uri="{C3380CC4-5D6E-409C-BE32-E72D297353CC}">
              <c16:uniqueId val="{00000006-6AB6-4608-BA1D-0C99507456C7}"/>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B82A-4BE5-B44E-C3D483627CD9}"/>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B82A-4BE5-B44E-C3D483627CD9}"/>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B82A-4BE5-B44E-C3D483627CD9}"/>
              </c:ext>
            </c:extLst>
          </c:dPt>
          <c:dLbls>
            <c:dLbl>
              <c:idx val="0"/>
              <c:layout>
                <c:manualLayout>
                  <c:x val="4.1526845637583895E-2"/>
                  <c:y val="7.1672354948805458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82A-4BE5-B44E-C3D483627CD9}"/>
                </c:ext>
              </c:extLst>
            </c:dLbl>
            <c:dLbl>
              <c:idx val="1"/>
              <c:layout>
                <c:manualLayout>
                  <c:x val="-5.0335570469798654E-2"/>
                  <c:y val="-3.8225255972696243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82A-4BE5-B44E-C3D483627CD9}"/>
                </c:ext>
              </c:extLst>
            </c:dLbl>
            <c:dLbl>
              <c:idx val="2"/>
              <c:layout>
                <c:manualLayout>
                  <c:x val="-2.7684563758389263E-2"/>
                  <c:y val="-0.11399317406143344"/>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82A-4BE5-B44E-C3D483627C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75.915171857254734</c:v>
                </c:pt>
                <c:pt idx="1">
                  <c:v>12.158387084749119</c:v>
                </c:pt>
                <c:pt idx="2">
                  <c:v>11.926441057996122</c:v>
                </c:pt>
              </c:numCache>
            </c:numRef>
          </c:val>
          <c:extLst>
            <c:ext xmlns:c16="http://schemas.microsoft.com/office/drawing/2014/chart" uri="{C3380CC4-5D6E-409C-BE32-E72D297353CC}">
              <c16:uniqueId val="{00000003-B82A-4BE5-B44E-C3D483627CD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82079431708103E-2"/>
          <c:y val="0.05"/>
          <c:w val="0.93687439457539556"/>
          <c:h val="0.77884615384615385"/>
        </c:manualLayout>
      </c:layout>
      <c:barChart>
        <c:barDir val="bar"/>
        <c:grouping val="stacked"/>
        <c:varyColors val="0"/>
        <c:ser>
          <c:idx val="0"/>
          <c:order val="0"/>
          <c:spPr>
            <a:solidFill>
              <a:srgbClr val="1F497D"/>
            </a:solidFill>
            <a:ln w="9525">
              <a:solidFill>
                <a:srgbClr val="808080"/>
              </a:solidFill>
              <a:prstDash val="solid"/>
            </a:ln>
          </c:spPr>
          <c:invertIfNegative val="0"/>
          <c:val>
            <c:numRef>
              <c:f>Sheet1!$A$1</c:f>
              <c:numCache>
                <c:formatCode>General</c:formatCode>
                <c:ptCount val="1"/>
                <c:pt idx="0">
                  <c:v>27.834799999999998</c:v>
                </c:pt>
              </c:numCache>
            </c:numRef>
          </c:val>
          <c:extLst>
            <c:ext xmlns:c16="http://schemas.microsoft.com/office/drawing/2014/chart" uri="{C3380CC4-5D6E-409C-BE32-E72D297353CC}">
              <c16:uniqueId val="{00000000-5DA8-4FE6-81C4-99688CFB4F08}"/>
            </c:ext>
          </c:extLst>
        </c:ser>
        <c:ser>
          <c:idx val="1"/>
          <c:order val="1"/>
          <c:spPr>
            <a:solidFill>
              <a:srgbClr val="1F497D"/>
            </a:solidFill>
            <a:ln w="9525">
              <a:solidFill>
                <a:srgbClr val="808080"/>
              </a:solidFill>
              <a:prstDash val="solid"/>
            </a:ln>
          </c:spPr>
          <c:invertIfNegative val="0"/>
          <c:val>
            <c:numRef>
              <c:f>Sheet1!$A$2</c:f>
              <c:numCache>
                <c:formatCode>General</c:formatCode>
                <c:ptCount val="1"/>
                <c:pt idx="0">
                  <c:v>11.428500000000003</c:v>
                </c:pt>
              </c:numCache>
            </c:numRef>
          </c:val>
          <c:extLst>
            <c:ext xmlns:c16="http://schemas.microsoft.com/office/drawing/2014/chart" uri="{C3380CC4-5D6E-409C-BE32-E72D297353CC}">
              <c16:uniqueId val="{00000001-5DA8-4FE6-81C4-99688CFB4F08}"/>
            </c:ext>
          </c:extLst>
        </c:ser>
        <c:ser>
          <c:idx val="2"/>
          <c:order val="2"/>
          <c:spPr>
            <a:solidFill>
              <a:srgbClr val="1F497D"/>
            </a:solidFill>
            <a:ln w="9525">
              <a:solidFill>
                <a:srgbClr val="808080"/>
              </a:solidFill>
              <a:prstDash val="solid"/>
            </a:ln>
          </c:spPr>
          <c:invertIfNegative val="0"/>
          <c:val>
            <c:numRef>
              <c:f>Sheet1!$A$3</c:f>
              <c:numCache>
                <c:formatCode>General</c:formatCode>
                <c:ptCount val="1"/>
                <c:pt idx="0">
                  <c:v>4.4484000000000021</c:v>
                </c:pt>
              </c:numCache>
            </c:numRef>
          </c:val>
          <c:extLst>
            <c:ext xmlns:c16="http://schemas.microsoft.com/office/drawing/2014/chart" uri="{C3380CC4-5D6E-409C-BE32-E72D297353CC}">
              <c16:uniqueId val="{00000002-5DA8-4FE6-81C4-99688CFB4F08}"/>
            </c:ext>
          </c:extLst>
        </c:ser>
        <c:ser>
          <c:idx val="3"/>
          <c:order val="3"/>
          <c:spPr>
            <a:solidFill>
              <a:srgbClr val="1F497D"/>
            </a:solidFill>
            <a:ln w="9525">
              <a:solidFill>
                <a:srgbClr val="808080"/>
              </a:solidFill>
              <a:prstDash val="solid"/>
            </a:ln>
          </c:spPr>
          <c:invertIfNegative val="0"/>
          <c:val>
            <c:numRef>
              <c:f>Sheet1!$A$4</c:f>
              <c:numCache>
                <c:formatCode>General</c:formatCode>
                <c:ptCount val="1"/>
                <c:pt idx="0">
                  <c:v>4.3640000000000008</c:v>
                </c:pt>
              </c:numCache>
            </c:numRef>
          </c:val>
          <c:extLst>
            <c:ext xmlns:c16="http://schemas.microsoft.com/office/drawing/2014/chart" uri="{C3380CC4-5D6E-409C-BE32-E72D297353CC}">
              <c16:uniqueId val="{00000003-5DA8-4FE6-81C4-99688CFB4F08}"/>
            </c:ext>
          </c:extLst>
        </c:ser>
        <c:ser>
          <c:idx val="4"/>
          <c:order val="4"/>
          <c:spPr>
            <a:solidFill>
              <a:srgbClr val="1F497D"/>
            </a:solidFill>
            <a:ln w="9525">
              <a:solidFill>
                <a:srgbClr val="808080"/>
              </a:solidFill>
              <a:prstDash val="solid"/>
            </a:ln>
          </c:spPr>
          <c:invertIfNegative val="0"/>
          <c:val>
            <c:numRef>
              <c:f>Sheet1!$A$5</c:f>
              <c:numCache>
                <c:formatCode>General</c:formatCode>
                <c:ptCount val="1"/>
                <c:pt idx="0">
                  <c:v>4.2589000000000041</c:v>
                </c:pt>
              </c:numCache>
            </c:numRef>
          </c:val>
          <c:extLst>
            <c:ext xmlns:c16="http://schemas.microsoft.com/office/drawing/2014/chart" uri="{C3380CC4-5D6E-409C-BE32-E72D297353CC}">
              <c16:uniqueId val="{00000004-5DA8-4FE6-81C4-99688CFB4F08}"/>
            </c:ext>
          </c:extLst>
        </c:ser>
        <c:ser>
          <c:idx val="5"/>
          <c:order val="5"/>
          <c:spPr>
            <a:solidFill>
              <a:srgbClr val="1F497D"/>
            </a:solidFill>
            <a:ln w="9525">
              <a:solidFill>
                <a:srgbClr val="808080"/>
              </a:solidFill>
              <a:prstDash val="solid"/>
            </a:ln>
          </c:spPr>
          <c:invertIfNegative val="0"/>
          <c:val>
            <c:numRef>
              <c:f>Sheet1!$A$6</c:f>
              <c:numCache>
                <c:formatCode>General</c:formatCode>
                <c:ptCount val="1"/>
                <c:pt idx="0">
                  <c:v>3.9814000000000016</c:v>
                </c:pt>
              </c:numCache>
            </c:numRef>
          </c:val>
          <c:extLst>
            <c:ext xmlns:c16="http://schemas.microsoft.com/office/drawing/2014/chart" uri="{C3380CC4-5D6E-409C-BE32-E72D297353CC}">
              <c16:uniqueId val="{00000005-5DA8-4FE6-81C4-99688CFB4F08}"/>
            </c:ext>
          </c:extLst>
        </c:ser>
        <c:ser>
          <c:idx val="6"/>
          <c:order val="6"/>
          <c:spPr>
            <a:solidFill>
              <a:srgbClr val="1F497D"/>
            </a:solidFill>
            <a:ln w="9525">
              <a:solidFill>
                <a:srgbClr val="808080"/>
              </a:solidFill>
              <a:prstDash val="solid"/>
            </a:ln>
          </c:spPr>
          <c:invertIfNegative val="0"/>
          <c:val>
            <c:numRef>
              <c:f>Sheet1!$A$7</c:f>
              <c:numCache>
                <c:formatCode>General</c:formatCode>
                <c:ptCount val="1"/>
                <c:pt idx="0">
                  <c:v>3.1432000000000015</c:v>
                </c:pt>
              </c:numCache>
            </c:numRef>
          </c:val>
          <c:extLst>
            <c:ext xmlns:c16="http://schemas.microsoft.com/office/drawing/2014/chart" uri="{C3380CC4-5D6E-409C-BE32-E72D297353CC}">
              <c16:uniqueId val="{00000006-5DA8-4FE6-81C4-99688CFB4F08}"/>
            </c:ext>
          </c:extLst>
        </c:ser>
        <c:ser>
          <c:idx val="7"/>
          <c:order val="7"/>
          <c:spPr>
            <a:solidFill>
              <a:srgbClr val="1F497D"/>
            </a:solidFill>
            <a:ln w="9525">
              <a:solidFill>
                <a:srgbClr val="808080"/>
              </a:solidFill>
              <a:prstDash val="solid"/>
            </a:ln>
          </c:spPr>
          <c:invertIfNegative val="0"/>
          <c:val>
            <c:numRef>
              <c:f>Sheet1!$A$8</c:f>
              <c:numCache>
                <c:formatCode>General</c:formatCode>
                <c:ptCount val="1"/>
                <c:pt idx="0">
                  <c:v>0.50540000000000029</c:v>
                </c:pt>
              </c:numCache>
            </c:numRef>
          </c:val>
          <c:extLst>
            <c:ext xmlns:c16="http://schemas.microsoft.com/office/drawing/2014/chart" uri="{C3380CC4-5D6E-409C-BE32-E72D297353CC}">
              <c16:uniqueId val="{00000007-5DA8-4FE6-81C4-99688CFB4F08}"/>
            </c:ext>
          </c:extLst>
        </c:ser>
        <c:ser>
          <c:idx val="8"/>
          <c:order val="8"/>
          <c:spPr>
            <a:solidFill>
              <a:srgbClr val="1F497D"/>
            </a:solidFill>
            <a:ln w="9525">
              <a:solidFill>
                <a:srgbClr val="808080"/>
              </a:solidFill>
              <a:prstDash val="solid"/>
            </a:ln>
          </c:spPr>
          <c:invertIfNegative val="0"/>
          <c:val>
            <c:numRef>
              <c:f>Sheet1!$A$9</c:f>
              <c:numCache>
                <c:formatCode>General</c:formatCode>
                <c:ptCount val="1"/>
                <c:pt idx="0">
                  <c:v>0.20489999999999675</c:v>
                </c:pt>
              </c:numCache>
            </c:numRef>
          </c:val>
          <c:extLst>
            <c:ext xmlns:c16="http://schemas.microsoft.com/office/drawing/2014/chart" uri="{C3380CC4-5D6E-409C-BE32-E72D297353CC}">
              <c16:uniqueId val="{00000008-5DA8-4FE6-81C4-99688CFB4F08}"/>
            </c:ext>
          </c:extLst>
        </c:ser>
        <c:ser>
          <c:idx val="9"/>
          <c:order val="9"/>
          <c:spPr>
            <a:solidFill>
              <a:srgbClr val="1F497D"/>
            </a:solidFill>
            <a:ln w="9525">
              <a:solidFill>
                <a:srgbClr val="808080"/>
              </a:solidFill>
              <a:prstDash val="solid"/>
            </a:ln>
          </c:spPr>
          <c:invertIfNegative val="0"/>
          <c:val>
            <c:numRef>
              <c:f>Sheet1!$A$10</c:f>
              <c:numCache>
                <c:formatCode>General</c:formatCode>
                <c:ptCount val="1"/>
                <c:pt idx="0">
                  <c:v>0.14750000000000041</c:v>
                </c:pt>
              </c:numCache>
            </c:numRef>
          </c:val>
          <c:extLst>
            <c:ext xmlns:c16="http://schemas.microsoft.com/office/drawing/2014/chart" uri="{C3380CC4-5D6E-409C-BE32-E72D297353CC}">
              <c16:uniqueId val="{00000009-5DA8-4FE6-81C4-99688CFB4F08}"/>
            </c:ext>
          </c:extLst>
        </c:ser>
        <c:ser>
          <c:idx val="10"/>
          <c:order val="10"/>
          <c:spPr>
            <a:solidFill>
              <a:srgbClr val="F9DFB5"/>
            </a:solidFill>
            <a:ln w="9525">
              <a:solidFill>
                <a:srgbClr val="808080"/>
              </a:solidFill>
              <a:prstDash val="solid"/>
            </a:ln>
          </c:spPr>
          <c:invertIfNegative val="0"/>
          <c:val>
            <c:numRef>
              <c:f>Sheet1!$A$11</c:f>
              <c:numCache>
                <c:formatCode>General</c:formatCode>
                <c:ptCount val="1"/>
                <c:pt idx="0">
                  <c:v>3.522900000052509E-4</c:v>
                </c:pt>
              </c:numCache>
            </c:numRef>
          </c:val>
          <c:extLst>
            <c:ext xmlns:c16="http://schemas.microsoft.com/office/drawing/2014/chart" uri="{C3380CC4-5D6E-409C-BE32-E72D297353CC}">
              <c16:uniqueId val="{0000000A-5DA8-4FE6-81C4-99688CFB4F08}"/>
            </c:ext>
          </c:extLst>
        </c:ser>
        <c:ser>
          <c:idx val="11"/>
          <c:order val="11"/>
          <c:spPr>
            <a:solidFill>
              <a:srgbClr val="F9DFB5"/>
            </a:solidFill>
            <a:ln w="9525">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5DA8-4FE6-81C4-99688CFB4F08}"/>
            </c:ext>
          </c:extLst>
        </c:ser>
        <c:ser>
          <c:idx val="12"/>
          <c:order val="12"/>
          <c:spPr>
            <a:solidFill>
              <a:srgbClr val="C0E6F4"/>
            </a:solidFill>
            <a:ln w="9525">
              <a:solidFill>
                <a:srgbClr val="808080"/>
              </a:solidFill>
              <a:prstDash val="solid"/>
            </a:ln>
          </c:spPr>
          <c:invertIfNegative val="0"/>
          <c:val>
            <c:numRef>
              <c:f>Sheet1!$A$13</c:f>
              <c:numCache>
                <c:formatCode>General</c:formatCode>
                <c:ptCount val="1"/>
                <c:pt idx="0">
                  <c:v>7.9110000000000014</c:v>
                </c:pt>
              </c:numCache>
            </c:numRef>
          </c:val>
          <c:extLst>
            <c:ext xmlns:c16="http://schemas.microsoft.com/office/drawing/2014/chart" uri="{C3380CC4-5D6E-409C-BE32-E72D297353CC}">
              <c16:uniqueId val="{0000000C-5DA8-4FE6-81C4-99688CFB4F08}"/>
            </c:ext>
          </c:extLst>
        </c:ser>
        <c:ser>
          <c:idx val="13"/>
          <c:order val="13"/>
          <c:spPr>
            <a:solidFill>
              <a:srgbClr val="C0E6F4"/>
            </a:solidFill>
            <a:ln w="9525">
              <a:solidFill>
                <a:srgbClr val="808080"/>
              </a:solidFill>
              <a:prstDash val="solid"/>
            </a:ln>
          </c:spPr>
          <c:invertIfNegative val="0"/>
          <c:val>
            <c:numRef>
              <c:f>Sheet1!$A$14</c:f>
              <c:numCache>
                <c:formatCode>General</c:formatCode>
                <c:ptCount val="1"/>
                <c:pt idx="0">
                  <c:v>7.8291000000000004</c:v>
                </c:pt>
              </c:numCache>
            </c:numRef>
          </c:val>
          <c:extLst>
            <c:ext xmlns:c16="http://schemas.microsoft.com/office/drawing/2014/chart" uri="{C3380CC4-5D6E-409C-BE32-E72D297353CC}">
              <c16:uniqueId val="{0000000D-5DA8-4FE6-81C4-99688CFB4F08}"/>
            </c:ext>
          </c:extLst>
        </c:ser>
        <c:ser>
          <c:idx val="14"/>
          <c:order val="14"/>
          <c:spPr>
            <a:solidFill>
              <a:srgbClr val="C0E6F4"/>
            </a:solidFill>
            <a:ln w="9525">
              <a:solidFill>
                <a:srgbClr val="808080"/>
              </a:solidFill>
              <a:prstDash val="solid"/>
            </a:ln>
          </c:spPr>
          <c:invertIfNegative val="0"/>
          <c:val>
            <c:numRef>
              <c:f>Sheet1!$A$15</c:f>
              <c:numCache>
                <c:formatCode>General</c:formatCode>
                <c:ptCount val="1"/>
                <c:pt idx="0">
                  <c:v>4.5035999999999969</c:v>
                </c:pt>
              </c:numCache>
            </c:numRef>
          </c:val>
          <c:extLst>
            <c:ext xmlns:c16="http://schemas.microsoft.com/office/drawing/2014/chart" uri="{C3380CC4-5D6E-409C-BE32-E72D297353CC}">
              <c16:uniqueId val="{0000000E-5DA8-4FE6-81C4-99688CFB4F08}"/>
            </c:ext>
          </c:extLst>
        </c:ser>
        <c:ser>
          <c:idx val="15"/>
          <c:order val="15"/>
          <c:spPr>
            <a:solidFill>
              <a:srgbClr val="C0E6F4"/>
            </a:solidFill>
            <a:ln w="9525">
              <a:solidFill>
                <a:srgbClr val="808080"/>
              </a:solidFill>
              <a:prstDash val="solid"/>
            </a:ln>
          </c:spPr>
          <c:invertIfNegative val="0"/>
          <c:val>
            <c:numRef>
              <c:f>Sheet1!$A$16</c:f>
              <c:numCache>
                <c:formatCode>General</c:formatCode>
                <c:ptCount val="1"/>
                <c:pt idx="0">
                  <c:v>1.6429999999999945</c:v>
                </c:pt>
              </c:numCache>
            </c:numRef>
          </c:val>
          <c:extLst>
            <c:ext xmlns:c16="http://schemas.microsoft.com/office/drawing/2014/chart" uri="{C3380CC4-5D6E-409C-BE32-E72D297353CC}">
              <c16:uniqueId val="{0000000F-5DA8-4FE6-81C4-99688CFB4F08}"/>
            </c:ext>
          </c:extLst>
        </c:ser>
        <c:ser>
          <c:idx val="16"/>
          <c:order val="16"/>
          <c:spPr>
            <a:solidFill>
              <a:srgbClr val="C0E6F4"/>
            </a:solidFill>
            <a:ln w="9525">
              <a:solidFill>
                <a:srgbClr val="808080"/>
              </a:solidFill>
              <a:prstDash val="solid"/>
            </a:ln>
          </c:spPr>
          <c:invertIfNegative val="0"/>
          <c:val>
            <c:numRef>
              <c:f>Sheet1!$A$17</c:f>
              <c:numCache>
                <c:formatCode>General</c:formatCode>
                <c:ptCount val="1"/>
                <c:pt idx="0">
                  <c:v>1.5557999999999961</c:v>
                </c:pt>
              </c:numCache>
            </c:numRef>
          </c:val>
          <c:extLst>
            <c:ext xmlns:c16="http://schemas.microsoft.com/office/drawing/2014/chart" uri="{C3380CC4-5D6E-409C-BE32-E72D297353CC}">
              <c16:uniqueId val="{00000010-5DA8-4FE6-81C4-99688CFB4F08}"/>
            </c:ext>
          </c:extLst>
        </c:ser>
        <c:ser>
          <c:idx val="17"/>
          <c:order val="17"/>
          <c:spPr>
            <a:solidFill>
              <a:srgbClr val="C0E6F4"/>
            </a:solidFill>
            <a:ln w="9525">
              <a:solidFill>
                <a:srgbClr val="808080"/>
              </a:solidFill>
              <a:prstDash val="solid"/>
            </a:ln>
          </c:spPr>
          <c:invertIfNegative val="0"/>
          <c:val>
            <c:numRef>
              <c:f>Sheet1!$A$18</c:f>
              <c:numCache>
                <c:formatCode>General</c:formatCode>
                <c:ptCount val="1"/>
                <c:pt idx="0">
                  <c:v>1.2785999999999964</c:v>
                </c:pt>
              </c:numCache>
            </c:numRef>
          </c:val>
          <c:extLst>
            <c:ext xmlns:c16="http://schemas.microsoft.com/office/drawing/2014/chart" uri="{C3380CC4-5D6E-409C-BE32-E72D297353CC}">
              <c16:uniqueId val="{00000011-5DA8-4FE6-81C4-99688CFB4F08}"/>
            </c:ext>
          </c:extLst>
        </c:ser>
        <c:ser>
          <c:idx val="18"/>
          <c:order val="18"/>
          <c:spPr>
            <a:solidFill>
              <a:srgbClr val="C0E6F4"/>
            </a:solidFill>
            <a:ln w="9525">
              <a:solidFill>
                <a:srgbClr val="808080"/>
              </a:solidFill>
              <a:prstDash val="solid"/>
            </a:ln>
          </c:spPr>
          <c:invertIfNegative val="0"/>
          <c:val>
            <c:numRef>
              <c:f>Sheet1!$A$19</c:f>
              <c:numCache>
                <c:formatCode>General</c:formatCode>
                <c:ptCount val="1"/>
                <c:pt idx="0">
                  <c:v>1.258400000000004</c:v>
                </c:pt>
              </c:numCache>
            </c:numRef>
          </c:val>
          <c:extLst>
            <c:ext xmlns:c16="http://schemas.microsoft.com/office/drawing/2014/chart" uri="{C3380CC4-5D6E-409C-BE32-E72D297353CC}">
              <c16:uniqueId val="{00000012-5DA8-4FE6-81C4-99688CFB4F08}"/>
            </c:ext>
          </c:extLst>
        </c:ser>
        <c:ser>
          <c:idx val="19"/>
          <c:order val="19"/>
          <c:spPr>
            <a:solidFill>
              <a:srgbClr val="80CCE8"/>
            </a:solidFill>
            <a:ln w="9525">
              <a:solidFill>
                <a:srgbClr val="808080"/>
              </a:solidFill>
              <a:prstDash val="solid"/>
            </a:ln>
          </c:spPr>
          <c:invertIfNegative val="0"/>
          <c:val>
            <c:numRef>
              <c:f>Sheet1!$A$20</c:f>
              <c:numCache>
                <c:formatCode>General</c:formatCode>
                <c:ptCount val="1"/>
                <c:pt idx="0">
                  <c:v>5.1359000000000048</c:v>
                </c:pt>
              </c:numCache>
            </c:numRef>
          </c:val>
          <c:extLst>
            <c:ext xmlns:c16="http://schemas.microsoft.com/office/drawing/2014/chart" uri="{C3380CC4-5D6E-409C-BE32-E72D297353CC}">
              <c16:uniqueId val="{00000013-5DA8-4FE6-81C4-99688CFB4F08}"/>
            </c:ext>
          </c:extLst>
        </c:ser>
        <c:ser>
          <c:idx val="20"/>
          <c:order val="20"/>
          <c:spPr>
            <a:solidFill>
              <a:srgbClr val="80CCE8"/>
            </a:solidFill>
            <a:ln w="9525">
              <a:solidFill>
                <a:srgbClr val="808080"/>
              </a:solidFill>
              <a:prstDash val="solid"/>
            </a:ln>
          </c:spPr>
          <c:invertIfNegative val="0"/>
          <c:val>
            <c:numRef>
              <c:f>Sheet1!$A$21</c:f>
              <c:numCache>
                <c:formatCode>General</c:formatCode>
                <c:ptCount val="1"/>
                <c:pt idx="0">
                  <c:v>4.8448000000000047</c:v>
                </c:pt>
              </c:numCache>
            </c:numRef>
          </c:val>
          <c:extLst>
            <c:ext xmlns:c16="http://schemas.microsoft.com/office/drawing/2014/chart" uri="{C3380CC4-5D6E-409C-BE32-E72D297353CC}">
              <c16:uniqueId val="{00000014-5DA8-4FE6-81C4-99688CFB4F08}"/>
            </c:ext>
          </c:extLst>
        </c:ser>
        <c:ser>
          <c:idx val="21"/>
          <c:order val="21"/>
          <c:spPr>
            <a:solidFill>
              <a:srgbClr val="80CCE8"/>
            </a:solidFill>
            <a:ln w="9525">
              <a:solidFill>
                <a:srgbClr val="808080"/>
              </a:solidFill>
              <a:prstDash val="solid"/>
            </a:ln>
          </c:spPr>
          <c:invertIfNegative val="0"/>
          <c:val>
            <c:numRef>
              <c:f>Sheet1!$A$22</c:f>
              <c:numCache>
                <c:formatCode>General</c:formatCode>
                <c:ptCount val="1"/>
                <c:pt idx="0">
                  <c:v>3.7225000000000064</c:v>
                </c:pt>
              </c:numCache>
            </c:numRef>
          </c:val>
          <c:extLst>
            <c:ext xmlns:c16="http://schemas.microsoft.com/office/drawing/2014/chart" uri="{C3380CC4-5D6E-409C-BE32-E72D297353CC}">
              <c16:uniqueId val="{00000015-5DA8-4FE6-81C4-99688CFB4F08}"/>
            </c:ext>
          </c:extLst>
        </c:ser>
        <c:dLbls>
          <c:showLegendKey val="0"/>
          <c:showVal val="0"/>
          <c:showCatName val="0"/>
          <c:showSerName val="0"/>
          <c:showPercent val="0"/>
          <c:showBubbleSize val="0"/>
        </c:dLbls>
        <c:gapWidth val="170"/>
        <c:overlap val="100"/>
        <c:axId val="514168648"/>
        <c:axId val="514166296"/>
      </c:barChart>
      <c:catAx>
        <c:axId val="514168648"/>
        <c:scaling>
          <c:orientation val="maxMin"/>
        </c:scaling>
        <c:delete val="0"/>
        <c:axPos val="l"/>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4166296"/>
        <c:crosses val="min"/>
        <c:auto val="0"/>
        <c:lblAlgn val="ctr"/>
        <c:lblOffset val="100"/>
        <c:noMultiLvlLbl val="0"/>
      </c:catAx>
      <c:valAx>
        <c:axId val="514166296"/>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4168648"/>
        <c:crosses val="max"/>
        <c:crossBetween val="between"/>
        <c:majorUnit val="1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031149483663446E-3"/>
          <c:y val="6.2575210589651029E-2"/>
          <c:w val="0.98239377010326734"/>
          <c:h val="0.87484957882069792"/>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28.206136216856759</c:v>
                </c:pt>
              </c:numCache>
            </c:numRef>
          </c:val>
          <c:extLst>
            <c:ext xmlns:c16="http://schemas.microsoft.com/office/drawing/2014/chart" uri="{C3380CC4-5D6E-409C-BE32-E72D297353CC}">
              <c16:uniqueId val="{00000000-58E0-46F9-A81A-54993C61695D}"/>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8.852685045336472</c:v>
                </c:pt>
              </c:numCache>
            </c:numRef>
          </c:val>
          <c:extLst>
            <c:ext xmlns:c16="http://schemas.microsoft.com/office/drawing/2014/chart" uri="{C3380CC4-5D6E-409C-BE32-E72D297353CC}">
              <c16:uniqueId val="{00000001-58E0-46F9-A81A-54993C61695D}"/>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7.6370670559975595</c:v>
                </c:pt>
              </c:numCache>
            </c:numRef>
          </c:val>
          <c:extLst>
            <c:ext xmlns:c16="http://schemas.microsoft.com/office/drawing/2014/chart" uri="{C3380CC4-5D6E-409C-BE32-E72D297353CC}">
              <c16:uniqueId val="{00000002-58E0-46F9-A81A-54993C61695D}"/>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5.5622113906621529</c:v>
                </c:pt>
              </c:numCache>
            </c:numRef>
          </c:val>
          <c:extLst>
            <c:ext xmlns:c16="http://schemas.microsoft.com/office/drawing/2014/chart" uri="{C3380CC4-5D6E-409C-BE32-E72D297353CC}">
              <c16:uniqueId val="{00000003-58E0-46F9-A81A-54993C61695D}"/>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5.4252151756674749</c:v>
                </c:pt>
              </c:numCache>
            </c:numRef>
          </c:val>
          <c:extLst>
            <c:ext xmlns:c16="http://schemas.microsoft.com/office/drawing/2014/chart" uri="{C3380CC4-5D6E-409C-BE32-E72D297353CC}">
              <c16:uniqueId val="{00000004-58E0-46F9-A81A-54993C61695D}"/>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5.0220096201706639</c:v>
                </c:pt>
              </c:numCache>
            </c:numRef>
          </c:val>
          <c:extLst>
            <c:ext xmlns:c16="http://schemas.microsoft.com/office/drawing/2014/chart" uri="{C3380CC4-5D6E-409C-BE32-E72D297353CC}">
              <c16:uniqueId val="{00000005-58E0-46F9-A81A-54993C61695D}"/>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3.6693851267051603</c:v>
                </c:pt>
              </c:numCache>
            </c:numRef>
          </c:val>
          <c:extLst>
            <c:ext xmlns:c16="http://schemas.microsoft.com/office/drawing/2014/chart" uri="{C3380CC4-5D6E-409C-BE32-E72D297353CC}">
              <c16:uniqueId val="{00000006-58E0-46F9-A81A-54993C61695D}"/>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76766281903327682</c:v>
                </c:pt>
              </c:numCache>
            </c:numRef>
          </c:val>
          <c:extLst>
            <c:ext xmlns:c16="http://schemas.microsoft.com/office/drawing/2014/chart" uri="{C3380CC4-5D6E-409C-BE32-E72D297353CC}">
              <c16:uniqueId val="{00000007-58E0-46F9-A81A-54993C61695D}"/>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53096855952994293</c:v>
                </c:pt>
              </c:numCache>
            </c:numRef>
          </c:val>
          <c:extLst>
            <c:ext xmlns:c16="http://schemas.microsoft.com/office/drawing/2014/chart" uri="{C3380CC4-5D6E-409C-BE32-E72D297353CC}">
              <c16:uniqueId val="{00000008-58E0-46F9-A81A-54993C61695D}"/>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0.24136342863151361</c:v>
                </c:pt>
              </c:numCache>
            </c:numRef>
          </c:val>
          <c:extLst>
            <c:ext xmlns:c16="http://schemas.microsoft.com/office/drawing/2014/chart" uri="{C3380CC4-5D6E-409C-BE32-E72D297353CC}">
              <c16:uniqueId val="{00000009-58E0-46F9-A81A-54993C61695D}"/>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4.6741866376320829E-4</c:v>
                </c:pt>
              </c:numCache>
            </c:numRef>
          </c:val>
          <c:extLst>
            <c:ext xmlns:c16="http://schemas.microsoft.com/office/drawing/2014/chart" uri="{C3380CC4-5D6E-409C-BE32-E72D297353CC}">
              <c16:uniqueId val="{0000000A-58E0-46F9-A81A-54993C61695D}"/>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6.6806217852932503</c:v>
                </c:pt>
              </c:numCache>
            </c:numRef>
          </c:val>
          <c:extLst>
            <c:ext xmlns:c16="http://schemas.microsoft.com/office/drawing/2014/chart" uri="{C3380CC4-5D6E-409C-BE32-E72D297353CC}">
              <c16:uniqueId val="{0000000B-58E0-46F9-A81A-54993C61695D}"/>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2.2392087600758837</c:v>
                </c:pt>
              </c:numCache>
            </c:numRef>
          </c:val>
          <c:extLst>
            <c:ext xmlns:c16="http://schemas.microsoft.com/office/drawing/2014/chart" uri="{C3380CC4-5D6E-409C-BE32-E72D297353CC}">
              <c16:uniqueId val="{0000000C-58E0-46F9-A81A-54993C61695D}"/>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1.1343914906598696</c:v>
                </c:pt>
              </c:numCache>
            </c:numRef>
          </c:val>
          <c:extLst>
            <c:ext xmlns:c16="http://schemas.microsoft.com/office/drawing/2014/chart" uri="{C3380CC4-5D6E-409C-BE32-E72D297353CC}">
              <c16:uniqueId val="{0000000D-58E0-46F9-A81A-54993C61695D}"/>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0.64743325657515838</c:v>
                </c:pt>
              </c:numCache>
            </c:numRef>
          </c:val>
          <c:extLst>
            <c:ext xmlns:c16="http://schemas.microsoft.com/office/drawing/2014/chart" uri="{C3380CC4-5D6E-409C-BE32-E72D297353CC}">
              <c16:uniqueId val="{0000000E-58E0-46F9-A81A-54993C61695D}"/>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0.58259939679911055</c:v>
                </c:pt>
              </c:numCache>
            </c:numRef>
          </c:val>
          <c:extLst>
            <c:ext xmlns:c16="http://schemas.microsoft.com/office/drawing/2014/chart" uri="{C3380CC4-5D6E-409C-BE32-E72D297353CC}">
              <c16:uniqueId val="{0000000F-58E0-46F9-A81A-54993C61695D}"/>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5377210429419077</c:v>
                </c:pt>
              </c:numCache>
            </c:numRef>
          </c:val>
          <c:extLst>
            <c:ext xmlns:c16="http://schemas.microsoft.com/office/drawing/2014/chart" uri="{C3380CC4-5D6E-409C-BE32-E72D297353CC}">
              <c16:uniqueId val="{00000010-58E0-46F9-A81A-54993C61695D}"/>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33641135240394249</c:v>
                </c:pt>
              </c:numCache>
            </c:numRef>
          </c:val>
          <c:extLst>
            <c:ext xmlns:c16="http://schemas.microsoft.com/office/drawing/2014/chart" uri="{C3380CC4-5D6E-409C-BE32-E72D297353CC}">
              <c16:uniqueId val="{00000011-58E0-46F9-A81A-54993C61695D}"/>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5.7053114163708507</c:v>
                </c:pt>
              </c:numCache>
            </c:numRef>
          </c:val>
          <c:extLst>
            <c:ext xmlns:c16="http://schemas.microsoft.com/office/drawing/2014/chart" uri="{C3380CC4-5D6E-409C-BE32-E72D297353CC}">
              <c16:uniqueId val="{00000012-58E0-46F9-A81A-54993C61695D}"/>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3.2723690131093108</c:v>
                </c:pt>
              </c:numCache>
            </c:numRef>
          </c:val>
          <c:extLst>
            <c:ext xmlns:c16="http://schemas.microsoft.com/office/drawing/2014/chart" uri="{C3380CC4-5D6E-409C-BE32-E72D297353CC}">
              <c16:uniqueId val="{00000013-58E0-46F9-A81A-54993C61695D}"/>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2.9487606285159562</c:v>
                </c:pt>
              </c:numCache>
            </c:numRef>
          </c:val>
          <c:extLst>
            <c:ext xmlns:c16="http://schemas.microsoft.com/office/drawing/2014/chart" uri="{C3380CC4-5D6E-409C-BE32-E72D297353CC}">
              <c16:uniqueId val="{00000014-58E0-46F9-A81A-54993C61695D}"/>
            </c:ext>
          </c:extLst>
        </c:ser>
        <c:dLbls>
          <c:showLegendKey val="0"/>
          <c:showVal val="0"/>
          <c:showCatName val="0"/>
          <c:showSerName val="0"/>
          <c:showPercent val="0"/>
          <c:showBubbleSize val="0"/>
        </c:dLbls>
        <c:gapWidth val="170"/>
        <c:overlap val="100"/>
        <c:axId val="323681888"/>
        <c:axId val="1"/>
      </c:barChart>
      <c:catAx>
        <c:axId val="323681888"/>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sz="1000" kern="1200">
                <a:latin typeface="+mn-lt"/>
                <a:ea typeface="+mn-ea"/>
                <a:cs typeface="+mn-cs"/>
                <a:sym typeface="+mn-lt"/>
              </a:defRPr>
            </a:pPr>
            <a:endParaRPr lang="en-US"/>
          </a:p>
        </c:txPr>
        <c:crossAx val="323681888"/>
        <c:crosses val="max"/>
        <c:crossBetween val="between"/>
        <c:majorUnit val="1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675414364640885"/>
          <c:y val="8.3297180043383948E-2"/>
          <c:w val="0.76726519337016574"/>
          <c:h val="0.88980477223427334"/>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6.9060773480662981E-3"/>
                  <c:y val="-0.4663774403470715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ECC-47FF-8F02-8D5147F4057B}"/>
                </c:ext>
              </c:extLst>
            </c:dLbl>
            <c:dLbl>
              <c:idx val="1"/>
              <c:layout>
                <c:manualLayout>
                  <c:x val="0"/>
                  <c:y val="-0.5049891540130151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ECC-47FF-8F02-8D5147F4057B}"/>
                </c:ext>
              </c:extLst>
            </c:dLbl>
            <c:dLbl>
              <c:idx val="2"/>
              <c:layout>
                <c:manualLayout>
                  <c:x val="-1.1395027624309393E-2"/>
                  <c:y val="-0.4646420824295010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ECC-47FF-8F02-8D5147F4057B}"/>
                </c:ext>
              </c:extLst>
            </c:dLbl>
            <c:dLbl>
              <c:idx val="3"/>
              <c:layout>
                <c:manualLayout>
                  <c:x val="0"/>
                  <c:y val="-0.4603036876355748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ECC-47FF-8F02-8D5147F4057B}"/>
                </c:ext>
              </c:extLst>
            </c:dLbl>
            <c:dLbl>
              <c:idx val="4"/>
              <c:layout>
                <c:manualLayout>
                  <c:x val="1.2430939226519336E-2"/>
                  <c:y val="-0.4928416485900217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ECC-47FF-8F02-8D5147F4057B}"/>
                </c:ext>
              </c:extLst>
            </c:dLbl>
            <c:dLbl>
              <c:idx val="5"/>
              <c:layout>
                <c:manualLayout>
                  <c:x val="-1.1740331491712707E-2"/>
                  <c:y val="-0.4550976138828633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ECC-47FF-8F02-8D5147F4057B}"/>
                </c:ext>
              </c:extLst>
            </c:dLbl>
            <c:dLbl>
              <c:idx val="6"/>
              <c:layout>
                <c:manualLayout>
                  <c:x val="0"/>
                  <c:y val="-0.4533622559652928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ECC-47FF-8F02-8D5147F4057B}"/>
                </c:ext>
              </c:extLst>
            </c:dLbl>
            <c:dLbl>
              <c:idx val="7"/>
              <c:layout>
                <c:manualLayout>
                  <c:x val="0"/>
                  <c:y val="-0.4776572668112798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ECC-47FF-8F02-8D5147F405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443329</c:v>
                </c:pt>
                <c:pt idx="1">
                  <c:v>446337</c:v>
                </c:pt>
                <c:pt idx="2">
                  <c:v>441801</c:v>
                </c:pt>
                <c:pt idx="3">
                  <c:v>437518</c:v>
                </c:pt>
                <c:pt idx="4">
                  <c:v>436760</c:v>
                </c:pt>
                <c:pt idx="5">
                  <c:v>432516</c:v>
                </c:pt>
                <c:pt idx="6">
                  <c:v>430246</c:v>
                </c:pt>
                <c:pt idx="7">
                  <c:v>447502</c:v>
                </c:pt>
              </c:numCache>
            </c:numRef>
          </c:val>
          <c:extLst>
            <c:ext xmlns:c16="http://schemas.microsoft.com/office/drawing/2014/chart" uri="{C3380CC4-5D6E-409C-BE32-E72D297353CC}">
              <c16:uniqueId val="{00000008-9ECC-47FF-8F02-8D5147F4057B}"/>
            </c:ext>
          </c:extLst>
        </c:ser>
        <c:dLbls>
          <c:showLegendKey val="0"/>
          <c:showVal val="0"/>
          <c:showCatName val="0"/>
          <c:showSerName val="0"/>
          <c:showPercent val="0"/>
          <c:showBubbleSize val="0"/>
        </c:dLbls>
        <c:gapWidth val="60"/>
        <c:overlap val="100"/>
        <c:axId val="1743408752"/>
        <c:axId val="1"/>
      </c:barChart>
      <c:lineChart>
        <c:grouping val="standard"/>
        <c:varyColors val="0"/>
        <c:ser>
          <c:idx val="1"/>
          <c:order val="1"/>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9-9ECC-47FF-8F02-8D5147F4057B}"/>
              </c:ext>
            </c:extLst>
          </c:dPt>
          <c:dPt>
            <c:idx val="1"/>
            <c:marker>
              <c:symbol val="circle"/>
              <c:size val="6"/>
            </c:marker>
            <c:bubble3D val="0"/>
            <c:extLst>
              <c:ext xmlns:c16="http://schemas.microsoft.com/office/drawing/2014/chart" uri="{C3380CC4-5D6E-409C-BE32-E72D297353CC}">
                <c16:uniqueId val="{0000000A-9ECC-47FF-8F02-8D5147F4057B}"/>
              </c:ext>
            </c:extLst>
          </c:dPt>
          <c:dPt>
            <c:idx val="2"/>
            <c:marker>
              <c:symbol val="circle"/>
              <c:size val="6"/>
            </c:marker>
            <c:bubble3D val="0"/>
            <c:extLst>
              <c:ext xmlns:c16="http://schemas.microsoft.com/office/drawing/2014/chart" uri="{C3380CC4-5D6E-409C-BE32-E72D297353CC}">
                <c16:uniqueId val="{0000000B-9ECC-47FF-8F02-8D5147F4057B}"/>
              </c:ext>
            </c:extLst>
          </c:dPt>
          <c:dPt>
            <c:idx val="3"/>
            <c:marker>
              <c:symbol val="circle"/>
              <c:size val="6"/>
            </c:marker>
            <c:bubble3D val="0"/>
            <c:extLst>
              <c:ext xmlns:c16="http://schemas.microsoft.com/office/drawing/2014/chart" uri="{C3380CC4-5D6E-409C-BE32-E72D297353CC}">
                <c16:uniqueId val="{0000000C-9ECC-47FF-8F02-8D5147F4057B}"/>
              </c:ext>
            </c:extLst>
          </c:dPt>
          <c:dPt>
            <c:idx val="4"/>
            <c:marker>
              <c:symbol val="circle"/>
              <c:size val="6"/>
            </c:marker>
            <c:bubble3D val="0"/>
            <c:extLst>
              <c:ext xmlns:c16="http://schemas.microsoft.com/office/drawing/2014/chart" uri="{C3380CC4-5D6E-409C-BE32-E72D297353CC}">
                <c16:uniqueId val="{0000000D-9ECC-47FF-8F02-8D5147F4057B}"/>
              </c:ext>
            </c:extLst>
          </c:dPt>
          <c:dPt>
            <c:idx val="5"/>
            <c:marker>
              <c:symbol val="circle"/>
              <c:size val="6"/>
            </c:marker>
            <c:bubble3D val="0"/>
            <c:extLst>
              <c:ext xmlns:c16="http://schemas.microsoft.com/office/drawing/2014/chart" uri="{C3380CC4-5D6E-409C-BE32-E72D297353CC}">
                <c16:uniqueId val="{0000000E-9ECC-47FF-8F02-8D5147F4057B}"/>
              </c:ext>
            </c:extLst>
          </c:dPt>
          <c:dPt>
            <c:idx val="6"/>
            <c:marker>
              <c:symbol val="circle"/>
              <c:size val="6"/>
            </c:marker>
            <c:bubble3D val="0"/>
            <c:extLst>
              <c:ext xmlns:c16="http://schemas.microsoft.com/office/drawing/2014/chart" uri="{C3380CC4-5D6E-409C-BE32-E72D297353CC}">
                <c16:uniqueId val="{0000000F-9ECC-47FF-8F02-8D5147F4057B}"/>
              </c:ext>
            </c:extLst>
          </c:dPt>
          <c:dPt>
            <c:idx val="7"/>
            <c:marker>
              <c:symbol val="circle"/>
              <c:size val="6"/>
            </c:marker>
            <c:bubble3D val="0"/>
            <c:extLst>
              <c:ext xmlns:c16="http://schemas.microsoft.com/office/drawing/2014/chart" uri="{C3380CC4-5D6E-409C-BE32-E72D297353CC}">
                <c16:uniqueId val="{00000010-9ECC-47FF-8F02-8D5147F4057B}"/>
              </c:ext>
            </c:extLst>
          </c:dPt>
          <c:dLbls>
            <c:dLbl>
              <c:idx val="0"/>
              <c:layout>
                <c:manualLayout>
                  <c:x val="0"/>
                  <c:y val="-4.68546637744034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ECC-47FF-8F02-8D5147F4057B}"/>
                </c:ext>
              </c:extLst>
            </c:dLbl>
            <c:dLbl>
              <c:idx val="1"/>
              <c:layout>
                <c:manualLayout>
                  <c:x val="0"/>
                  <c:y val="-4.68546637744034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ECC-47FF-8F02-8D5147F4057B}"/>
                </c:ext>
              </c:extLst>
            </c:dLbl>
            <c:dLbl>
              <c:idx val="2"/>
              <c:layout>
                <c:manualLayout>
                  <c:x val="0"/>
                  <c:y val="-4.68546637744034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ECC-47FF-8F02-8D5147F4057B}"/>
                </c:ext>
              </c:extLst>
            </c:dLbl>
            <c:dLbl>
              <c:idx val="3"/>
              <c:layout>
                <c:manualLayout>
                  <c:x val="0"/>
                  <c:y val="-4.68546637744034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ECC-47FF-8F02-8D5147F4057B}"/>
                </c:ext>
              </c:extLst>
            </c:dLbl>
            <c:dLbl>
              <c:idx val="4"/>
              <c:layout>
                <c:manualLayout>
                  <c:x val="0"/>
                  <c:y val="-4.68546637744034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ECC-47FF-8F02-8D5147F4057B}"/>
                </c:ext>
              </c:extLst>
            </c:dLbl>
            <c:dLbl>
              <c:idx val="5"/>
              <c:layout>
                <c:manualLayout>
                  <c:x val="0"/>
                  <c:y val="-4.68546637744034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ECC-47FF-8F02-8D5147F4057B}"/>
                </c:ext>
              </c:extLst>
            </c:dLbl>
            <c:dLbl>
              <c:idx val="6"/>
              <c:layout>
                <c:manualLayout>
                  <c:x val="0"/>
                  <c:y val="-4.68546637744034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ECC-47FF-8F02-8D5147F4057B}"/>
                </c:ext>
              </c:extLst>
            </c:dLbl>
            <c:dLbl>
              <c:idx val="7"/>
              <c:layout>
                <c:manualLayout>
                  <c:x val="0"/>
                  <c:y val="-4.68546637744034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ECC-47FF-8F02-8D5147F405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2.2052219502974593</c:v>
                </c:pt>
                <c:pt idx="1">
                  <c:v>2.2012635379061374</c:v>
                </c:pt>
                <c:pt idx="2">
                  <c:v>2.160691928479205</c:v>
                </c:pt>
                <c:pt idx="3">
                  <c:v>2.1221945741961457</c:v>
                </c:pt>
                <c:pt idx="4">
                  <c:v>2.1014848388617837</c:v>
                </c:pt>
                <c:pt idx="5">
                  <c:v>2.0648210475058364</c:v>
                </c:pt>
                <c:pt idx="6">
                  <c:v>2.0385974887467424</c:v>
                </c:pt>
                <c:pt idx="7">
                  <c:v>2.1053072323449018</c:v>
                </c:pt>
              </c:numCache>
            </c:numRef>
          </c:val>
          <c:smooth val="0"/>
          <c:extLst>
            <c:ext xmlns:c16="http://schemas.microsoft.com/office/drawing/2014/chart" uri="{C3380CC4-5D6E-409C-BE32-E72D297353CC}">
              <c16:uniqueId val="{00000011-9ECC-47FF-8F02-8D5147F4057B}"/>
            </c:ext>
          </c:extLst>
        </c:ser>
        <c:dLbls>
          <c:showLegendKey val="0"/>
          <c:showVal val="0"/>
          <c:showCatName val="0"/>
          <c:showSerName val="0"/>
          <c:showPercent val="0"/>
          <c:showBubbleSize val="0"/>
        </c:dLbls>
        <c:marker val="1"/>
        <c:smooth val="0"/>
        <c:axId val="3"/>
        <c:axId val="2"/>
      </c:lineChart>
      <c:catAx>
        <c:axId val="1743408752"/>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743408752"/>
        <c:crosses val="min"/>
        <c:crossBetween val="between"/>
        <c:majorUnit val="50000"/>
      </c:valAx>
      <c:valAx>
        <c:axId val="2"/>
        <c:scaling>
          <c:orientation val="minMax"/>
          <c:max val="3"/>
          <c:min val="0"/>
        </c:scaling>
        <c:delete val="0"/>
        <c:axPos val="r"/>
        <c:majorGridlines>
          <c:spPr>
            <a:ln>
              <a:noFill/>
            </a:ln>
          </c:spPr>
        </c:majorGridlines>
        <c:numFmt formatCode="#,##0.0;&quot;-&quot;#,##0.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44179894179894"/>
          <c:y val="2.7145359019264449E-2"/>
          <c:w val="0.87136243386243384"/>
          <c:h val="0.94570928196147108"/>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val>
            <c:numRef>
              <c:f>Sheet1!$A$1:$H$1</c:f>
              <c:numCache>
                <c:formatCode>General</c:formatCode>
                <c:ptCount val="8"/>
                <c:pt idx="0">
                  <c:v>4352</c:v>
                </c:pt>
                <c:pt idx="1">
                  <c:v>4391</c:v>
                </c:pt>
                <c:pt idx="2">
                  <c:v>4336</c:v>
                </c:pt>
                <c:pt idx="3">
                  <c:v>4313</c:v>
                </c:pt>
                <c:pt idx="4">
                  <c:v>4378</c:v>
                </c:pt>
                <c:pt idx="5">
                  <c:v>4252</c:v>
                </c:pt>
                <c:pt idx="6">
                  <c:v>4289</c:v>
                </c:pt>
                <c:pt idx="7">
                  <c:v>4325</c:v>
                </c:pt>
              </c:numCache>
            </c:numRef>
          </c:val>
          <c:extLst>
            <c:ext xmlns:c16="http://schemas.microsoft.com/office/drawing/2014/chart" uri="{C3380CC4-5D6E-409C-BE32-E72D297353CC}">
              <c16:uniqueId val="{00000000-83C9-4FD8-A0E6-3862A847585D}"/>
            </c:ext>
          </c:extLst>
        </c:ser>
        <c:ser>
          <c:idx val="1"/>
          <c:order val="1"/>
          <c:spPr>
            <a:solidFill>
              <a:srgbClr val="C0E6F4"/>
            </a:solidFill>
            <a:ln w="9525" cap="flat" algn="ctr">
              <a:solidFill>
                <a:srgbClr val="808080"/>
              </a:solidFill>
              <a:prstDash val="solid"/>
            </a:ln>
          </c:spPr>
          <c:invertIfNegative val="0"/>
          <c:val>
            <c:numRef>
              <c:f>Sheet1!$A$2:$H$2</c:f>
              <c:numCache>
                <c:formatCode>General</c:formatCode>
                <c:ptCount val="8"/>
                <c:pt idx="0">
                  <c:v>2252</c:v>
                </c:pt>
                <c:pt idx="1">
                  <c:v>2344</c:v>
                </c:pt>
                <c:pt idx="2">
                  <c:v>2366</c:v>
                </c:pt>
                <c:pt idx="3">
                  <c:v>2396</c:v>
                </c:pt>
                <c:pt idx="4">
                  <c:v>2430</c:v>
                </c:pt>
                <c:pt idx="5">
                  <c:v>2431</c:v>
                </c:pt>
                <c:pt idx="6">
                  <c:v>2448</c:v>
                </c:pt>
                <c:pt idx="7">
                  <c:v>2706</c:v>
                </c:pt>
              </c:numCache>
            </c:numRef>
          </c:val>
          <c:extLst>
            <c:ext xmlns:c16="http://schemas.microsoft.com/office/drawing/2014/chart" uri="{C3380CC4-5D6E-409C-BE32-E72D297353CC}">
              <c16:uniqueId val="{00000001-83C9-4FD8-A0E6-3862A847585D}"/>
            </c:ext>
          </c:extLst>
        </c:ser>
        <c:dLbls>
          <c:showLegendKey val="0"/>
          <c:showVal val="0"/>
          <c:showCatName val="0"/>
          <c:showSerName val="0"/>
          <c:showPercent val="0"/>
          <c:showBubbleSize val="0"/>
        </c:dLbls>
        <c:gapWidth val="80"/>
        <c:overlap val="100"/>
        <c:axId val="7512608"/>
        <c:axId val="1"/>
      </c:barChart>
      <c:catAx>
        <c:axId val="7512608"/>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8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7512608"/>
        <c:crosses val="min"/>
        <c:crossBetween val="between"/>
        <c:majorUnit val="10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406338249137119"/>
          <c:y val="2.6643747314138374E-2"/>
          <c:w val="0.78161280200815819"/>
          <c:h val="0.94671250537172325"/>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Pt>
            <c:idx val="0"/>
            <c:marker>
              <c:symbol val="none"/>
            </c:marker>
            <c:bubble3D val="0"/>
            <c:extLst>
              <c:ext xmlns:c16="http://schemas.microsoft.com/office/drawing/2014/chart" uri="{C3380CC4-5D6E-409C-BE32-E72D297353CC}">
                <c16:uniqueId val="{00000000-9BEA-472E-92CB-751E2789DBF3}"/>
              </c:ext>
            </c:extLst>
          </c:dPt>
          <c:dPt>
            <c:idx val="1"/>
            <c:marker>
              <c:symbol val="none"/>
            </c:marker>
            <c:bubble3D val="0"/>
            <c:extLst>
              <c:ext xmlns:c16="http://schemas.microsoft.com/office/drawing/2014/chart" uri="{C3380CC4-5D6E-409C-BE32-E72D297353CC}">
                <c16:uniqueId val="{00000001-9BEA-472E-92CB-751E2789DBF3}"/>
              </c:ext>
            </c:extLst>
          </c:dPt>
          <c:dPt>
            <c:idx val="2"/>
            <c:marker>
              <c:symbol val="none"/>
            </c:marker>
            <c:bubble3D val="0"/>
            <c:extLst>
              <c:ext xmlns:c16="http://schemas.microsoft.com/office/drawing/2014/chart" uri="{C3380CC4-5D6E-409C-BE32-E72D297353CC}">
                <c16:uniqueId val="{00000002-9BEA-472E-92CB-751E2789DBF3}"/>
              </c:ext>
            </c:extLst>
          </c:dPt>
          <c:dLbls>
            <c:dLbl>
              <c:idx val="3"/>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BEA-472E-92CB-751E2789DBF3}"/>
                </c:ext>
              </c:extLst>
            </c:dLbl>
            <c:dLbl>
              <c:idx val="5"/>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BEA-472E-92CB-751E2789DBF3}"/>
                </c:ext>
              </c:extLst>
            </c:dLbl>
            <c:dLbl>
              <c:idx val="6"/>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BEA-472E-92CB-751E2789DBF3}"/>
                </c:ext>
              </c:extLst>
            </c:dLbl>
            <c:dLbl>
              <c:idx val="7"/>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BEA-472E-92CB-751E2789DBF3}"/>
                </c:ext>
              </c:extLst>
            </c:dLbl>
            <c:dLbl>
              <c:idx val="9"/>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BEA-472E-92CB-751E2789DB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3">
                  <c:v>1520533</c:v>
                </c:pt>
                <c:pt idx="4">
                  <c:v>1781878</c:v>
                </c:pt>
                <c:pt idx="5">
                  <c:v>1862357</c:v>
                </c:pt>
                <c:pt idx="6">
                  <c:v>1927830</c:v>
                </c:pt>
                <c:pt idx="7">
                  <c:v>2023671</c:v>
                </c:pt>
                <c:pt idx="8">
                  <c:v>2119620</c:v>
                </c:pt>
                <c:pt idx="9">
                  <c:v>1561940</c:v>
                </c:pt>
              </c:numCache>
            </c:numRef>
          </c:val>
          <c:smooth val="0"/>
          <c:extLst>
            <c:ext xmlns:c16="http://schemas.microsoft.com/office/drawing/2014/chart" uri="{C3380CC4-5D6E-409C-BE32-E72D297353CC}">
              <c16:uniqueId val="{00000008-9BEA-472E-92CB-751E2789DBF3}"/>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Pt>
            <c:idx val="2"/>
            <c:marker>
              <c:symbol val="none"/>
            </c:marker>
            <c:bubble3D val="0"/>
            <c:extLst>
              <c:ext xmlns:c16="http://schemas.microsoft.com/office/drawing/2014/chart" uri="{C3380CC4-5D6E-409C-BE32-E72D297353CC}">
                <c16:uniqueId val="{00000009-9BEA-472E-92CB-751E2789DBF3}"/>
              </c:ext>
            </c:extLst>
          </c:dPt>
          <c:dPt>
            <c:idx val="4"/>
            <c:marker>
              <c:symbol val="none"/>
            </c:marker>
            <c:bubble3D val="0"/>
            <c:extLst>
              <c:ext xmlns:c16="http://schemas.microsoft.com/office/drawing/2014/chart" uri="{C3380CC4-5D6E-409C-BE32-E72D297353CC}">
                <c16:uniqueId val="{0000000A-9BEA-472E-92CB-751E2789DBF3}"/>
              </c:ext>
            </c:extLst>
          </c:dPt>
          <c:dPt>
            <c:idx val="5"/>
            <c:marker>
              <c:symbol val="none"/>
            </c:marker>
            <c:bubble3D val="0"/>
            <c:extLst>
              <c:ext xmlns:c16="http://schemas.microsoft.com/office/drawing/2014/chart" uri="{C3380CC4-5D6E-409C-BE32-E72D297353CC}">
                <c16:uniqueId val="{0000000B-9BEA-472E-92CB-751E2789DBF3}"/>
              </c:ext>
            </c:extLst>
          </c:dPt>
          <c:dPt>
            <c:idx val="6"/>
            <c:marker>
              <c:symbol val="none"/>
            </c:marker>
            <c:bubble3D val="0"/>
            <c:extLst>
              <c:ext xmlns:c16="http://schemas.microsoft.com/office/drawing/2014/chart" uri="{C3380CC4-5D6E-409C-BE32-E72D297353CC}">
                <c16:uniqueId val="{0000000C-9BEA-472E-92CB-751E2789DBF3}"/>
              </c:ext>
            </c:extLst>
          </c:dPt>
          <c:dPt>
            <c:idx val="8"/>
            <c:marker>
              <c:symbol val="none"/>
            </c:marker>
            <c:bubble3D val="0"/>
            <c:extLst>
              <c:ext xmlns:c16="http://schemas.microsoft.com/office/drawing/2014/chart" uri="{C3380CC4-5D6E-409C-BE32-E72D297353CC}">
                <c16:uniqueId val="{0000000D-9BEA-472E-92CB-751E2789DBF3}"/>
              </c:ext>
            </c:extLst>
          </c:dPt>
          <c:dLbls>
            <c:dLbl>
              <c:idx val="0"/>
              <c:layout>
                <c:manualLayout>
                  <c:x val="5.6165673046752435E-2"/>
                  <c:y val="-7.0906746884400518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BEA-472E-92CB-751E2789DBF3}"/>
                </c:ext>
              </c:extLst>
            </c:dLbl>
            <c:dLbl>
              <c:idx val="1"/>
              <c:layout>
                <c:manualLayout>
                  <c:x val="8.7229369312833385E-2"/>
                  <c:y val="-5.8014611087236788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BEA-472E-92CB-751E2789DBF3}"/>
                </c:ext>
              </c:extLst>
            </c:dLbl>
            <c:dLbl>
              <c:idx val="3"/>
              <c:layout>
                <c:manualLayout>
                  <c:x val="5.1459052400376529E-2"/>
                  <c:y val="-5.9303824666953157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BEA-472E-92CB-751E2789DBF3}"/>
                </c:ext>
              </c:extLst>
            </c:dLbl>
            <c:dLbl>
              <c:idx val="7"/>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BEA-472E-92CB-751E2789DBF3}"/>
                </c:ext>
              </c:extLst>
            </c:dLbl>
            <c:dLbl>
              <c:idx val="9"/>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BEA-472E-92CB-751E2789DB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355006</c:v>
                </c:pt>
                <c:pt idx="1">
                  <c:v>365231</c:v>
                </c:pt>
                <c:pt idx="2">
                  <c:v>371792.5</c:v>
                </c:pt>
                <c:pt idx="3">
                  <c:v>378354</c:v>
                </c:pt>
                <c:pt idx="4">
                  <c:v>396267.75</c:v>
                </c:pt>
                <c:pt idx="5">
                  <c:v>414181.5</c:v>
                </c:pt>
                <c:pt idx="6">
                  <c:v>432095.25</c:v>
                </c:pt>
                <c:pt idx="7">
                  <c:v>450009</c:v>
                </c:pt>
                <c:pt idx="8">
                  <c:v>468834</c:v>
                </c:pt>
                <c:pt idx="9">
                  <c:v>487659</c:v>
                </c:pt>
              </c:numCache>
            </c:numRef>
          </c:val>
          <c:smooth val="0"/>
          <c:extLst>
            <c:ext xmlns:c16="http://schemas.microsoft.com/office/drawing/2014/chart" uri="{C3380CC4-5D6E-409C-BE32-E72D297353CC}">
              <c16:uniqueId val="{00000013-9BEA-472E-92CB-751E2789DBF3}"/>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Pt>
            <c:idx val="1"/>
            <c:marker>
              <c:symbol val="none"/>
            </c:marker>
            <c:bubble3D val="0"/>
            <c:extLst>
              <c:ext xmlns:c16="http://schemas.microsoft.com/office/drawing/2014/chart" uri="{C3380CC4-5D6E-409C-BE32-E72D297353CC}">
                <c16:uniqueId val="{00000014-9BEA-472E-92CB-751E2789DBF3}"/>
              </c:ext>
            </c:extLst>
          </c:dPt>
          <c:dPt>
            <c:idx val="2"/>
            <c:marker>
              <c:symbol val="none"/>
            </c:marker>
            <c:bubble3D val="0"/>
            <c:extLst>
              <c:ext xmlns:c16="http://schemas.microsoft.com/office/drawing/2014/chart" uri="{C3380CC4-5D6E-409C-BE32-E72D297353CC}">
                <c16:uniqueId val="{00000015-9BEA-472E-92CB-751E2789DBF3}"/>
              </c:ext>
            </c:extLst>
          </c:dPt>
          <c:dPt>
            <c:idx val="3"/>
            <c:marker>
              <c:symbol val="none"/>
            </c:marker>
            <c:bubble3D val="0"/>
            <c:extLst>
              <c:ext xmlns:c16="http://schemas.microsoft.com/office/drawing/2014/chart" uri="{C3380CC4-5D6E-409C-BE32-E72D297353CC}">
                <c16:uniqueId val="{00000016-9BEA-472E-92CB-751E2789DBF3}"/>
              </c:ext>
            </c:extLst>
          </c:dPt>
          <c:dPt>
            <c:idx val="4"/>
            <c:marker>
              <c:symbol val="none"/>
            </c:marker>
            <c:bubble3D val="0"/>
            <c:extLst>
              <c:ext xmlns:c16="http://schemas.microsoft.com/office/drawing/2014/chart" uri="{C3380CC4-5D6E-409C-BE32-E72D297353CC}">
                <c16:uniqueId val="{00000017-9BEA-472E-92CB-751E2789DBF3}"/>
              </c:ext>
            </c:extLst>
          </c:dPt>
          <c:dPt>
            <c:idx val="5"/>
            <c:marker>
              <c:symbol val="none"/>
            </c:marker>
            <c:bubble3D val="0"/>
            <c:extLst>
              <c:ext xmlns:c16="http://schemas.microsoft.com/office/drawing/2014/chart" uri="{C3380CC4-5D6E-409C-BE32-E72D297353CC}">
                <c16:uniqueId val="{00000018-9BEA-472E-92CB-751E2789DBF3}"/>
              </c:ext>
            </c:extLst>
          </c:dPt>
          <c:dPt>
            <c:idx val="6"/>
            <c:marker>
              <c:symbol val="none"/>
            </c:marker>
            <c:bubble3D val="0"/>
            <c:extLst>
              <c:ext xmlns:c16="http://schemas.microsoft.com/office/drawing/2014/chart" uri="{C3380CC4-5D6E-409C-BE32-E72D297353CC}">
                <c16:uniqueId val="{00000019-9BEA-472E-92CB-751E2789DBF3}"/>
              </c:ext>
            </c:extLst>
          </c:dPt>
          <c:dPt>
            <c:idx val="8"/>
            <c:marker>
              <c:symbol val="none"/>
            </c:marker>
            <c:bubble3D val="0"/>
            <c:extLst>
              <c:ext xmlns:c16="http://schemas.microsoft.com/office/drawing/2014/chart" uri="{C3380CC4-5D6E-409C-BE32-E72D297353CC}">
                <c16:uniqueId val="{0000001A-9BEA-472E-92CB-751E2789DBF3}"/>
              </c:ext>
            </c:extLst>
          </c:dPt>
          <c:dPt>
            <c:idx val="9"/>
            <c:marker>
              <c:symbol val="none"/>
            </c:marker>
            <c:bubble3D val="0"/>
            <c:extLst>
              <c:ext xmlns:c16="http://schemas.microsoft.com/office/drawing/2014/chart" uri="{C3380CC4-5D6E-409C-BE32-E72D297353CC}">
                <c16:uniqueId val="{0000001B-9BEA-472E-92CB-751E2789DBF3}"/>
              </c:ext>
            </c:extLst>
          </c:dPt>
          <c:dLbls>
            <c:dLbl>
              <c:idx val="0"/>
              <c:layout>
                <c:manualLayout>
                  <c:x val="6.5892689049262626E-2"/>
                  <c:y val="-2.4495058014611087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9BEA-472E-92CB-751E2789DB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0">
                  <c:v>107564</c:v>
                </c:pt>
                <c:pt idx="1">
                  <c:v>112478.85714285714</c:v>
                </c:pt>
                <c:pt idx="2">
                  <c:v>117393.71428571429</c:v>
                </c:pt>
                <c:pt idx="3">
                  <c:v>122308.57142857142</c:v>
                </c:pt>
                <c:pt idx="4">
                  <c:v>127223.42857142857</c:v>
                </c:pt>
                <c:pt idx="5">
                  <c:v>132138.28571428571</c:v>
                </c:pt>
                <c:pt idx="6">
                  <c:v>137053.14285714284</c:v>
                </c:pt>
                <c:pt idx="7">
                  <c:v>141968</c:v>
                </c:pt>
              </c:numCache>
            </c:numRef>
          </c:val>
          <c:smooth val="0"/>
          <c:extLst>
            <c:ext xmlns:c16="http://schemas.microsoft.com/office/drawing/2014/chart" uri="{C3380CC4-5D6E-409C-BE32-E72D297353CC}">
              <c16:uniqueId val="{0000001D-9BEA-472E-92CB-751E2789DBF3}"/>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Pt>
            <c:idx val="1"/>
            <c:marker>
              <c:symbol val="none"/>
            </c:marker>
            <c:bubble3D val="0"/>
            <c:extLst>
              <c:ext xmlns:c16="http://schemas.microsoft.com/office/drawing/2014/chart" uri="{C3380CC4-5D6E-409C-BE32-E72D297353CC}">
                <c16:uniqueId val="{0000001E-9BEA-472E-92CB-751E2789DBF3}"/>
              </c:ext>
            </c:extLst>
          </c:dPt>
          <c:dPt>
            <c:idx val="2"/>
            <c:marker>
              <c:symbol val="none"/>
            </c:marker>
            <c:bubble3D val="0"/>
            <c:extLst>
              <c:ext xmlns:c16="http://schemas.microsoft.com/office/drawing/2014/chart" uri="{C3380CC4-5D6E-409C-BE32-E72D297353CC}">
                <c16:uniqueId val="{0000001F-9BEA-472E-92CB-751E2789DBF3}"/>
              </c:ext>
            </c:extLst>
          </c:dPt>
          <c:dPt>
            <c:idx val="3"/>
            <c:marker>
              <c:symbol val="none"/>
            </c:marker>
            <c:bubble3D val="0"/>
            <c:extLst>
              <c:ext xmlns:c16="http://schemas.microsoft.com/office/drawing/2014/chart" uri="{C3380CC4-5D6E-409C-BE32-E72D297353CC}">
                <c16:uniqueId val="{00000020-9BEA-472E-92CB-751E2789DBF3}"/>
              </c:ext>
            </c:extLst>
          </c:dPt>
          <c:dPt>
            <c:idx val="4"/>
            <c:marker>
              <c:symbol val="none"/>
            </c:marker>
            <c:bubble3D val="0"/>
            <c:extLst>
              <c:ext xmlns:c16="http://schemas.microsoft.com/office/drawing/2014/chart" uri="{C3380CC4-5D6E-409C-BE32-E72D297353CC}">
                <c16:uniqueId val="{00000021-9BEA-472E-92CB-751E2789DBF3}"/>
              </c:ext>
            </c:extLst>
          </c:dPt>
          <c:dPt>
            <c:idx val="5"/>
            <c:marker>
              <c:symbol val="none"/>
            </c:marker>
            <c:bubble3D val="0"/>
            <c:extLst>
              <c:ext xmlns:c16="http://schemas.microsoft.com/office/drawing/2014/chart" uri="{C3380CC4-5D6E-409C-BE32-E72D297353CC}">
                <c16:uniqueId val="{00000022-9BEA-472E-92CB-751E2789DBF3}"/>
              </c:ext>
            </c:extLst>
          </c:dPt>
          <c:dPt>
            <c:idx val="6"/>
            <c:marker>
              <c:symbol val="none"/>
            </c:marker>
            <c:bubble3D val="0"/>
            <c:extLst>
              <c:ext xmlns:c16="http://schemas.microsoft.com/office/drawing/2014/chart" uri="{C3380CC4-5D6E-409C-BE32-E72D297353CC}">
                <c16:uniqueId val="{00000023-9BEA-472E-92CB-751E2789DBF3}"/>
              </c:ext>
            </c:extLst>
          </c:dPt>
          <c:dPt>
            <c:idx val="9"/>
            <c:marker>
              <c:symbol val="none"/>
            </c:marker>
            <c:bubble3D val="0"/>
            <c:extLst>
              <c:ext xmlns:c16="http://schemas.microsoft.com/office/drawing/2014/chart" uri="{C3380CC4-5D6E-409C-BE32-E72D297353CC}">
                <c16:uniqueId val="{00000024-9BEA-472E-92CB-751E2789DBF3}"/>
              </c:ext>
            </c:extLst>
          </c:dPt>
          <c:dLbls>
            <c:dLbl>
              <c:idx val="0"/>
              <c:layout>
                <c:manualLayout>
                  <c:x val="7.5619705051772831E-2"/>
                  <c:y val="-2.621400945423291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9BEA-472E-92CB-751E2789DBF3}"/>
                </c:ext>
              </c:extLst>
            </c:dLbl>
            <c:dLbl>
              <c:idx val="7"/>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9BEA-472E-92CB-751E2789DBF3}"/>
                </c:ext>
              </c:extLst>
            </c:dLbl>
            <c:dLbl>
              <c:idx val="8"/>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9BEA-472E-92CB-751E2789DB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0">
                  <c:v>223021</c:v>
                </c:pt>
                <c:pt idx="1">
                  <c:v>228138.28571428571</c:v>
                </c:pt>
                <c:pt idx="2">
                  <c:v>233255.57142857142</c:v>
                </c:pt>
                <c:pt idx="3">
                  <c:v>238372.85714285713</c:v>
                </c:pt>
                <c:pt idx="4">
                  <c:v>243490.14285714284</c:v>
                </c:pt>
                <c:pt idx="5">
                  <c:v>248607.42857142858</c:v>
                </c:pt>
                <c:pt idx="6">
                  <c:v>253724.71428571429</c:v>
                </c:pt>
                <c:pt idx="7">
                  <c:v>258842</c:v>
                </c:pt>
                <c:pt idx="8">
                  <c:v>134060</c:v>
                </c:pt>
              </c:numCache>
            </c:numRef>
          </c:val>
          <c:smooth val="0"/>
          <c:extLst>
            <c:ext xmlns:c16="http://schemas.microsoft.com/office/drawing/2014/chart" uri="{C3380CC4-5D6E-409C-BE32-E72D297353CC}">
              <c16:uniqueId val="{00000028-9BEA-472E-92CB-751E2789DBF3}"/>
            </c:ext>
          </c:extLst>
        </c:ser>
        <c:dLbls>
          <c:showLegendKey val="0"/>
          <c:showVal val="0"/>
          <c:showCatName val="0"/>
          <c:showSerName val="0"/>
          <c:showPercent val="0"/>
          <c:showBubbleSize val="0"/>
        </c:dLbls>
        <c:marker val="1"/>
        <c:smooth val="0"/>
        <c:axId val="1367565007"/>
        <c:axId val="1"/>
      </c:lineChart>
      <c:catAx>
        <c:axId val="136756500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200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67565007"/>
        <c:crosses val="min"/>
        <c:crossBetween val="midCat"/>
        <c:majorUnit val="2000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3123927222795E-2"/>
          <c:y val="2.6643747314138374E-2"/>
          <c:w val="0.87058015791280463"/>
          <c:h val="0.94671250537172325"/>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ymbol val="none"/>
            </c:marker>
            <c:bubble3D val="0"/>
            <c:extLst>
              <c:ext xmlns:c16="http://schemas.microsoft.com/office/drawing/2014/chart" uri="{C3380CC4-5D6E-409C-BE32-E72D297353CC}">
                <c16:uniqueId val="{00000000-C6F6-4D91-AE62-7ADB939B54BA}"/>
              </c:ext>
            </c:extLst>
          </c:dPt>
          <c:dPt>
            <c:idx val="1"/>
            <c:marker>
              <c:symbol val="none"/>
            </c:marker>
            <c:bubble3D val="0"/>
            <c:extLst>
              <c:ext xmlns:c16="http://schemas.microsoft.com/office/drawing/2014/chart" uri="{C3380CC4-5D6E-409C-BE32-E72D297353CC}">
                <c16:uniqueId val="{00000001-C6F6-4D91-AE62-7ADB939B54BA}"/>
              </c:ext>
            </c:extLst>
          </c:dPt>
          <c:dPt>
            <c:idx val="2"/>
            <c:marker>
              <c:symbol val="none"/>
            </c:marker>
            <c:bubble3D val="0"/>
            <c:extLst>
              <c:ext xmlns:c16="http://schemas.microsoft.com/office/drawing/2014/chart" uri="{C3380CC4-5D6E-409C-BE32-E72D297353CC}">
                <c16:uniqueId val="{00000002-C6F6-4D91-AE62-7ADB939B54BA}"/>
              </c:ext>
            </c:extLst>
          </c:dPt>
          <c:dLbls>
            <c:dLbl>
              <c:idx val="3"/>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6F6-4D91-AE62-7ADB939B54BA}"/>
                </c:ext>
              </c:extLst>
            </c:dLbl>
            <c:dLbl>
              <c:idx val="4"/>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6F6-4D91-AE62-7ADB939B54BA}"/>
                </c:ext>
              </c:extLst>
            </c:dLbl>
            <c:dLbl>
              <c:idx val="5"/>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6F6-4D91-AE62-7ADB939B54BA}"/>
                </c:ext>
              </c:extLst>
            </c:dLbl>
            <c:dLbl>
              <c:idx val="6"/>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6F6-4D91-AE62-7ADB939B54BA}"/>
                </c:ext>
              </c:extLst>
            </c:dLbl>
            <c:dLbl>
              <c:idx val="7"/>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6F6-4D91-AE62-7ADB939B54BA}"/>
                </c:ext>
              </c:extLst>
            </c:dLbl>
            <c:dLbl>
              <c:idx val="8"/>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6F6-4D91-AE62-7ADB939B54B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3">
                  <c:v>75.64</c:v>
                </c:pt>
                <c:pt idx="4">
                  <c:v>87.88</c:v>
                </c:pt>
                <c:pt idx="5">
                  <c:v>91.08</c:v>
                </c:pt>
                <c:pt idx="6">
                  <c:v>93.51</c:v>
                </c:pt>
                <c:pt idx="7">
                  <c:v>97.37</c:v>
                </c:pt>
                <c:pt idx="8">
                  <c:v>101.2</c:v>
                </c:pt>
                <c:pt idx="9">
                  <c:v>74.010000000000005</c:v>
                </c:pt>
              </c:numCache>
            </c:numRef>
          </c:val>
          <c:smooth val="0"/>
          <c:extLst>
            <c:ext xmlns:c16="http://schemas.microsoft.com/office/drawing/2014/chart" uri="{C3380CC4-5D6E-409C-BE32-E72D297353CC}">
              <c16:uniqueId val="{00000009-C6F6-4D91-AE62-7ADB939B54BA}"/>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Pt>
            <c:idx val="2"/>
            <c:marker>
              <c:symbol val="none"/>
            </c:marker>
            <c:bubble3D val="0"/>
            <c:extLst>
              <c:ext xmlns:c16="http://schemas.microsoft.com/office/drawing/2014/chart" uri="{C3380CC4-5D6E-409C-BE32-E72D297353CC}">
                <c16:uniqueId val="{0000000A-C6F6-4D91-AE62-7ADB939B54BA}"/>
              </c:ext>
            </c:extLst>
          </c:dPt>
          <c:dPt>
            <c:idx val="4"/>
            <c:marker>
              <c:symbol val="none"/>
            </c:marker>
            <c:bubble3D val="0"/>
            <c:extLst>
              <c:ext xmlns:c16="http://schemas.microsoft.com/office/drawing/2014/chart" uri="{C3380CC4-5D6E-409C-BE32-E72D297353CC}">
                <c16:uniqueId val="{0000000B-C6F6-4D91-AE62-7ADB939B54BA}"/>
              </c:ext>
            </c:extLst>
          </c:dPt>
          <c:dPt>
            <c:idx val="5"/>
            <c:marker>
              <c:symbol val="none"/>
            </c:marker>
            <c:bubble3D val="0"/>
            <c:extLst>
              <c:ext xmlns:c16="http://schemas.microsoft.com/office/drawing/2014/chart" uri="{C3380CC4-5D6E-409C-BE32-E72D297353CC}">
                <c16:uniqueId val="{0000000C-C6F6-4D91-AE62-7ADB939B54BA}"/>
              </c:ext>
            </c:extLst>
          </c:dPt>
          <c:dPt>
            <c:idx val="6"/>
            <c:marker>
              <c:symbol val="none"/>
            </c:marker>
            <c:bubble3D val="0"/>
            <c:extLst>
              <c:ext xmlns:c16="http://schemas.microsoft.com/office/drawing/2014/chart" uri="{C3380CC4-5D6E-409C-BE32-E72D297353CC}">
                <c16:uniqueId val="{0000000D-C6F6-4D91-AE62-7ADB939B54BA}"/>
              </c:ext>
            </c:extLst>
          </c:dPt>
          <c:dPt>
            <c:idx val="8"/>
            <c:marker>
              <c:symbol val="none"/>
            </c:marker>
            <c:bubble3D val="0"/>
            <c:extLst>
              <c:ext xmlns:c16="http://schemas.microsoft.com/office/drawing/2014/chart" uri="{C3380CC4-5D6E-409C-BE32-E72D297353CC}">
                <c16:uniqueId val="{0000000E-C6F6-4D91-AE62-7ADB939B54BA}"/>
              </c:ext>
            </c:extLst>
          </c:dPt>
          <c:dLbls>
            <c:dLbl>
              <c:idx val="0"/>
              <c:layout>
                <c:manualLayout>
                  <c:x val="3.7075180226570546E-2"/>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6F6-4D91-AE62-7ADB939B54BA}"/>
                </c:ext>
              </c:extLst>
            </c:dLbl>
            <c:dLbl>
              <c:idx val="1"/>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6F6-4D91-AE62-7ADB939B54BA}"/>
                </c:ext>
              </c:extLst>
            </c:dLbl>
            <c:dLbl>
              <c:idx val="3"/>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6F6-4D91-AE62-7ADB939B54BA}"/>
                </c:ext>
              </c:extLst>
            </c:dLbl>
            <c:dLbl>
              <c:idx val="7"/>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6F6-4D91-AE62-7ADB939B54BA}"/>
                </c:ext>
              </c:extLst>
            </c:dLbl>
            <c:dLbl>
              <c:idx val="9"/>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6F6-4D91-AE62-7ADB939B54B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18.14</c:v>
                </c:pt>
                <c:pt idx="1">
                  <c:v>18.489999999999998</c:v>
                </c:pt>
                <c:pt idx="2">
                  <c:v>18.655000000000001</c:v>
                </c:pt>
                <c:pt idx="3">
                  <c:v>18.82</c:v>
                </c:pt>
                <c:pt idx="4">
                  <c:v>19.5275</c:v>
                </c:pt>
                <c:pt idx="5">
                  <c:v>20.234999999999999</c:v>
                </c:pt>
                <c:pt idx="6">
                  <c:v>20.942499999999999</c:v>
                </c:pt>
                <c:pt idx="7">
                  <c:v>21.65</c:v>
                </c:pt>
                <c:pt idx="8">
                  <c:v>22.38</c:v>
                </c:pt>
                <c:pt idx="9">
                  <c:v>23.11</c:v>
                </c:pt>
              </c:numCache>
            </c:numRef>
          </c:val>
          <c:smooth val="0"/>
          <c:extLst>
            <c:ext xmlns:c16="http://schemas.microsoft.com/office/drawing/2014/chart" uri="{C3380CC4-5D6E-409C-BE32-E72D297353CC}">
              <c16:uniqueId val="{00000014-C6F6-4D91-AE62-7ADB939B54BA}"/>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1"/>
            <c:marker>
              <c:symbol val="none"/>
            </c:marker>
            <c:bubble3D val="0"/>
            <c:extLst>
              <c:ext xmlns:c16="http://schemas.microsoft.com/office/drawing/2014/chart" uri="{C3380CC4-5D6E-409C-BE32-E72D297353CC}">
                <c16:uniqueId val="{00000015-C6F6-4D91-AE62-7ADB939B54BA}"/>
              </c:ext>
            </c:extLst>
          </c:dPt>
          <c:dPt>
            <c:idx val="2"/>
            <c:marker>
              <c:symbol val="none"/>
            </c:marker>
            <c:bubble3D val="0"/>
            <c:extLst>
              <c:ext xmlns:c16="http://schemas.microsoft.com/office/drawing/2014/chart" uri="{C3380CC4-5D6E-409C-BE32-E72D297353CC}">
                <c16:uniqueId val="{00000016-C6F6-4D91-AE62-7ADB939B54BA}"/>
              </c:ext>
            </c:extLst>
          </c:dPt>
          <c:dPt>
            <c:idx val="3"/>
            <c:marker>
              <c:symbol val="none"/>
            </c:marker>
            <c:bubble3D val="0"/>
            <c:extLst>
              <c:ext xmlns:c16="http://schemas.microsoft.com/office/drawing/2014/chart" uri="{C3380CC4-5D6E-409C-BE32-E72D297353CC}">
                <c16:uniqueId val="{00000017-C6F6-4D91-AE62-7ADB939B54BA}"/>
              </c:ext>
            </c:extLst>
          </c:dPt>
          <c:dPt>
            <c:idx val="4"/>
            <c:marker>
              <c:symbol val="none"/>
            </c:marker>
            <c:bubble3D val="0"/>
            <c:extLst>
              <c:ext xmlns:c16="http://schemas.microsoft.com/office/drawing/2014/chart" uri="{C3380CC4-5D6E-409C-BE32-E72D297353CC}">
                <c16:uniqueId val="{00000018-C6F6-4D91-AE62-7ADB939B54BA}"/>
              </c:ext>
            </c:extLst>
          </c:dPt>
          <c:dPt>
            <c:idx val="5"/>
            <c:marker>
              <c:symbol val="none"/>
            </c:marker>
            <c:bubble3D val="0"/>
            <c:extLst>
              <c:ext xmlns:c16="http://schemas.microsoft.com/office/drawing/2014/chart" uri="{C3380CC4-5D6E-409C-BE32-E72D297353CC}">
                <c16:uniqueId val="{00000019-C6F6-4D91-AE62-7ADB939B54BA}"/>
              </c:ext>
            </c:extLst>
          </c:dPt>
          <c:dPt>
            <c:idx val="6"/>
            <c:marker>
              <c:symbol val="none"/>
            </c:marker>
            <c:bubble3D val="0"/>
            <c:extLst>
              <c:ext xmlns:c16="http://schemas.microsoft.com/office/drawing/2014/chart" uri="{C3380CC4-5D6E-409C-BE32-E72D297353CC}">
                <c16:uniqueId val="{0000001A-C6F6-4D91-AE62-7ADB939B54BA}"/>
              </c:ext>
            </c:extLst>
          </c:dPt>
          <c:dPt>
            <c:idx val="8"/>
            <c:marker>
              <c:symbol val="none"/>
            </c:marker>
            <c:bubble3D val="0"/>
            <c:extLst>
              <c:ext xmlns:c16="http://schemas.microsoft.com/office/drawing/2014/chart" uri="{C3380CC4-5D6E-409C-BE32-E72D297353CC}">
                <c16:uniqueId val="{0000001B-C6F6-4D91-AE62-7ADB939B54BA}"/>
              </c:ext>
            </c:extLst>
          </c:dPt>
          <c:dPt>
            <c:idx val="9"/>
            <c:marker>
              <c:symbol val="none"/>
            </c:marker>
            <c:bubble3D val="0"/>
            <c:extLst>
              <c:ext xmlns:c16="http://schemas.microsoft.com/office/drawing/2014/chart" uri="{C3380CC4-5D6E-409C-BE32-E72D297353CC}">
                <c16:uniqueId val="{0000001C-C6F6-4D91-AE62-7ADB939B54BA}"/>
              </c:ext>
            </c:extLst>
          </c:dPt>
          <c:val>
            <c:numRef>
              <c:f>Sheet1!$A$3:$J$3</c:f>
              <c:numCache>
                <c:formatCode>General</c:formatCode>
                <c:ptCount val="10"/>
                <c:pt idx="0">
                  <c:v>5.5</c:v>
                </c:pt>
                <c:pt idx="1">
                  <c:v>5.69</c:v>
                </c:pt>
                <c:pt idx="2">
                  <c:v>5.88</c:v>
                </c:pt>
                <c:pt idx="3">
                  <c:v>6.07</c:v>
                </c:pt>
                <c:pt idx="4">
                  <c:v>6.26</c:v>
                </c:pt>
                <c:pt idx="5">
                  <c:v>6.45</c:v>
                </c:pt>
                <c:pt idx="6">
                  <c:v>6.64</c:v>
                </c:pt>
                <c:pt idx="7">
                  <c:v>6.83</c:v>
                </c:pt>
              </c:numCache>
            </c:numRef>
          </c:val>
          <c:smooth val="0"/>
          <c:extLst>
            <c:ext xmlns:c16="http://schemas.microsoft.com/office/drawing/2014/chart" uri="{C3380CC4-5D6E-409C-BE32-E72D297353CC}">
              <c16:uniqueId val="{0000001D-C6F6-4D91-AE62-7ADB939B54BA}"/>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1"/>
            <c:marker>
              <c:symbol val="none"/>
            </c:marker>
            <c:bubble3D val="0"/>
            <c:extLst>
              <c:ext xmlns:c16="http://schemas.microsoft.com/office/drawing/2014/chart" uri="{C3380CC4-5D6E-409C-BE32-E72D297353CC}">
                <c16:uniqueId val="{0000001E-C6F6-4D91-AE62-7ADB939B54BA}"/>
              </c:ext>
            </c:extLst>
          </c:dPt>
          <c:dPt>
            <c:idx val="2"/>
            <c:marker>
              <c:symbol val="none"/>
            </c:marker>
            <c:bubble3D val="0"/>
            <c:extLst>
              <c:ext xmlns:c16="http://schemas.microsoft.com/office/drawing/2014/chart" uri="{C3380CC4-5D6E-409C-BE32-E72D297353CC}">
                <c16:uniqueId val="{0000001F-C6F6-4D91-AE62-7ADB939B54BA}"/>
              </c:ext>
            </c:extLst>
          </c:dPt>
          <c:dPt>
            <c:idx val="3"/>
            <c:marker>
              <c:symbol val="none"/>
            </c:marker>
            <c:bubble3D val="0"/>
            <c:extLst>
              <c:ext xmlns:c16="http://schemas.microsoft.com/office/drawing/2014/chart" uri="{C3380CC4-5D6E-409C-BE32-E72D297353CC}">
                <c16:uniqueId val="{00000020-C6F6-4D91-AE62-7ADB939B54BA}"/>
              </c:ext>
            </c:extLst>
          </c:dPt>
          <c:dPt>
            <c:idx val="4"/>
            <c:marker>
              <c:symbol val="none"/>
            </c:marker>
            <c:bubble3D val="0"/>
            <c:extLst>
              <c:ext xmlns:c16="http://schemas.microsoft.com/office/drawing/2014/chart" uri="{C3380CC4-5D6E-409C-BE32-E72D297353CC}">
                <c16:uniqueId val="{00000021-C6F6-4D91-AE62-7ADB939B54BA}"/>
              </c:ext>
            </c:extLst>
          </c:dPt>
          <c:dPt>
            <c:idx val="5"/>
            <c:marker>
              <c:symbol val="none"/>
            </c:marker>
            <c:bubble3D val="0"/>
            <c:extLst>
              <c:ext xmlns:c16="http://schemas.microsoft.com/office/drawing/2014/chart" uri="{C3380CC4-5D6E-409C-BE32-E72D297353CC}">
                <c16:uniqueId val="{00000022-C6F6-4D91-AE62-7ADB939B54BA}"/>
              </c:ext>
            </c:extLst>
          </c:dPt>
          <c:dPt>
            <c:idx val="6"/>
            <c:marker>
              <c:symbol val="none"/>
            </c:marker>
            <c:bubble3D val="0"/>
            <c:extLst>
              <c:ext xmlns:c16="http://schemas.microsoft.com/office/drawing/2014/chart" uri="{C3380CC4-5D6E-409C-BE32-E72D297353CC}">
                <c16:uniqueId val="{00000023-C6F6-4D91-AE62-7ADB939B54BA}"/>
              </c:ext>
            </c:extLst>
          </c:dPt>
          <c:dPt>
            <c:idx val="9"/>
            <c:marker>
              <c:symbol val="none"/>
            </c:marker>
            <c:bubble3D val="0"/>
            <c:extLst>
              <c:ext xmlns:c16="http://schemas.microsoft.com/office/drawing/2014/chart" uri="{C3380CC4-5D6E-409C-BE32-E72D297353CC}">
                <c16:uniqueId val="{00000024-C6F6-4D91-AE62-7ADB939B54BA}"/>
              </c:ext>
            </c:extLst>
          </c:dPt>
          <c:dLbls>
            <c:dLbl>
              <c:idx val="0"/>
              <c:layout>
                <c:manualLayout>
                  <c:x val="0.11191211809131479"/>
                  <c:y val="-0.1701761925225612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C6F6-4D91-AE62-7ADB939B54BA}"/>
                </c:ext>
              </c:extLst>
            </c:dLbl>
            <c:dLbl>
              <c:idx val="7"/>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C6F6-4D91-AE62-7ADB939B54BA}"/>
                </c:ext>
              </c:extLst>
            </c:dLbl>
            <c:dLbl>
              <c:idx val="8"/>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C6F6-4D91-AE62-7ADB939B54B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0">
                  <c:v>11.4</c:v>
                </c:pt>
                <c:pt idx="1">
                  <c:v>11.55</c:v>
                </c:pt>
                <c:pt idx="2">
                  <c:v>11.7</c:v>
                </c:pt>
                <c:pt idx="3">
                  <c:v>11.85</c:v>
                </c:pt>
                <c:pt idx="4">
                  <c:v>12</c:v>
                </c:pt>
                <c:pt idx="5">
                  <c:v>12.15</c:v>
                </c:pt>
                <c:pt idx="6">
                  <c:v>12.299999999999999</c:v>
                </c:pt>
                <c:pt idx="7">
                  <c:v>12.45</c:v>
                </c:pt>
                <c:pt idx="8">
                  <c:v>6.4</c:v>
                </c:pt>
              </c:numCache>
            </c:numRef>
          </c:val>
          <c:smooth val="0"/>
          <c:extLst>
            <c:ext xmlns:c16="http://schemas.microsoft.com/office/drawing/2014/chart" uri="{C3380CC4-5D6E-409C-BE32-E72D297353CC}">
              <c16:uniqueId val="{00000028-C6F6-4D91-AE62-7ADB939B54BA}"/>
            </c:ext>
          </c:extLst>
        </c:ser>
        <c:dLbls>
          <c:showLegendKey val="0"/>
          <c:showVal val="0"/>
          <c:showCatName val="0"/>
          <c:showSerName val="0"/>
          <c:showPercent val="0"/>
          <c:showBubbleSize val="0"/>
        </c:dLbls>
        <c:marker val="1"/>
        <c:smooth val="0"/>
        <c:axId val="2002985343"/>
        <c:axId val="1"/>
      </c:lineChart>
      <c:catAx>
        <c:axId val="2002985343"/>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1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002985343"/>
        <c:crosses val="min"/>
        <c:crossBetween val="midCat"/>
        <c:majorUnit val="1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33652312599681E-2"/>
          <c:y val="4.1867954911433171E-2"/>
          <c:w val="0.95853269537480068"/>
          <c:h val="0.91626409017713362"/>
        </c:manualLayout>
      </c:layout>
      <c:barChart>
        <c:barDir val="col"/>
        <c:grouping val="stacked"/>
        <c:varyColors val="0"/>
        <c:ser>
          <c:idx val="0"/>
          <c:order val="0"/>
          <c:spPr>
            <a:solidFill>
              <a:srgbClr val="D6D7D9"/>
            </a:solidFill>
            <a:ln>
              <a:noFill/>
            </a:ln>
          </c:spPr>
          <c:invertIfNegative val="0"/>
          <c:dPt>
            <c:idx val="0"/>
            <c:invertIfNegative val="0"/>
            <c:bubble3D val="0"/>
            <c:spPr>
              <a:solidFill>
                <a:srgbClr val="DFE5EF"/>
              </a:solidFill>
              <a:ln>
                <a:noFill/>
              </a:ln>
            </c:spPr>
            <c:extLst>
              <c:ext xmlns:c16="http://schemas.microsoft.com/office/drawing/2014/chart" uri="{C3380CC4-5D6E-409C-BE32-E72D297353CC}">
                <c16:uniqueId val="{00000000-DDDF-4A86-8DF6-0489036115E5}"/>
              </c:ext>
            </c:extLst>
          </c:dPt>
          <c:dPt>
            <c:idx val="1"/>
            <c:invertIfNegative val="0"/>
            <c:bubble3D val="0"/>
            <c:spPr>
              <a:solidFill>
                <a:srgbClr val="DFE5EF"/>
              </a:solidFill>
              <a:ln>
                <a:noFill/>
              </a:ln>
            </c:spPr>
            <c:extLst>
              <c:ext xmlns:c16="http://schemas.microsoft.com/office/drawing/2014/chart" uri="{C3380CC4-5D6E-409C-BE32-E72D297353CC}">
                <c16:uniqueId val="{00000001-DDDF-4A86-8DF6-0489036115E5}"/>
              </c:ext>
            </c:extLst>
          </c:dPt>
          <c:dPt>
            <c:idx val="2"/>
            <c:invertIfNegative val="0"/>
            <c:bubble3D val="0"/>
            <c:spPr>
              <a:solidFill>
                <a:srgbClr val="3399CC"/>
              </a:solidFill>
              <a:ln>
                <a:noFill/>
              </a:ln>
            </c:spPr>
            <c:extLst>
              <c:ext xmlns:c16="http://schemas.microsoft.com/office/drawing/2014/chart" uri="{C3380CC4-5D6E-409C-BE32-E72D297353CC}">
                <c16:uniqueId val="{00000002-DDDF-4A86-8DF6-0489036115E5}"/>
              </c:ext>
            </c:extLst>
          </c:dPt>
          <c:val>
            <c:numRef>
              <c:f>Sheet1!$A$1:$E$1</c:f>
              <c:numCache>
                <c:formatCode>General</c:formatCode>
                <c:ptCount val="5"/>
                <c:pt idx="0">
                  <c:v>217901</c:v>
                </c:pt>
                <c:pt idx="1">
                  <c:v>199528</c:v>
                </c:pt>
                <c:pt idx="2">
                  <c:v>134060</c:v>
                </c:pt>
                <c:pt idx="3">
                  <c:v>70000</c:v>
                </c:pt>
                <c:pt idx="4">
                  <c:v>30000</c:v>
                </c:pt>
              </c:numCache>
            </c:numRef>
          </c:val>
          <c:extLst>
            <c:ext xmlns:c16="http://schemas.microsoft.com/office/drawing/2014/chart" uri="{C3380CC4-5D6E-409C-BE32-E72D297353CC}">
              <c16:uniqueId val="{00000003-DDDF-4A86-8DF6-0489036115E5}"/>
            </c:ext>
          </c:extLst>
        </c:ser>
        <c:dLbls>
          <c:showLegendKey val="0"/>
          <c:showVal val="0"/>
          <c:showCatName val="0"/>
          <c:showSerName val="0"/>
          <c:showPercent val="0"/>
          <c:showBubbleSize val="0"/>
        </c:dLbls>
        <c:gapWidth val="50"/>
        <c:overlap val="100"/>
        <c:axId val="1463455199"/>
        <c:axId val="1"/>
      </c:barChart>
      <c:catAx>
        <c:axId val="1463455199"/>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217901"/>
          <c:min val="0"/>
        </c:scaling>
        <c:delete val="1"/>
        <c:axPos val="l"/>
        <c:numFmt formatCode="General" sourceLinked="1"/>
        <c:majorTickMark val="out"/>
        <c:minorTickMark val="none"/>
        <c:tickLblPos val="nextTo"/>
        <c:crossAx val="1463455199"/>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7"/>
          <c:y val="7.082766973924573E-2"/>
          <c:w val="0.51878082386981161"/>
          <c:h val="0.87122241865591754"/>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77D4ED"/>
              </a:solidFill>
              <a:ln>
                <a:solidFill>
                  <a:schemeClr val="bg1"/>
                </a:solidFill>
              </a:ln>
            </c:spPr>
            <c:extLst>
              <c:ext xmlns:c16="http://schemas.microsoft.com/office/drawing/2014/chart" uri="{C3380CC4-5D6E-409C-BE32-E72D297353CC}">
                <c16:uniqueId val="{00000001-7776-4888-9462-DD1C906D1724}"/>
              </c:ext>
            </c:extLst>
          </c:dPt>
          <c:dPt>
            <c:idx val="1"/>
            <c:bubble3D val="0"/>
            <c:spPr>
              <a:solidFill>
                <a:srgbClr val="BEBEBE"/>
              </a:solidFill>
              <a:ln>
                <a:solidFill>
                  <a:schemeClr val="bg1"/>
                </a:solidFill>
              </a:ln>
            </c:spPr>
            <c:extLst>
              <c:ext xmlns:c16="http://schemas.microsoft.com/office/drawing/2014/chart" uri="{C3380CC4-5D6E-409C-BE32-E72D297353CC}">
                <c16:uniqueId val="{00000003-7776-4888-9462-DD1C906D1724}"/>
              </c:ext>
            </c:extLst>
          </c:dPt>
          <c:cat>
            <c:strRef>
              <c:f>Sheet1!$A$2:$A$3</c:f>
              <c:strCache>
                <c:ptCount val="2"/>
                <c:pt idx="0">
                  <c:v>第 1 四半期</c:v>
                </c:pt>
                <c:pt idx="1">
                  <c:v>第 2 四半期</c:v>
                </c:pt>
              </c:strCache>
            </c:strRef>
          </c:cat>
          <c:val>
            <c:numRef>
              <c:f>Sheet1!$B$2:$B$3</c:f>
              <c:numCache>
                <c:formatCode>General</c:formatCode>
                <c:ptCount val="2"/>
                <c:pt idx="0">
                  <c:v>38</c:v>
                </c:pt>
                <c:pt idx="1">
                  <c:v>62</c:v>
                </c:pt>
              </c:numCache>
            </c:numRef>
          </c:val>
          <c:extLst>
            <c:ext xmlns:c16="http://schemas.microsoft.com/office/drawing/2014/chart" uri="{C3380CC4-5D6E-409C-BE32-E72D297353CC}">
              <c16:uniqueId val="{00000004-7776-4888-9462-DD1C906D1724}"/>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74729984570547E-2"/>
          <c:y val="6.1507936507936505E-2"/>
          <c:w val="0.9333104748842791"/>
          <c:h val="0.87698412698412698"/>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Y$1</c:f>
              <c:numCache>
                <c:formatCode>General</c:formatCode>
                <c:ptCount val="25"/>
                <c:pt idx="0">
                  <c:v>29.834014512895994</c:v>
                </c:pt>
                <c:pt idx="1">
                  <c:v>29.274312442518042</c:v>
                </c:pt>
                <c:pt idx="2">
                  <c:v>28.720169232052967</c:v>
                </c:pt>
                <c:pt idx="3">
                  <c:v>28.169361760275919</c:v>
                </c:pt>
                <c:pt idx="4">
                  <c:v>27.637270934687528</c:v>
                </c:pt>
                <c:pt idx="5">
                  <c:v>27.134548202745091</c:v>
                </c:pt>
                <c:pt idx="6">
                  <c:v>26.650778912026173</c:v>
                </c:pt>
                <c:pt idx="7">
                  <c:v>26.178358751710956</c:v>
                </c:pt>
                <c:pt idx="8">
                  <c:v>25.706047589597425</c:v>
                </c:pt>
                <c:pt idx="9">
                  <c:v>25.230563452222409</c:v>
                </c:pt>
                <c:pt idx="10">
                  <c:v>24.754762955781807</c:v>
                </c:pt>
                <c:pt idx="11">
                  <c:v>24.28224041558844</c:v>
                </c:pt>
                <c:pt idx="12">
                  <c:v>23.81327765652718</c:v>
                </c:pt>
                <c:pt idx="13">
                  <c:v>23.343058957043539</c:v>
                </c:pt>
                <c:pt idx="14">
                  <c:v>22.89809128518089</c:v>
                </c:pt>
                <c:pt idx="15">
                  <c:v>22.497746398239606</c:v>
                </c:pt>
                <c:pt idx="16">
                  <c:v>22.111598816081894</c:v>
                </c:pt>
                <c:pt idx="17">
                  <c:v>21.747774729195882</c:v>
                </c:pt>
                <c:pt idx="18">
                  <c:v>21.439824933165816</c:v>
                </c:pt>
                <c:pt idx="19">
                  <c:v>21.145127227896104</c:v>
                </c:pt>
                <c:pt idx="20">
                  <c:v>20.834770946204511</c:v>
                </c:pt>
                <c:pt idx="21">
                  <c:v>20.540667578507179</c:v>
                </c:pt>
                <c:pt idx="22">
                  <c:v>18.191669039822315</c:v>
                </c:pt>
                <c:pt idx="23">
                  <c:v>16.211146646854989</c:v>
                </c:pt>
                <c:pt idx="24">
                  <c:v>14.897019077294626</c:v>
                </c:pt>
              </c:numCache>
            </c:numRef>
          </c:val>
          <c:extLst>
            <c:ext xmlns:c16="http://schemas.microsoft.com/office/drawing/2014/chart" uri="{C3380CC4-5D6E-409C-BE32-E72D297353CC}">
              <c16:uniqueId val="{00000000-6354-4AE8-8B6C-D2C98826C4F8}"/>
            </c:ext>
          </c:extLst>
        </c:ser>
        <c:ser>
          <c:idx val="1"/>
          <c:order val="1"/>
          <c:spPr>
            <a:solidFill>
              <a:srgbClr val="80CCE8"/>
            </a:solidFill>
            <a:ln w="9525" algn="ctr">
              <a:solidFill>
                <a:srgbClr val="808080"/>
              </a:solidFill>
              <a:prstDash val="solid"/>
            </a:ln>
          </c:spPr>
          <c:invertIfNegative val="0"/>
          <c:val>
            <c:numRef>
              <c:f>Sheet1!$A$2:$Y$2</c:f>
              <c:numCache>
                <c:formatCode>General</c:formatCode>
                <c:ptCount val="25"/>
                <c:pt idx="0">
                  <c:v>64.662202416205787</c:v>
                </c:pt>
                <c:pt idx="1">
                  <c:v>65.111513622620066</c:v>
                </c:pt>
                <c:pt idx="2">
                  <c:v>65.546986400079916</c:v>
                </c:pt>
                <c:pt idx="3">
                  <c:v>65.971988620575942</c:v>
                </c:pt>
                <c:pt idx="4">
                  <c:v>66.369636513818762</c:v>
                </c:pt>
                <c:pt idx="5">
                  <c:v>66.729767317583267</c:v>
                </c:pt>
                <c:pt idx="6">
                  <c:v>67.06444238984372</c:v>
                </c:pt>
                <c:pt idx="7">
                  <c:v>67.384150554683032</c:v>
                </c:pt>
                <c:pt idx="8">
                  <c:v>67.700954932721345</c:v>
                </c:pt>
                <c:pt idx="9">
                  <c:v>68.019108311968054</c:v>
                </c:pt>
                <c:pt idx="10">
                  <c:v>68.337353277119206</c:v>
                </c:pt>
                <c:pt idx="11">
                  <c:v>68.650512993138108</c:v>
                </c:pt>
                <c:pt idx="12">
                  <c:v>68.948846805581283</c:v>
                </c:pt>
                <c:pt idx="13">
                  <c:v>69.22596087510972</c:v>
                </c:pt>
                <c:pt idx="14">
                  <c:v>69.44446584508411</c:v>
                </c:pt>
                <c:pt idx="15">
                  <c:v>69.596009185810644</c:v>
                </c:pt>
                <c:pt idx="16">
                  <c:v>69.726550201122421</c:v>
                </c:pt>
                <c:pt idx="17">
                  <c:v>69.824097230109047</c:v>
                </c:pt>
                <c:pt idx="18">
                  <c:v>69.854580480006604</c:v>
                </c:pt>
                <c:pt idx="19">
                  <c:v>69.859463568154936</c:v>
                </c:pt>
                <c:pt idx="20">
                  <c:v>69.874473925857728</c:v>
                </c:pt>
                <c:pt idx="21">
                  <c:v>69.878267532386829</c:v>
                </c:pt>
                <c:pt idx="22">
                  <c:v>68.765881747161899</c:v>
                </c:pt>
                <c:pt idx="23">
                  <c:v>66.752803788384455</c:v>
                </c:pt>
                <c:pt idx="24">
                  <c:v>63.170774200094016</c:v>
                </c:pt>
              </c:numCache>
            </c:numRef>
          </c:val>
          <c:extLst>
            <c:ext xmlns:c16="http://schemas.microsoft.com/office/drawing/2014/chart" uri="{C3380CC4-5D6E-409C-BE32-E72D297353CC}">
              <c16:uniqueId val="{00000001-6354-4AE8-8B6C-D2C98826C4F8}"/>
            </c:ext>
          </c:extLst>
        </c:ser>
        <c:ser>
          <c:idx val="2"/>
          <c:order val="2"/>
          <c:spPr>
            <a:solidFill>
              <a:srgbClr val="C0E6F4"/>
            </a:solidFill>
            <a:ln w="9525" algn="ctr">
              <a:solidFill>
                <a:srgbClr val="808080"/>
              </a:solidFill>
              <a:prstDash val="solid"/>
            </a:ln>
          </c:spPr>
          <c:invertIfNegative val="0"/>
          <c:dLbls>
            <c:dLbl>
              <c:idx val="20"/>
              <c:layout>
                <c:manualLayout>
                  <c:x val="0"/>
                  <c:y val="0"/>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354-4AE8-8B6C-D2C98826C4F8}"/>
                </c:ext>
              </c:extLst>
            </c:dLbl>
            <c:dLbl>
              <c:idx val="21"/>
              <c:layout>
                <c:manualLayout>
                  <c:x val="0"/>
                  <c:y val="0"/>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354-4AE8-8B6C-D2C98826C4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5.503783070898205</c:v>
                </c:pt>
                <c:pt idx="1">
                  <c:v>5.6141739348619213</c:v>
                </c:pt>
                <c:pt idx="2">
                  <c:v>5.7328443678671182</c:v>
                </c:pt>
                <c:pt idx="3">
                  <c:v>5.858649619148137</c:v>
                </c:pt>
                <c:pt idx="4">
                  <c:v>5.9930925514937066</c:v>
                </c:pt>
                <c:pt idx="5">
                  <c:v>6.1356844796716441</c:v>
                </c:pt>
                <c:pt idx="6">
                  <c:v>6.2847786981301219</c:v>
                </c:pt>
                <c:pt idx="7">
                  <c:v>6.4374906936060068</c:v>
                </c:pt>
                <c:pt idx="8">
                  <c:v>6.5929974776812283</c:v>
                </c:pt>
                <c:pt idx="9">
                  <c:v>6.7503282358095333</c:v>
                </c:pt>
                <c:pt idx="10">
                  <c:v>6.9078837670989763</c:v>
                </c:pt>
                <c:pt idx="11">
                  <c:v>7.0672465912734461</c:v>
                </c:pt>
                <c:pt idx="12">
                  <c:v>7.2378755378915249</c:v>
                </c:pt>
                <c:pt idx="13">
                  <c:v>7.4309801678467347</c:v>
                </c:pt>
                <c:pt idx="14">
                  <c:v>7.6574428697349983</c:v>
                </c:pt>
                <c:pt idx="15">
                  <c:v>7.9062444159497369</c:v>
                </c:pt>
                <c:pt idx="16">
                  <c:v>8.1618509827956824</c:v>
                </c:pt>
                <c:pt idx="17">
                  <c:v>8.4281280406950483</c:v>
                </c:pt>
                <c:pt idx="18">
                  <c:v>8.7055945868275799</c:v>
                </c:pt>
                <c:pt idx="19">
                  <c:v>8.9954092039489559</c:v>
                </c:pt>
                <c:pt idx="20">
                  <c:v>9.2907551279377554</c:v>
                </c:pt>
                <c:pt idx="21">
                  <c:v>9.5810648891059831</c:v>
                </c:pt>
                <c:pt idx="22">
                  <c:v>13.042449213015782</c:v>
                </c:pt>
                <c:pt idx="23">
                  <c:v>17.036049564760557</c:v>
                </c:pt>
                <c:pt idx="24">
                  <c:v>21.932206722611379</c:v>
                </c:pt>
              </c:numCache>
            </c:numRef>
          </c:val>
          <c:extLst>
            <c:ext xmlns:c16="http://schemas.microsoft.com/office/drawing/2014/chart" uri="{C3380CC4-5D6E-409C-BE32-E72D297353CC}">
              <c16:uniqueId val="{00000004-6354-4AE8-8B6C-D2C98826C4F8}"/>
            </c:ext>
          </c:extLst>
        </c:ser>
        <c:dLbls>
          <c:showLegendKey val="0"/>
          <c:showVal val="0"/>
          <c:showCatName val="0"/>
          <c:showSerName val="0"/>
          <c:showPercent val="0"/>
          <c:showBubbleSize val="0"/>
        </c:dLbls>
        <c:gapWidth val="60"/>
        <c:overlap val="100"/>
        <c:axId val="424263039"/>
        <c:axId val="1"/>
      </c:barChart>
      <c:catAx>
        <c:axId val="42426303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424263039"/>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7"/>
          <c:y val="7.082766973924573E-2"/>
          <c:w val="0.51878082386981161"/>
          <c:h val="0.87122241865591754"/>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BEBEBE"/>
              </a:solidFill>
              <a:ln>
                <a:solidFill>
                  <a:schemeClr val="bg1"/>
                </a:solidFill>
              </a:ln>
            </c:spPr>
            <c:extLst>
              <c:ext xmlns:c16="http://schemas.microsoft.com/office/drawing/2014/chart" uri="{C3380CC4-5D6E-409C-BE32-E72D297353CC}">
                <c16:uniqueId val="{00000001-47B5-421B-A462-A3DA6755D16C}"/>
              </c:ext>
            </c:extLst>
          </c:dPt>
          <c:dPt>
            <c:idx val="1"/>
            <c:bubble3D val="0"/>
            <c:spPr>
              <a:solidFill>
                <a:srgbClr val="77D4ED"/>
              </a:solidFill>
              <a:ln>
                <a:solidFill>
                  <a:schemeClr val="bg1"/>
                </a:solidFill>
              </a:ln>
            </c:spPr>
            <c:extLst>
              <c:ext xmlns:c16="http://schemas.microsoft.com/office/drawing/2014/chart" uri="{C3380CC4-5D6E-409C-BE32-E72D297353CC}">
                <c16:uniqueId val="{00000003-47B5-421B-A462-A3DA6755D16C}"/>
              </c:ext>
            </c:extLst>
          </c:dPt>
          <c:cat>
            <c:strRef>
              <c:f>Sheet1!$A$2:$A$3</c:f>
              <c:strCache>
                <c:ptCount val="2"/>
                <c:pt idx="0">
                  <c:v>第 1 四半期</c:v>
                </c:pt>
                <c:pt idx="1">
                  <c:v>第 2 四半期</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4-47B5-421B-A462-A3DA6755D16C}"/>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c:spPr>
  <c:txPr>
    <a:bodyPr/>
    <a:lstStyle/>
    <a:p>
      <a:pPr>
        <a:defRPr sz="1800"/>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7"/>
          <c:y val="7.082766973924573E-2"/>
          <c:w val="0.51878082386981161"/>
          <c:h val="0.87122241865591754"/>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77D4ED"/>
              </a:solidFill>
              <a:ln>
                <a:solidFill>
                  <a:schemeClr val="bg1"/>
                </a:solidFill>
              </a:ln>
            </c:spPr>
            <c:extLst>
              <c:ext xmlns:c16="http://schemas.microsoft.com/office/drawing/2014/chart" uri="{C3380CC4-5D6E-409C-BE32-E72D297353CC}">
                <c16:uniqueId val="{00000001-1D03-4405-96ED-330F11EF3F46}"/>
              </c:ext>
            </c:extLst>
          </c:dPt>
          <c:dPt>
            <c:idx val="1"/>
            <c:bubble3D val="0"/>
            <c:spPr>
              <a:solidFill>
                <a:srgbClr val="BEBEBE"/>
              </a:solidFill>
              <a:ln>
                <a:solidFill>
                  <a:schemeClr val="bg1"/>
                </a:solidFill>
              </a:ln>
            </c:spPr>
            <c:extLst>
              <c:ext xmlns:c16="http://schemas.microsoft.com/office/drawing/2014/chart" uri="{C3380CC4-5D6E-409C-BE32-E72D297353CC}">
                <c16:uniqueId val="{00000003-1D03-4405-96ED-330F11EF3F46}"/>
              </c:ext>
            </c:extLst>
          </c:dPt>
          <c:cat>
            <c:strRef>
              <c:f>Sheet1!$A$2:$A$3</c:f>
              <c:strCache>
                <c:ptCount val="2"/>
                <c:pt idx="0">
                  <c:v>第 1 四半期</c:v>
                </c:pt>
                <c:pt idx="1">
                  <c:v>第 2 四半期</c:v>
                </c:pt>
              </c:strCache>
            </c:strRef>
          </c:cat>
          <c:val>
            <c:numRef>
              <c:f>Sheet1!$B$2:$B$3</c:f>
              <c:numCache>
                <c:formatCode>General</c:formatCode>
                <c:ptCount val="2"/>
                <c:pt idx="0">
                  <c:v>25</c:v>
                </c:pt>
                <c:pt idx="1">
                  <c:v>75</c:v>
                </c:pt>
              </c:numCache>
            </c:numRef>
          </c:val>
          <c:extLst>
            <c:ext xmlns:c16="http://schemas.microsoft.com/office/drawing/2014/chart" uri="{C3380CC4-5D6E-409C-BE32-E72D297353CC}">
              <c16:uniqueId val="{00000004-1D03-4405-96ED-330F11EF3F46}"/>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solidFill>
        <a:srgbClr val="FFFFFF"/>
      </a:solidFill>
    </a:ln>
  </c:spPr>
  <c:txPr>
    <a:bodyPr/>
    <a:lstStyle/>
    <a:p>
      <a:pPr>
        <a:defRPr sz="1800"/>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8.6629944917376064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03C-4C75-8524-631CDA284CEA}"/>
                </c:ext>
              </c:extLst>
            </c:dLbl>
            <c:dLbl>
              <c:idx val="1"/>
              <c:layout>
                <c:manualLayout>
                  <c:x val="0"/>
                  <c:y val="-8.9133700550826242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03C-4C75-8524-631CDA284CEA}"/>
                </c:ext>
              </c:extLst>
            </c:dLbl>
            <c:dLbl>
              <c:idx val="2"/>
              <c:layout>
                <c:manualLayout>
                  <c:x val="0"/>
                  <c:y val="-9.2138207310966447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03C-4C75-8524-631CDA284CEA}"/>
                </c:ext>
              </c:extLst>
            </c:dLbl>
            <c:dLbl>
              <c:idx val="3"/>
              <c:layout>
                <c:manualLayout>
                  <c:x val="3.4068495606957147E-3"/>
                  <c:y val="-9.4641962944416624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03C-4C75-8524-631CDA284CEA}"/>
                </c:ext>
              </c:extLst>
            </c:dLbl>
            <c:dLbl>
              <c:idx val="4"/>
              <c:layout>
                <c:manualLayout>
                  <c:x val="6.6343912497758648E-3"/>
                  <c:y val="-0.1031547320981472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03C-4C75-8524-631CDA284CEA}"/>
                </c:ext>
              </c:extLst>
            </c:dLbl>
            <c:dLbl>
              <c:idx val="5"/>
              <c:layout>
                <c:manualLayout>
                  <c:x val="8.7860857091626322E-3"/>
                  <c:y val="-0.1101652478718077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03C-4C75-8524-631CDA284CEA}"/>
                </c:ext>
              </c:extLst>
            </c:dLbl>
            <c:dLbl>
              <c:idx val="6"/>
              <c:layout>
                <c:manualLayout>
                  <c:x val="9.8619329388560158E-3"/>
                  <c:y val="-0.1166750125187781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03C-4C75-8524-631CDA284CEA}"/>
                </c:ext>
              </c:extLst>
            </c:dLbl>
            <c:dLbl>
              <c:idx val="7"/>
              <c:layout>
                <c:manualLayout>
                  <c:x val="1.0579164425318272E-2"/>
                  <c:y val="-0.1281922884326489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03C-4C75-8524-631CDA284CEA}"/>
                </c:ext>
              </c:extLst>
            </c:dLbl>
            <c:dLbl>
              <c:idx val="8"/>
              <c:layout>
                <c:manualLayout>
                  <c:x val="-3.2275416890801506E-3"/>
                  <c:y val="-0.1722583875813720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03C-4C75-8524-631CDA284CEA}"/>
                </c:ext>
              </c:extLst>
            </c:dLbl>
            <c:dLbl>
              <c:idx val="9"/>
              <c:layout>
                <c:manualLayout>
                  <c:x val="0"/>
                  <c:y val="-0.1552328492739108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03C-4C75-8524-631CDA284CEA}"/>
                </c:ext>
              </c:extLst>
            </c:dLbl>
            <c:dLbl>
              <c:idx val="10"/>
              <c:layout>
                <c:manualLayout>
                  <c:x val="3.2275416890801506E-3"/>
                  <c:y val="-0.1687531296945418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03C-4C75-8524-631CDA284CEA}"/>
                </c:ext>
              </c:extLst>
            </c:dLbl>
            <c:dLbl>
              <c:idx val="11"/>
              <c:layout>
                <c:manualLayout>
                  <c:x val="0"/>
                  <c:y val="-0.2003004506760140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03C-4C75-8524-631CDA284CEA}"/>
                </c:ext>
              </c:extLst>
            </c:dLbl>
            <c:dLbl>
              <c:idx val="12"/>
              <c:layout>
                <c:manualLayout>
                  <c:x val="3.4068495606957147E-3"/>
                  <c:y val="-0.2173259889834752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03C-4C75-8524-631CDA284CEA}"/>
                </c:ext>
              </c:extLst>
            </c:dLbl>
            <c:dLbl>
              <c:idx val="13"/>
              <c:layout>
                <c:manualLayout>
                  <c:x val="0"/>
                  <c:y val="-0.25738607911867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03C-4C75-8524-631CDA284CEA}"/>
                </c:ext>
              </c:extLst>
            </c:dLbl>
            <c:dLbl>
              <c:idx val="14"/>
              <c:layout>
                <c:manualLayout>
                  <c:x val="3.2275416890801506E-3"/>
                  <c:y val="-0.2844266399599398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03C-4C75-8524-631CDA284CEA}"/>
                </c:ext>
              </c:extLst>
            </c:dLbl>
            <c:dLbl>
              <c:idx val="15"/>
              <c:layout>
                <c:manualLayout>
                  <c:x val="0"/>
                  <c:y val="-0.3229844767150726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03C-4C75-8524-631CDA284CEA}"/>
                </c:ext>
              </c:extLst>
            </c:dLbl>
            <c:dLbl>
              <c:idx val="16"/>
              <c:layout>
                <c:manualLayout>
                  <c:x val="3.4068495606957147E-3"/>
                  <c:y val="-0.3475212819228843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03C-4C75-8524-631CDA284CEA}"/>
                </c:ext>
              </c:extLst>
            </c:dLbl>
            <c:dLbl>
              <c:idx val="17"/>
              <c:layout>
                <c:manualLayout>
                  <c:x val="0"/>
                  <c:y val="-0.3920881321982974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03C-4C75-8524-631CDA284CEA}"/>
                </c:ext>
              </c:extLst>
            </c:dLbl>
            <c:dLbl>
              <c:idx val="18"/>
              <c:layout>
                <c:manualLayout>
                  <c:x val="3.2275416890801506E-3"/>
                  <c:y val="-0.4086129193790686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03C-4C75-8524-631CDA284CEA}"/>
                </c:ext>
              </c:extLst>
            </c:dLbl>
            <c:dLbl>
              <c:idx val="19"/>
              <c:layout>
                <c:manualLayout>
                  <c:x val="0"/>
                  <c:y val="-0.4376564847270906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03C-4C75-8524-631CDA284CEA}"/>
                </c:ext>
              </c:extLst>
            </c:dLbl>
            <c:dLbl>
              <c:idx val="20"/>
              <c:layout>
                <c:manualLayout>
                  <c:x val="3.4068495606957147E-3"/>
                  <c:y val="-0.4546820230345518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03C-4C75-8524-631CDA284CEA}"/>
                </c:ext>
              </c:extLst>
            </c:dLbl>
            <c:dLbl>
              <c:idx val="21"/>
              <c:layout>
                <c:manualLayout>
                  <c:x val="0"/>
                  <c:y val="-0.4877315973960941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03C-4C75-8524-631CDA284CE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050.6315740427001</c:v>
                </c:pt>
                <c:pt idx="1">
                  <c:v>1111.58196075758</c:v>
                </c:pt>
                <c:pt idx="2">
                  <c:v>1173.7334758854799</c:v>
                </c:pt>
                <c:pt idx="3">
                  <c:v>1220.90785674624</c:v>
                </c:pt>
                <c:pt idx="4">
                  <c:v>1404.3446125820601</c:v>
                </c:pt>
                <c:pt idx="5">
                  <c:v>1555.36403598624</c:v>
                </c:pt>
                <c:pt idx="6">
                  <c:v>1681.24814536903</c:v>
                </c:pt>
                <c:pt idx="7">
                  <c:v>1932.59354150636</c:v>
                </c:pt>
                <c:pt idx="8">
                  <c:v>2223.8868115799601</c:v>
                </c:pt>
                <c:pt idx="9">
                  <c:v>2500.1675509526299</c:v>
                </c:pt>
                <c:pt idx="10">
                  <c:v>2795.4743958035301</c:v>
                </c:pt>
                <c:pt idx="11">
                  <c:v>3348.3087653408402</c:v>
                </c:pt>
                <c:pt idx="12">
                  <c:v>3831.1035547515899</c:v>
                </c:pt>
                <c:pt idx="13">
                  <c:v>4676.2612351520802</c:v>
                </c:pt>
                <c:pt idx="14">
                  <c:v>5257.15409678986</c:v>
                </c:pt>
                <c:pt idx="15">
                  <c:v>6071.4621061235202</c:v>
                </c:pt>
                <c:pt idx="16">
                  <c:v>6583.4837976715598</c:v>
                </c:pt>
                <c:pt idx="17">
                  <c:v>7539.9903695570702</c:v>
                </c:pt>
                <c:pt idx="18">
                  <c:v>7889.7012101146702</c:v>
                </c:pt>
                <c:pt idx="19">
                  <c:v>8491.2882079602405</c:v>
                </c:pt>
                <c:pt idx="20">
                  <c:v>8864.9937986402001</c:v>
                </c:pt>
                <c:pt idx="21">
                  <c:v>9570.2684701958806</c:v>
                </c:pt>
              </c:numCache>
            </c:numRef>
          </c:val>
          <c:extLst>
            <c:ext xmlns:c16="http://schemas.microsoft.com/office/drawing/2014/chart" uri="{C3380CC4-5D6E-409C-BE32-E72D297353CC}">
              <c16:uniqueId val="{00000016-103C-4C75-8524-631CDA284CEA}"/>
            </c:ext>
          </c:extLst>
        </c:ser>
        <c:dLbls>
          <c:showLegendKey val="0"/>
          <c:showVal val="0"/>
          <c:showCatName val="0"/>
          <c:showSerName val="0"/>
          <c:showPercent val="0"/>
          <c:showBubbleSize val="0"/>
        </c:dLbls>
        <c:gapWidth val="80"/>
        <c:overlap val="100"/>
        <c:axId val="1763646272"/>
        <c:axId val="1"/>
      </c:barChart>
      <c:catAx>
        <c:axId val="176364627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570.2684701958806"/>
          <c:min val="0"/>
        </c:scaling>
        <c:delete val="1"/>
        <c:axPos val="l"/>
        <c:numFmt formatCode="General" sourceLinked="1"/>
        <c:majorTickMark val="out"/>
        <c:minorTickMark val="none"/>
        <c:tickLblPos val="nextTo"/>
        <c:crossAx val="1763646272"/>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635945583445105E-3"/>
          <c:y val="2.4436090225563908E-2"/>
          <c:w val="0.980072810883311"/>
          <c:h val="0.95112781954887216"/>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T$1</c:f>
              <c:numCache>
                <c:formatCode>General</c:formatCode>
                <c:ptCount val="20"/>
                <c:pt idx="0">
                  <c:v>101850.99150794816</c:v>
                </c:pt>
                <c:pt idx="1">
                  <c:v>105931.2781624473</c:v>
                </c:pt>
                <c:pt idx="2">
                  <c:v>111045.48426030659</c:v>
                </c:pt>
                <c:pt idx="3">
                  <c:v>105753.73745887553</c:v>
                </c:pt>
                <c:pt idx="4">
                  <c:v>110970.08589726946</c:v>
                </c:pt>
                <c:pt idx="5">
                  <c:v>113261.60240505038</c:v>
                </c:pt>
                <c:pt idx="6">
                  <c:v>120886.54753944774</c:v>
                </c:pt>
                <c:pt idx="7">
                  <c:v>127483.0391479364</c:v>
                </c:pt>
                <c:pt idx="8">
                  <c:v>130864.90799511058</c:v>
                </c:pt>
                <c:pt idx="9">
                  <c:v>136956.94006537792</c:v>
                </c:pt>
                <c:pt idx="10">
                  <c:v>139379.76417262145</c:v>
                </c:pt>
                <c:pt idx="11">
                  <c:v>142055.97081513572</c:v>
                </c:pt>
                <c:pt idx="12">
                  <c:v>143821.63549122523</c:v>
                </c:pt>
                <c:pt idx="13">
                  <c:v>152743.49948318279</c:v>
                </c:pt>
                <c:pt idx="14">
                  <c:v>161593.18645826957</c:v>
                </c:pt>
                <c:pt idx="15">
                  <c:v>165383.66957194966</c:v>
                </c:pt>
                <c:pt idx="16">
                  <c:v>164628.84234319179</c:v>
                </c:pt>
                <c:pt idx="17">
                  <c:v>172305.19717332633</c:v>
                </c:pt>
                <c:pt idx="18">
                  <c:v>175258.27342611359</c:v>
                </c:pt>
                <c:pt idx="19">
                  <c:v>180107.13019487454</c:v>
                </c:pt>
              </c:numCache>
            </c:numRef>
          </c:val>
          <c:extLst>
            <c:ext xmlns:c16="http://schemas.microsoft.com/office/drawing/2014/chart" uri="{C3380CC4-5D6E-409C-BE32-E72D297353CC}">
              <c16:uniqueId val="{00000000-2BF2-4978-8EC7-13A43F1AF37D}"/>
            </c:ext>
          </c:extLst>
        </c:ser>
        <c:dLbls>
          <c:showLegendKey val="0"/>
          <c:showVal val="0"/>
          <c:showCatName val="0"/>
          <c:showSerName val="0"/>
          <c:showPercent val="0"/>
          <c:showBubbleSize val="0"/>
        </c:dLbls>
        <c:gapWidth val="60"/>
        <c:overlap val="100"/>
        <c:axId val="329768399"/>
        <c:axId val="1"/>
      </c:barChart>
      <c:catAx>
        <c:axId val="32976839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329768399"/>
        <c:crosses val="min"/>
        <c:crossBetween val="between"/>
        <c:majorUnit val="5000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024559375902918E-2"/>
          <c:y val="2.5316455696202531E-2"/>
          <c:w val="0.96995088124819417"/>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316815799</c:v>
                </c:pt>
                <c:pt idx="1">
                  <c:v>292367850</c:v>
                </c:pt>
                <c:pt idx="2">
                  <c:v>324444324</c:v>
                </c:pt>
                <c:pt idx="3">
                  <c:v>288217860</c:v>
                </c:pt>
                <c:pt idx="4">
                  <c:v>341079904</c:v>
                </c:pt>
              </c:numCache>
            </c:numRef>
          </c:val>
          <c:extLst>
            <c:ext xmlns:c16="http://schemas.microsoft.com/office/drawing/2014/chart" uri="{C3380CC4-5D6E-409C-BE32-E72D297353CC}">
              <c16:uniqueId val="{00000000-9459-46EA-B1E6-4D13AA187B14}"/>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2203789000</c:v>
                </c:pt>
                <c:pt idx="1">
                  <c:v>2546898900</c:v>
                </c:pt>
                <c:pt idx="2">
                  <c:v>2553200083</c:v>
                </c:pt>
                <c:pt idx="3">
                  <c:v>2427359176</c:v>
                </c:pt>
                <c:pt idx="4">
                  <c:v>2667974330</c:v>
                </c:pt>
              </c:numCache>
            </c:numRef>
          </c:val>
          <c:extLst>
            <c:ext xmlns:c16="http://schemas.microsoft.com/office/drawing/2014/chart" uri="{C3380CC4-5D6E-409C-BE32-E72D297353CC}">
              <c16:uniqueId val="{00000001-9459-46EA-B1E6-4D13AA187B14}"/>
            </c:ext>
          </c:extLst>
        </c:ser>
        <c:dLbls>
          <c:showLegendKey val="0"/>
          <c:showVal val="0"/>
          <c:showCatName val="0"/>
          <c:showSerName val="0"/>
          <c:showPercent val="0"/>
          <c:showBubbleSize val="0"/>
        </c:dLbls>
        <c:gapWidth val="60"/>
        <c:axId val="795328736"/>
        <c:axId val="1"/>
      </c:barChart>
      <c:catAx>
        <c:axId val="79532873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795328736"/>
        <c:crosses val="min"/>
        <c:crossBetween val="between"/>
        <c:majorUnit val="50000000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ED57-4582-9C61-848E9DD4ACA0}"/>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ED57-4582-9C61-848E9DD4ACA0}"/>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ED57-4582-9C61-848E9DD4ACA0}"/>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ED57-4582-9C61-848E9DD4ACA0}"/>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ED57-4582-9C61-848E9DD4ACA0}"/>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ED57-4582-9C61-848E9DD4ACA0}"/>
              </c:ext>
            </c:extLst>
          </c:dPt>
          <c:dLbls>
            <c:dLbl>
              <c:idx val="0"/>
              <c:layout>
                <c:manualLayout>
                  <c:x val="0.13722998729351971"/>
                  <c:y val="-9.5933926302414235E-2"/>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D57-4582-9C61-848E9DD4ACA0}"/>
                </c:ext>
              </c:extLst>
            </c:dLbl>
            <c:dLbl>
              <c:idx val="1"/>
              <c:layout>
                <c:manualLayout>
                  <c:x val="0.11626429479034307"/>
                  <c:y val="0.12261753494282084"/>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D57-4582-9C61-848E9DD4ACA0}"/>
                </c:ext>
              </c:extLst>
            </c:dLbl>
            <c:dLbl>
              <c:idx val="2"/>
              <c:layout>
                <c:manualLayout>
                  <c:x val="-1.7153748411689963E-2"/>
                  <c:y val="0.1880559085133418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D57-4582-9C61-848E9DD4ACA0}"/>
                </c:ext>
              </c:extLst>
            </c:dLbl>
            <c:dLbl>
              <c:idx val="3"/>
              <c:layout>
                <c:manualLayout>
                  <c:x val="-0.10736975857687421"/>
                  <c:y val="0.14421855146124524"/>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D57-4582-9C61-848E9DD4ACA0}"/>
                </c:ext>
              </c:extLst>
            </c:dLbl>
            <c:dLbl>
              <c:idx val="4"/>
              <c:layout>
                <c:manualLayout>
                  <c:x val="-0.14358322744599747"/>
                  <c:y val="0.10673443456162643"/>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D57-4582-9C61-848E9DD4ACA0}"/>
                </c:ext>
              </c:extLst>
            </c:dLbl>
            <c:dLbl>
              <c:idx val="5"/>
              <c:layout>
                <c:manualLayout>
                  <c:x val="-0.144853875476493"/>
                  <c:y val="-8.5133418043202028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D57-4582-9C61-848E9DD4ACA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30.633807871453055</c:v>
                </c:pt>
                <c:pt idx="1">
                  <c:v>14.665493021605858</c:v>
                </c:pt>
                <c:pt idx="2">
                  <c:v>12.265985971300001</c:v>
                </c:pt>
                <c:pt idx="3">
                  <c:v>5.1672098038232752</c:v>
                </c:pt>
                <c:pt idx="4">
                  <c:v>4.1640305711990688</c:v>
                </c:pt>
                <c:pt idx="5">
                  <c:v>33.103472760618722</c:v>
                </c:pt>
              </c:numCache>
            </c:numRef>
          </c:val>
          <c:extLst>
            <c:ext xmlns:c16="http://schemas.microsoft.com/office/drawing/2014/chart" uri="{C3380CC4-5D6E-409C-BE32-E72D297353CC}">
              <c16:uniqueId val="{00000006-ED57-4582-9C61-848E9DD4ACA0}"/>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75177304964539E-2"/>
          <c:y val="2.3203926818384651E-2"/>
          <c:w val="0.97049645390070927"/>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1247232937</c:v>
                </c:pt>
                <c:pt idx="1">
                  <c:v>1186678378</c:v>
                </c:pt>
                <c:pt idx="2">
                  <c:v>1162105018</c:v>
                </c:pt>
                <c:pt idx="3">
                  <c:v>1078398136</c:v>
                </c:pt>
                <c:pt idx="4">
                  <c:v>1103180931</c:v>
                </c:pt>
              </c:numCache>
            </c:numRef>
          </c:val>
          <c:extLst>
            <c:ext xmlns:c16="http://schemas.microsoft.com/office/drawing/2014/chart" uri="{C3380CC4-5D6E-409C-BE32-E72D297353CC}">
              <c16:uniqueId val="{00000000-F7DC-4FDE-BB68-5B5526C0D87B}"/>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6727103665</c:v>
                </c:pt>
                <c:pt idx="1">
                  <c:v>7443801646</c:v>
                </c:pt>
                <c:pt idx="2">
                  <c:v>7534488301</c:v>
                </c:pt>
                <c:pt idx="3">
                  <c:v>7323151275</c:v>
                </c:pt>
                <c:pt idx="4">
                  <c:v>11380260241</c:v>
                </c:pt>
              </c:numCache>
            </c:numRef>
          </c:val>
          <c:extLst>
            <c:ext xmlns:c16="http://schemas.microsoft.com/office/drawing/2014/chart" uri="{C3380CC4-5D6E-409C-BE32-E72D297353CC}">
              <c16:uniqueId val="{00000001-F7DC-4FDE-BB68-5B5526C0D87B}"/>
            </c:ext>
          </c:extLst>
        </c:ser>
        <c:dLbls>
          <c:showLegendKey val="0"/>
          <c:showVal val="0"/>
          <c:showCatName val="0"/>
          <c:showSerName val="0"/>
          <c:showPercent val="0"/>
          <c:showBubbleSize val="0"/>
        </c:dLbls>
        <c:gapWidth val="60"/>
        <c:axId val="415674943"/>
        <c:axId val="1"/>
      </c:barChart>
      <c:catAx>
        <c:axId val="41567494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415674943"/>
        <c:crosses val="min"/>
        <c:crossBetween val="between"/>
        <c:majorUnit val="100000000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82F3-49DD-9BDA-6052F936078A}"/>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82F3-49DD-9BDA-6052F936078A}"/>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82F3-49DD-9BDA-6052F936078A}"/>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82F3-49DD-9BDA-6052F936078A}"/>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82F3-49DD-9BDA-6052F936078A}"/>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82F3-49DD-9BDA-6052F936078A}"/>
              </c:ext>
            </c:extLst>
          </c:dPt>
          <c:dLbls>
            <c:dLbl>
              <c:idx val="0"/>
              <c:layout>
                <c:manualLayout>
                  <c:x val="9.9745870393900884E-2"/>
                  <c:y val="-0.13913595933926304"/>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2F3-49DD-9BDA-6052F936078A}"/>
                </c:ext>
              </c:extLst>
            </c:dLbl>
            <c:dLbl>
              <c:idx val="1"/>
              <c:layout>
                <c:manualLayout>
                  <c:x val="0.16581956797966962"/>
                  <c:y val="3.7484116899618808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2F3-49DD-9BDA-6052F936078A}"/>
                </c:ext>
              </c:extLst>
            </c:dLbl>
            <c:dLbl>
              <c:idx val="2"/>
              <c:layout>
                <c:manualLayout>
                  <c:x val="8.2592121982210928E-2"/>
                  <c:y val="0.15374841168996187"/>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2F3-49DD-9BDA-6052F936078A}"/>
                </c:ext>
              </c:extLst>
            </c:dLbl>
            <c:dLbl>
              <c:idx val="3"/>
              <c:layout>
                <c:manualLayout>
                  <c:x val="-2.5412960609911056E-3"/>
                  <c:y val="0.1937738246505718"/>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2F3-49DD-9BDA-6052F936078A}"/>
                </c:ext>
              </c:extLst>
            </c:dLbl>
            <c:dLbl>
              <c:idx val="4"/>
              <c:layout>
                <c:manualLayout>
                  <c:x val="-6.607369758576874E-2"/>
                  <c:y val="0.17217280813214739"/>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2F3-49DD-9BDA-6052F936078A}"/>
                </c:ext>
              </c:extLst>
            </c:dLbl>
            <c:dLbl>
              <c:idx val="5"/>
              <c:layout>
                <c:manualLayout>
                  <c:x val="-0.16391359593392629"/>
                  <c:y val="-4.4472681067344345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2F3-49DD-9BDA-6052F936078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9.829467713178417</c:v>
                </c:pt>
                <c:pt idx="1">
                  <c:v>17.350394821457165</c:v>
                </c:pt>
                <c:pt idx="2">
                  <c:v>9.960609958082939</c:v>
                </c:pt>
                <c:pt idx="3">
                  <c:v>6.1349560784194255</c:v>
                </c:pt>
                <c:pt idx="4">
                  <c:v>5.1457208706335482</c:v>
                </c:pt>
                <c:pt idx="5">
                  <c:v>41.57885055822851</c:v>
                </c:pt>
              </c:numCache>
            </c:numRef>
          </c:val>
          <c:extLst>
            <c:ext xmlns:c16="http://schemas.microsoft.com/office/drawing/2014/chart" uri="{C3380CC4-5D6E-409C-BE32-E72D297353CC}">
              <c16:uniqueId val="{00000006-82F3-49DD-9BDA-6052F936078A}"/>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2066952121448E-2"/>
          <c:y val="2.247191011235955E-2"/>
          <c:w val="0.97975866095757103"/>
          <c:h val="0.9550561797752809"/>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val>
            <c:numRef>
              <c:f>Sheet1!$A$1:$D$1</c:f>
              <c:numCache>
                <c:formatCode>General</c:formatCode>
                <c:ptCount val="4"/>
                <c:pt idx="0">
                  <c:v>3069.7370750499999</c:v>
                </c:pt>
                <c:pt idx="1">
                  <c:v>3666.4826514699998</c:v>
                </c:pt>
                <c:pt idx="2">
                  <c:v>3361.5933829200003</c:v>
                </c:pt>
                <c:pt idx="3">
                  <c:v>3241.5561723800006</c:v>
                </c:pt>
              </c:numCache>
            </c:numRef>
          </c:val>
          <c:smooth val="0"/>
          <c:extLst>
            <c:ext xmlns:c16="http://schemas.microsoft.com/office/drawing/2014/chart" uri="{C3380CC4-5D6E-409C-BE32-E72D297353CC}">
              <c16:uniqueId val="{00000000-4212-42FC-B8D9-B97EEEB77BAB}"/>
            </c:ext>
          </c:extLst>
        </c:ser>
        <c:dLbls>
          <c:showLegendKey val="0"/>
          <c:showVal val="0"/>
          <c:showCatName val="0"/>
          <c:showSerName val="0"/>
          <c:showPercent val="0"/>
          <c:showBubbleSize val="0"/>
        </c:dLbls>
        <c:marker val="1"/>
        <c:smooth val="0"/>
        <c:axId val="1486294352"/>
        <c:axId val="1"/>
      </c:lineChart>
      <c:catAx>
        <c:axId val="148629435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486294352"/>
        <c:crosses val="min"/>
        <c:crossBetween val="midCat"/>
        <c:majorUnit val="500"/>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83A4D1"/>
              </a:solidFill>
              <a:ln>
                <a:solidFill>
                  <a:schemeClr val="bg1"/>
                </a:solidFill>
              </a:ln>
            </c:spPr>
            <c:extLst>
              <c:ext xmlns:c16="http://schemas.microsoft.com/office/drawing/2014/chart" uri="{C3380CC4-5D6E-409C-BE32-E72D297353CC}">
                <c16:uniqueId val="{00000001-DA9B-4C0B-B85C-11047023C4DC}"/>
              </c:ext>
            </c:extLst>
          </c:dPt>
          <c:dPt>
            <c:idx val="1"/>
            <c:bubble3D val="0"/>
            <c:spPr>
              <a:solidFill>
                <a:srgbClr val="CCDAEC"/>
              </a:solidFill>
              <a:ln>
                <a:solidFill>
                  <a:schemeClr val="bg1"/>
                </a:solidFill>
              </a:ln>
            </c:spPr>
            <c:extLst>
              <c:ext xmlns:c16="http://schemas.microsoft.com/office/drawing/2014/chart" uri="{C3380CC4-5D6E-409C-BE32-E72D297353CC}">
                <c16:uniqueId val="{00000003-DA9B-4C0B-B85C-11047023C4DC}"/>
              </c:ext>
            </c:extLst>
          </c:dPt>
          <c:cat>
            <c:strRef>
              <c:f>Sheet1!$A$2:$A$3</c:f>
              <c:strCache>
                <c:ptCount val="2"/>
                <c:pt idx="0">
                  <c:v>第 1 四半期</c:v>
                </c:pt>
                <c:pt idx="1">
                  <c:v>第 2 四半期</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DA9B-4C0B-B85C-11047023C4DC}"/>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ln>
      <a:noFill/>
    </a:ln>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561327276318388E-2"/>
          <c:y val="0.13735343383584589"/>
          <c:w val="0.87892553821844754"/>
          <c:h val="0.81072026800670016"/>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557788944723618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EC1-4C2B-9465-D7F7E8A9A36C}"/>
                </c:ext>
              </c:extLst>
            </c:dLbl>
            <c:dLbl>
              <c:idx val="1"/>
              <c:layout>
                <c:manualLayout>
                  <c:x val="0"/>
                  <c:y val="-0.1398659966499162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EC1-4C2B-9465-D7F7E8A9A36C}"/>
                </c:ext>
              </c:extLst>
            </c:dLbl>
            <c:dLbl>
              <c:idx val="2"/>
              <c:layout>
                <c:manualLayout>
                  <c:x val="0"/>
                  <c:y val="-0.1331658291457286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EC1-4C2B-9465-D7F7E8A9A36C}"/>
                </c:ext>
              </c:extLst>
            </c:dLbl>
            <c:dLbl>
              <c:idx val="3"/>
              <c:layout>
                <c:manualLayout>
                  <c:x val="0"/>
                  <c:y val="-0.14070351758793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EC1-4C2B-9465-D7F7E8A9A36C}"/>
                </c:ext>
              </c:extLst>
            </c:dLbl>
            <c:dLbl>
              <c:idx val="4"/>
              <c:layout>
                <c:manualLayout>
                  <c:x val="0"/>
                  <c:y val="-0.1574539363484087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EC1-4C2B-9465-D7F7E8A9A36C}"/>
                </c:ext>
              </c:extLst>
            </c:dLbl>
            <c:dLbl>
              <c:idx val="5"/>
              <c:layout>
                <c:manualLayout>
                  <c:x val="0"/>
                  <c:y val="-0.1917922948073701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EC1-4C2B-9465-D7F7E8A9A36C}"/>
                </c:ext>
              </c:extLst>
            </c:dLbl>
            <c:dLbl>
              <c:idx val="6"/>
              <c:layout>
                <c:manualLayout>
                  <c:x val="0"/>
                  <c:y val="-0.2252931323283082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EC1-4C2B-9465-D7F7E8A9A36C}"/>
                </c:ext>
              </c:extLst>
            </c:dLbl>
            <c:dLbl>
              <c:idx val="7"/>
              <c:layout>
                <c:manualLayout>
                  <c:x val="0"/>
                  <c:y val="-0.2705192629815745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EC1-4C2B-9465-D7F7E8A9A36C}"/>
                </c:ext>
              </c:extLst>
            </c:dLbl>
            <c:dLbl>
              <c:idx val="8"/>
              <c:layout>
                <c:manualLayout>
                  <c:x val="-2.7849101323326093E-2"/>
                  <c:y val="-0.316582914572864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EC1-4C2B-9465-D7F7E8A9A36C}"/>
                </c:ext>
              </c:extLst>
            </c:dLbl>
            <c:dLbl>
              <c:idx val="9"/>
              <c:layout>
                <c:manualLayout>
                  <c:x val="0"/>
                  <c:y val="-0.3123953098827470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EC1-4C2B-9465-D7F7E8A9A36C}"/>
                </c:ext>
              </c:extLst>
            </c:dLbl>
            <c:dLbl>
              <c:idx val="10"/>
              <c:layout>
                <c:manualLayout>
                  <c:x val="-2.7849101323326093E-2"/>
                  <c:y val="-0.396147403685092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EC1-4C2B-9465-D7F7E8A9A36C}"/>
                </c:ext>
              </c:extLst>
            </c:dLbl>
            <c:dLbl>
              <c:idx val="11"/>
              <c:layout>
                <c:manualLayout>
                  <c:x val="-4.1477384949634606E-3"/>
                  <c:y val="-0.4589614740368509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EC1-4C2B-9465-D7F7E8A9A36C}"/>
                </c:ext>
              </c:extLst>
            </c:dLbl>
            <c:dLbl>
              <c:idx val="12"/>
              <c:layout>
                <c:manualLayout>
                  <c:x val="0"/>
                  <c:y val="-0.4363484087102177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EC1-4C2B-9465-D7F7E8A9A36C}"/>
                </c:ext>
              </c:extLst>
            </c:dLbl>
            <c:dLbl>
              <c:idx val="13"/>
              <c:layout>
                <c:manualLayout>
                  <c:x val="4.7402725656725264E-3"/>
                  <c:y val="-0.5125628140703517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EC1-4C2B-9465-D7F7E8A9A36C}"/>
                </c:ext>
              </c:extLst>
            </c:dLbl>
            <c:dLbl>
              <c:idx val="14"/>
              <c:layout>
                <c:manualLayout>
                  <c:x val="0"/>
                  <c:y val="-0.4346733668341708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EC1-4C2B-9465-D7F7E8A9A36C}"/>
                </c:ext>
              </c:extLst>
            </c:dLbl>
            <c:dLbl>
              <c:idx val="15"/>
              <c:layout>
                <c:manualLayout>
                  <c:x val="-4.5427612087695045E-3"/>
                  <c:y val="-0.3333333333333333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EC1-4C2B-9465-D7F7E8A9A36C}"/>
                </c:ext>
              </c:extLst>
            </c:dLbl>
            <c:dLbl>
              <c:idx val="16"/>
              <c:layout>
                <c:manualLayout>
                  <c:x val="0"/>
                  <c:y val="-0.332495812395309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EC1-4C2B-9465-D7F7E8A9A36C}"/>
                </c:ext>
              </c:extLst>
            </c:dLbl>
            <c:dLbl>
              <c:idx val="17"/>
              <c:layout>
                <c:manualLayout>
                  <c:x val="-9.2830337744420309E-3"/>
                  <c:y val="-0.3735343383584589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EC1-4C2B-9465-D7F7E8A9A36C}"/>
                </c:ext>
              </c:extLst>
            </c:dLbl>
            <c:dLbl>
              <c:idx val="18"/>
              <c:layout>
                <c:manualLayout>
                  <c:x val="-4.5427612087695045E-3"/>
                  <c:y val="-0.350921273031825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EC1-4C2B-9465-D7F7E8A9A36C}"/>
                </c:ext>
              </c:extLst>
            </c:dLbl>
            <c:dLbl>
              <c:idx val="19"/>
              <c:layout>
                <c:manualLayout>
                  <c:x val="0"/>
                  <c:y val="-0.3442211055276381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EC1-4C2B-9465-D7F7E8A9A36C}"/>
                </c:ext>
              </c:extLst>
            </c:dLbl>
            <c:dLbl>
              <c:idx val="20"/>
              <c:layout>
                <c:manualLayout>
                  <c:x val="0"/>
                  <c:y val="-0.2788944723618090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EC1-4C2B-9465-D7F7E8A9A36C}"/>
                </c:ext>
              </c:extLst>
            </c:dLbl>
            <c:dLbl>
              <c:idx val="21"/>
              <c:layout>
                <c:manualLayout>
                  <c:x val="-2.7849101323326093E-2"/>
                  <c:y val="-0.3341708542713567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EC1-4C2B-9465-D7F7E8A9A3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655.45399999999995</c:v>
                </c:pt>
                <c:pt idx="1">
                  <c:v>559.98199999999997</c:v>
                </c:pt>
                <c:pt idx="2">
                  <c:v>509.798</c:v>
                </c:pt>
                <c:pt idx="3">
                  <c:v>558.23199999999997</c:v>
                </c:pt>
                <c:pt idx="4">
                  <c:v>669.29</c:v>
                </c:pt>
                <c:pt idx="5">
                  <c:v>891.63300000000004</c:v>
                </c:pt>
                <c:pt idx="6">
                  <c:v>1107.6300000000001</c:v>
                </c:pt>
                <c:pt idx="7">
                  <c:v>1397.11</c:v>
                </c:pt>
                <c:pt idx="8">
                  <c:v>1695.86</c:v>
                </c:pt>
                <c:pt idx="9">
                  <c:v>1669.2</c:v>
                </c:pt>
                <c:pt idx="10">
                  <c:v>2208.6999999999998</c:v>
                </c:pt>
                <c:pt idx="11">
                  <c:v>2614.0300000000002</c:v>
                </c:pt>
                <c:pt idx="12">
                  <c:v>2464.0500000000002</c:v>
                </c:pt>
                <c:pt idx="13">
                  <c:v>2471.7199999999998</c:v>
                </c:pt>
                <c:pt idx="14">
                  <c:v>2456.0500000000002</c:v>
                </c:pt>
                <c:pt idx="15">
                  <c:v>1800.05</c:v>
                </c:pt>
                <c:pt idx="16">
                  <c:v>1796.62</c:v>
                </c:pt>
                <c:pt idx="17">
                  <c:v>2063.52</c:v>
                </c:pt>
                <c:pt idx="18">
                  <c:v>1916.93</c:v>
                </c:pt>
                <c:pt idx="19">
                  <c:v>1873.29</c:v>
                </c:pt>
                <c:pt idx="20">
                  <c:v>1448.55</c:v>
                </c:pt>
                <c:pt idx="21">
                  <c:v>1608.08</c:v>
                </c:pt>
              </c:numCache>
            </c:numRef>
          </c:val>
          <c:extLst>
            <c:ext xmlns:c16="http://schemas.microsoft.com/office/drawing/2014/chart" uri="{C3380CC4-5D6E-409C-BE32-E72D297353CC}">
              <c16:uniqueId val="{00000016-3EC1-4C2B-9465-D7F7E8A9A36C}"/>
            </c:ext>
          </c:extLst>
        </c:ser>
        <c:dLbls>
          <c:showLegendKey val="0"/>
          <c:showVal val="0"/>
          <c:showCatName val="0"/>
          <c:showSerName val="0"/>
          <c:showPercent val="0"/>
          <c:showBubbleSize val="0"/>
        </c:dLbls>
        <c:gapWidth val="60"/>
        <c:overlap val="100"/>
        <c:axId val="1404064288"/>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045226130653266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EC1-4C2B-9465-D7F7E8A9A36C}"/>
                </c:ext>
              </c:extLst>
            </c:dLbl>
            <c:dLbl>
              <c:idx val="1"/>
              <c:layout>
                <c:manualLayout>
                  <c:x val="0"/>
                  <c:y val="-9.045226130653266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EC1-4C2B-9465-D7F7E8A9A36C}"/>
                </c:ext>
              </c:extLst>
            </c:dLbl>
            <c:dLbl>
              <c:idx val="2"/>
              <c:layout>
                <c:manualLayout>
                  <c:x val="0"/>
                  <c:y val="-9.045226130653266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EC1-4C2B-9465-D7F7E8A9A36C}"/>
                </c:ext>
              </c:extLst>
            </c:dLbl>
            <c:dLbl>
              <c:idx val="4"/>
              <c:layout>
                <c:manualLayout>
                  <c:x val="0"/>
                  <c:y val="-9.045226130653266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EC1-4C2B-9465-D7F7E8A9A36C}"/>
                </c:ext>
              </c:extLst>
            </c:dLbl>
            <c:dLbl>
              <c:idx val="5"/>
              <c:layout>
                <c:manualLayout>
                  <c:x val="0"/>
                  <c:y val="-9.045226130653266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3EC1-4C2B-9465-D7F7E8A9A36C}"/>
                </c:ext>
              </c:extLst>
            </c:dLbl>
            <c:dLbl>
              <c:idx val="6"/>
              <c:layout>
                <c:manualLayout>
                  <c:x val="0"/>
                  <c:y val="-9.045226130653266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3EC1-4C2B-9465-D7F7E8A9A36C}"/>
                </c:ext>
              </c:extLst>
            </c:dLbl>
            <c:dLbl>
              <c:idx val="7"/>
              <c:layout>
                <c:manualLayout>
                  <c:x val="0"/>
                  <c:y val="-9.045226130653266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3EC1-4C2B-9465-D7F7E8A9A36C}"/>
                </c:ext>
              </c:extLst>
            </c:dLbl>
            <c:dLbl>
              <c:idx val="8"/>
              <c:layout>
                <c:manualLayout>
                  <c:x val="0"/>
                  <c:y val="-9.045226130653266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3EC1-4C2B-9465-D7F7E8A9A36C}"/>
                </c:ext>
              </c:extLst>
            </c:dLbl>
            <c:dLbl>
              <c:idx val="10"/>
              <c:layout>
                <c:manualLayout>
                  <c:x val="0"/>
                  <c:y val="-9.045226130653266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3EC1-4C2B-9465-D7F7E8A9A36C}"/>
                </c:ext>
              </c:extLst>
            </c:dLbl>
            <c:dLbl>
              <c:idx val="12"/>
              <c:layout>
                <c:manualLayout>
                  <c:x val="0"/>
                  <c:y val="9.045226130653266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3EC1-4C2B-9465-D7F7E8A9A36C}"/>
                </c:ext>
              </c:extLst>
            </c:dLbl>
            <c:dLbl>
              <c:idx val="13"/>
              <c:layout>
                <c:manualLayout>
                  <c:x val="0"/>
                  <c:y val="9.045226130653266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3EC1-4C2B-9465-D7F7E8A9A36C}"/>
                </c:ext>
              </c:extLst>
            </c:dLbl>
            <c:dLbl>
              <c:idx val="14"/>
              <c:layout>
                <c:manualLayout>
                  <c:x val="0"/>
                  <c:y val="-9.045226130653266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3EC1-4C2B-9465-D7F7E8A9A36C}"/>
                </c:ext>
              </c:extLst>
            </c:dLbl>
            <c:dLbl>
              <c:idx val="17"/>
              <c:layout>
                <c:manualLayout>
                  <c:x val="0"/>
                  <c:y val="-9.045226130653266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3EC1-4C2B-9465-D7F7E8A9A36C}"/>
                </c:ext>
              </c:extLst>
            </c:dLbl>
            <c:dLbl>
              <c:idx val="18"/>
              <c:layout>
                <c:manualLayout>
                  <c:x val="0"/>
                  <c:y val="-9.045226130653266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3EC1-4C2B-9465-D7F7E8A9A36C}"/>
                </c:ext>
              </c:extLst>
            </c:dLbl>
            <c:dLbl>
              <c:idx val="19"/>
              <c:layout>
                <c:manualLayout>
                  <c:x val="0"/>
                  <c:y val="-9.045226130653266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3EC1-4C2B-9465-D7F7E8A9A36C}"/>
                </c:ext>
              </c:extLst>
            </c:dLbl>
            <c:dLbl>
              <c:idx val="21"/>
              <c:layout>
                <c:manualLayout>
                  <c:x val="0"/>
                  <c:y val="-9.045226130653266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3EC1-4C2B-9465-D7F7E8A9A3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V$2</c:f>
              <c:numCache>
                <c:formatCode>General</c:formatCode>
                <c:ptCount val="22"/>
                <c:pt idx="0">
                  <c:v>4.3879999999999999</c:v>
                </c:pt>
                <c:pt idx="1">
                  <c:v>1.39</c:v>
                </c:pt>
                <c:pt idx="2">
                  <c:v>3.0529999999999999</c:v>
                </c:pt>
                <c:pt idx="3">
                  <c:v>1.141</c:v>
                </c:pt>
                <c:pt idx="4">
                  <c:v>5.76</c:v>
                </c:pt>
                <c:pt idx="5">
                  <c:v>3.202</c:v>
                </c:pt>
                <c:pt idx="6">
                  <c:v>3.9620000000000002</c:v>
                </c:pt>
                <c:pt idx="7">
                  <c:v>6.07</c:v>
                </c:pt>
                <c:pt idx="8">
                  <c:v>5.0940000000000003</c:v>
                </c:pt>
                <c:pt idx="9">
                  <c:v>-0.126</c:v>
                </c:pt>
                <c:pt idx="10">
                  <c:v>7.5279999999999996</c:v>
                </c:pt>
                <c:pt idx="11">
                  <c:v>3.9740000000000002</c:v>
                </c:pt>
                <c:pt idx="12">
                  <c:v>1.921</c:v>
                </c:pt>
                <c:pt idx="13">
                  <c:v>3.0049999999999999</c:v>
                </c:pt>
                <c:pt idx="14">
                  <c:v>0.504</c:v>
                </c:pt>
                <c:pt idx="15">
                  <c:v>-3.5459999999999998</c:v>
                </c:pt>
                <c:pt idx="16">
                  <c:v>-3.2759999999999998</c:v>
                </c:pt>
                <c:pt idx="17">
                  <c:v>1.323</c:v>
                </c:pt>
                <c:pt idx="18">
                  <c:v>1.784</c:v>
                </c:pt>
                <c:pt idx="19">
                  <c:v>1.2210000000000001</c:v>
                </c:pt>
                <c:pt idx="20">
                  <c:v>-3.879</c:v>
                </c:pt>
                <c:pt idx="21">
                  <c:v>4.6189999999999998</c:v>
                </c:pt>
              </c:numCache>
            </c:numRef>
          </c:val>
          <c:smooth val="0"/>
          <c:extLst>
            <c:ext xmlns:c16="http://schemas.microsoft.com/office/drawing/2014/chart" uri="{C3380CC4-5D6E-409C-BE32-E72D297353CC}">
              <c16:uniqueId val="{00000027-3EC1-4C2B-9465-D7F7E8A9A36C}"/>
            </c:ext>
          </c:extLst>
        </c:ser>
        <c:dLbls>
          <c:showLegendKey val="0"/>
          <c:showVal val="0"/>
          <c:showCatName val="0"/>
          <c:showSerName val="0"/>
          <c:showPercent val="0"/>
          <c:showBubbleSize val="0"/>
        </c:dLbls>
        <c:marker val="1"/>
        <c:smooth val="0"/>
        <c:axId val="3"/>
        <c:axId val="2"/>
      </c:lineChart>
      <c:catAx>
        <c:axId val="140406428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614.0300000000002"/>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404064288"/>
        <c:crosses val="min"/>
        <c:crossBetween val="between"/>
        <c:majorUnit val="500"/>
      </c:valAx>
      <c:valAx>
        <c:axId val="2"/>
        <c:scaling>
          <c:orientation val="minMax"/>
          <c:max val="8"/>
          <c:min val="-4"/>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2"/>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313311688311695E-2"/>
          <c:y val="9.308283518360376E-2"/>
          <c:w val="0.91213474025974028"/>
          <c:h val="0.8539709649871903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152006831767719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4EC-4333-91BC-656CB21237D7}"/>
                </c:ext>
              </c:extLst>
            </c:dLbl>
            <c:dLbl>
              <c:idx val="1"/>
              <c:layout>
                <c:manualLayout>
                  <c:x val="-4.261363636363636E-3"/>
                  <c:y val="-0.1511528608027327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4EC-4333-91BC-656CB21237D7}"/>
                </c:ext>
              </c:extLst>
            </c:dLbl>
            <c:dLbl>
              <c:idx val="2"/>
              <c:layout>
                <c:manualLayout>
                  <c:x val="0"/>
                  <c:y val="-0.1417591801878736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4EC-4333-91BC-656CB21237D7}"/>
                </c:ext>
              </c:extLst>
            </c:dLbl>
            <c:dLbl>
              <c:idx val="3"/>
              <c:layout>
                <c:manualLayout>
                  <c:x val="4.464285714285714E-3"/>
                  <c:y val="-0.1485909479077711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4EC-4333-91BC-656CB21237D7}"/>
                </c:ext>
              </c:extLst>
            </c:dLbl>
            <c:dLbl>
              <c:idx val="4"/>
              <c:layout>
                <c:manualLayout>
                  <c:x val="7.102272727272727E-3"/>
                  <c:y val="-0.1665243381725021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4EC-4333-91BC-656CB21237D7}"/>
                </c:ext>
              </c:extLst>
            </c:dLbl>
            <c:dLbl>
              <c:idx val="5"/>
              <c:layout>
                <c:manualLayout>
                  <c:x val="0"/>
                  <c:y val="-0.21349274124679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4EC-4333-91BC-656CB21237D7}"/>
                </c:ext>
              </c:extLst>
            </c:dLbl>
            <c:dLbl>
              <c:idx val="6"/>
              <c:layout>
                <c:manualLayout>
                  <c:x val="4.464285714285714E-3"/>
                  <c:y val="-0.2348420153714773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4EC-4333-91BC-656CB21237D7}"/>
                </c:ext>
              </c:extLst>
            </c:dLbl>
            <c:dLbl>
              <c:idx val="7"/>
              <c:layout>
                <c:manualLayout>
                  <c:x val="0"/>
                  <c:y val="-0.2801024765157984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4EC-4333-91BC-656CB21237D7}"/>
                </c:ext>
              </c:extLst>
            </c:dLbl>
            <c:dLbl>
              <c:idx val="8"/>
              <c:layout>
                <c:manualLayout>
                  <c:x val="-4.464285714285714E-3"/>
                  <c:y val="-0.3253629376601195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4EC-4333-91BC-656CB21237D7}"/>
                </c:ext>
              </c:extLst>
            </c:dLbl>
            <c:dLbl>
              <c:idx val="9"/>
              <c:layout>
                <c:manualLayout>
                  <c:x val="0"/>
                  <c:y val="-0.3185311699402220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4EC-4333-91BC-656CB21237D7}"/>
                </c:ext>
              </c:extLst>
            </c:dLbl>
            <c:dLbl>
              <c:idx val="10"/>
              <c:layout>
                <c:manualLayout>
                  <c:x val="0"/>
                  <c:y val="-0.3996584116140051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4EC-4333-91BC-656CB21237D7}"/>
                </c:ext>
              </c:extLst>
            </c:dLbl>
            <c:dLbl>
              <c:idx val="11"/>
              <c:layout>
                <c:manualLayout>
                  <c:x val="0"/>
                  <c:y val="-0.4884713919726729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4EC-4333-91BC-656CB21237D7}"/>
                </c:ext>
              </c:extLst>
            </c:dLbl>
            <c:dLbl>
              <c:idx val="12"/>
              <c:layout>
                <c:manualLayout>
                  <c:x val="0"/>
                  <c:y val="-0.4329632792485055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4EC-4333-91BC-656CB21237D7}"/>
                </c:ext>
              </c:extLst>
            </c:dLbl>
            <c:dLbl>
              <c:idx val="13"/>
              <c:layout>
                <c:manualLayout>
                  <c:x val="1.3392857142857142E-2"/>
                  <c:y val="-0.502988898377455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4EC-4333-91BC-656CB21237D7}"/>
                </c:ext>
              </c:extLst>
            </c:dLbl>
            <c:dLbl>
              <c:idx val="14"/>
              <c:layout>
                <c:manualLayout>
                  <c:x val="0"/>
                  <c:y val="-0.4261315115286080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4EC-4333-91BC-656CB21237D7}"/>
                </c:ext>
              </c:extLst>
            </c:dLbl>
            <c:dLbl>
              <c:idx val="15"/>
              <c:layout>
                <c:manualLayout>
                  <c:x val="-4.464285714285714E-3"/>
                  <c:y val="-0.3245089666951323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4EC-4333-91BC-656CB21237D7}"/>
                </c:ext>
              </c:extLst>
            </c:dLbl>
            <c:dLbl>
              <c:idx val="16"/>
              <c:layout>
                <c:manualLayout>
                  <c:x val="0"/>
                  <c:y val="-0.321947053800170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4EC-4333-91BC-656CB21237D7}"/>
                </c:ext>
              </c:extLst>
            </c:dLbl>
            <c:dLbl>
              <c:idx val="17"/>
              <c:layout>
                <c:manualLayout>
                  <c:x val="-8.7256493506493501E-3"/>
                  <c:y val="-0.3672075149444918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4EC-4333-91BC-656CB21237D7}"/>
                </c:ext>
              </c:extLst>
            </c:dLbl>
            <c:dLbl>
              <c:idx val="18"/>
              <c:layout>
                <c:manualLayout>
                  <c:x val="-4.464285714285714E-3"/>
                  <c:y val="-0.334756618274978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4EC-4333-91BC-656CB21237D7}"/>
                </c:ext>
              </c:extLst>
            </c:dLbl>
            <c:dLbl>
              <c:idx val="19"/>
              <c:layout>
                <c:manualLayout>
                  <c:x val="0"/>
                  <c:y val="-0.3262169086251067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4EC-4333-91BC-656CB21237D7}"/>
                </c:ext>
              </c:extLst>
            </c:dLbl>
            <c:dLbl>
              <c:idx val="20"/>
              <c:layout>
                <c:manualLayout>
                  <c:x val="0"/>
                  <c:y val="-0.263877028181041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4EC-4333-91BC-656CB21237D7}"/>
                </c:ext>
              </c:extLst>
            </c:dLbl>
            <c:dLbl>
              <c:idx val="21"/>
              <c:layout>
                <c:manualLayout>
                  <c:x val="4.261363636363636E-3"/>
                  <c:y val="-0.285226302305721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4EC-4333-91BC-656CB21237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3772.05</c:v>
                </c:pt>
                <c:pt idx="1">
                  <c:v>3177.94</c:v>
                </c:pt>
                <c:pt idx="2">
                  <c:v>2856.03</c:v>
                </c:pt>
                <c:pt idx="3">
                  <c:v>3089.14</c:v>
                </c:pt>
                <c:pt idx="4">
                  <c:v>3660.02</c:v>
                </c:pt>
                <c:pt idx="5">
                  <c:v>4819.87</c:v>
                </c:pt>
                <c:pt idx="6">
                  <c:v>5921.18</c:v>
                </c:pt>
                <c:pt idx="7">
                  <c:v>7390.65</c:v>
                </c:pt>
                <c:pt idx="8">
                  <c:v>8878.36</c:v>
                </c:pt>
                <c:pt idx="9">
                  <c:v>8649.58</c:v>
                </c:pt>
                <c:pt idx="10">
                  <c:v>11333.02</c:v>
                </c:pt>
                <c:pt idx="11">
                  <c:v>13295.9</c:v>
                </c:pt>
                <c:pt idx="12">
                  <c:v>12424.95</c:v>
                </c:pt>
                <c:pt idx="13">
                  <c:v>12358.34</c:v>
                </c:pt>
                <c:pt idx="14">
                  <c:v>12175.68</c:v>
                </c:pt>
                <c:pt idx="15">
                  <c:v>8846.48</c:v>
                </c:pt>
                <c:pt idx="16">
                  <c:v>8757.2999999999993</c:v>
                </c:pt>
                <c:pt idx="17">
                  <c:v>9978.09</c:v>
                </c:pt>
                <c:pt idx="18">
                  <c:v>9194.15</c:v>
                </c:pt>
                <c:pt idx="19">
                  <c:v>8914.17</c:v>
                </c:pt>
                <c:pt idx="20">
                  <c:v>6840.66</c:v>
                </c:pt>
                <c:pt idx="21">
                  <c:v>7563.56</c:v>
                </c:pt>
              </c:numCache>
            </c:numRef>
          </c:val>
          <c:extLst>
            <c:ext xmlns:c16="http://schemas.microsoft.com/office/drawing/2014/chart" uri="{C3380CC4-5D6E-409C-BE32-E72D297353CC}">
              <c16:uniqueId val="{00000016-B4EC-4333-91BC-656CB21237D7}"/>
            </c:ext>
          </c:extLst>
        </c:ser>
        <c:dLbls>
          <c:showLegendKey val="0"/>
          <c:showVal val="0"/>
          <c:showCatName val="0"/>
          <c:showSerName val="0"/>
          <c:showPercent val="0"/>
          <c:showBubbleSize val="0"/>
        </c:dLbls>
        <c:gapWidth val="60"/>
        <c:overlap val="100"/>
        <c:axId val="1397273472"/>
        <c:axId val="1"/>
      </c:barChart>
      <c:catAx>
        <c:axId val="139727347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97273472"/>
        <c:crosses val="min"/>
        <c:crossBetween val="between"/>
        <c:majorUnit val="2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5.4298642533936653E-2"/>
          <c:w val="0.87905036894449795"/>
          <c:h val="0.92019744960921435"/>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2.7590632017965994E-2"/>
                  <c:y val="-4.4426162073220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FAB-441C-80A5-E369CECB5558}"/>
                </c:ext>
              </c:extLst>
            </c:dLbl>
            <c:dLbl>
              <c:idx val="3"/>
              <c:layout>
                <c:manualLayout>
                  <c:x val="0"/>
                  <c:y val="-4.4426162073220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FAB-441C-80A5-E369CECB5558}"/>
                </c:ext>
              </c:extLst>
            </c:dLbl>
            <c:dLbl>
              <c:idx val="5"/>
              <c:layout>
                <c:manualLayout>
                  <c:x val="0"/>
                  <c:y val="-4.4426162073220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FAB-441C-80A5-E369CECB5558}"/>
                </c:ext>
              </c:extLst>
            </c:dLbl>
            <c:dLbl>
              <c:idx val="8"/>
              <c:layout>
                <c:manualLayout>
                  <c:x val="0"/>
                  <c:y val="-4.4426162073220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FAB-441C-80A5-E369CECB5558}"/>
                </c:ext>
              </c:extLst>
            </c:dLbl>
            <c:dLbl>
              <c:idx val="9"/>
              <c:layout>
                <c:manualLayout>
                  <c:x val="0"/>
                  <c:y val="-4.4426162073220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FAB-441C-80A5-E369CECB5558}"/>
                </c:ext>
              </c:extLst>
            </c:dLbl>
            <c:dLbl>
              <c:idx val="11"/>
              <c:layout>
                <c:manualLayout>
                  <c:x val="0"/>
                  <c:y val="-4.4426162073220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FAB-441C-80A5-E369CECB5558}"/>
                </c:ext>
              </c:extLst>
            </c:dLbl>
            <c:dLbl>
              <c:idx val="13"/>
              <c:layout>
                <c:manualLayout>
                  <c:x val="0"/>
                  <c:y val="-4.4426162073220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FAB-441C-80A5-E369CECB5558}"/>
                </c:ext>
              </c:extLst>
            </c:dLbl>
            <c:dLbl>
              <c:idx val="15"/>
              <c:layout>
                <c:manualLayout>
                  <c:x val="0"/>
                  <c:y val="-4.4426162073220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FAB-441C-80A5-E369CECB5558}"/>
                </c:ext>
              </c:extLst>
            </c:dLbl>
            <c:dLbl>
              <c:idx val="16"/>
              <c:layout>
                <c:manualLayout>
                  <c:x val="0"/>
                  <c:y val="-4.4426162073220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FAB-441C-80A5-E369CECB5558}"/>
                </c:ext>
              </c:extLst>
            </c:dLbl>
            <c:dLbl>
              <c:idx val="18"/>
              <c:layout>
                <c:manualLayout>
                  <c:x val="0"/>
                  <c:y val="-4.4426162073220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FAB-441C-80A5-E369CECB5558}"/>
                </c:ext>
              </c:extLst>
            </c:dLbl>
            <c:dLbl>
              <c:idx val="19"/>
              <c:layout>
                <c:manualLayout>
                  <c:x val="0"/>
                  <c:y val="-4.4426162073220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FAB-441C-80A5-E369CECB5558}"/>
                </c:ext>
              </c:extLst>
            </c:dLbl>
            <c:dLbl>
              <c:idx val="22"/>
              <c:layout>
                <c:manualLayout>
                  <c:x val="0"/>
                  <c:y val="-4.4426162073220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FAB-441C-80A5-E369CECB5558}"/>
                </c:ext>
              </c:extLst>
            </c:dLbl>
            <c:dLbl>
              <c:idx val="24"/>
              <c:layout>
                <c:manualLayout>
                  <c:x val="0"/>
                  <c:y val="-4.4426162073220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FAB-441C-80A5-E369CECB5558}"/>
                </c:ext>
              </c:extLst>
            </c:dLbl>
            <c:dLbl>
              <c:idx val="25"/>
              <c:layout>
                <c:manualLayout>
                  <c:x val="0"/>
                  <c:y val="-4.4426162073220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FAB-441C-80A5-E369CECB555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7.0439999999999996</c:v>
                </c:pt>
                <c:pt idx="1">
                  <c:v>6.84</c:v>
                </c:pt>
                <c:pt idx="2">
                  <c:v>8.4499999999999993</c:v>
                </c:pt>
                <c:pt idx="3">
                  <c:v>14.714</c:v>
                </c:pt>
                <c:pt idx="4">
                  <c:v>6.5979999999999999</c:v>
                </c:pt>
                <c:pt idx="5">
                  <c:v>6.87</c:v>
                </c:pt>
                <c:pt idx="6">
                  <c:v>4.1840000000000002</c:v>
                </c:pt>
                <c:pt idx="7">
                  <c:v>3.641</c:v>
                </c:pt>
                <c:pt idx="8">
                  <c:v>5.6779999999999999</c:v>
                </c:pt>
                <c:pt idx="9">
                  <c:v>4.8879999999999999</c:v>
                </c:pt>
                <c:pt idx="10">
                  <c:v>5.0389999999999997</c:v>
                </c:pt>
                <c:pt idx="11">
                  <c:v>6.6360000000000001</c:v>
                </c:pt>
                <c:pt idx="12">
                  <c:v>5.4039999999999999</c:v>
                </c:pt>
                <c:pt idx="13">
                  <c:v>6.2039999999999997</c:v>
                </c:pt>
                <c:pt idx="14">
                  <c:v>6.3289999999999997</c:v>
                </c:pt>
                <c:pt idx="15">
                  <c:v>9.0299999999999994</c:v>
                </c:pt>
                <c:pt idx="16">
                  <c:v>8.74</c:v>
                </c:pt>
                <c:pt idx="17">
                  <c:v>3.4460000000000002</c:v>
                </c:pt>
                <c:pt idx="18">
                  <c:v>3.665</c:v>
                </c:pt>
                <c:pt idx="19">
                  <c:v>3.7330000000000001</c:v>
                </c:pt>
                <c:pt idx="20">
                  <c:v>3.2120000000000002</c:v>
                </c:pt>
                <c:pt idx="21">
                  <c:v>8.3019999999999996</c:v>
                </c:pt>
                <c:pt idx="22">
                  <c:v>9.4090000000000007</c:v>
                </c:pt>
                <c:pt idx="23">
                  <c:v>4.6769999999999996</c:v>
                </c:pt>
                <c:pt idx="24">
                  <c:v>3.93</c:v>
                </c:pt>
                <c:pt idx="25">
                  <c:v>3.0190000000000001</c:v>
                </c:pt>
              </c:numCache>
            </c:numRef>
          </c:val>
          <c:smooth val="0"/>
          <c:extLst>
            <c:ext xmlns:c16="http://schemas.microsoft.com/office/drawing/2014/chart" uri="{C3380CC4-5D6E-409C-BE32-E72D297353CC}">
              <c16:uniqueId val="{0000000E-0FAB-441C-80A5-E369CECB5558}"/>
            </c:ext>
          </c:extLst>
        </c:ser>
        <c:dLbls>
          <c:showLegendKey val="0"/>
          <c:showVal val="0"/>
          <c:showCatName val="0"/>
          <c:showSerName val="0"/>
          <c:showPercent val="0"/>
          <c:showBubbleSize val="0"/>
        </c:dLbls>
        <c:marker val="1"/>
        <c:smooth val="0"/>
        <c:axId val="1093664576"/>
        <c:axId val="1"/>
      </c:lineChart>
      <c:catAx>
        <c:axId val="109366457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8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15"/>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093664576"/>
        <c:crosses val="min"/>
        <c:crossBetween val="midCat"/>
        <c:majorUnit val="1"/>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068137573004544E-2"/>
          <c:y val="2.6260059296908091E-2"/>
          <c:w val="0.88805970149253732"/>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534-45AC-91DF-296CAD78055B}"/>
                </c:ext>
              </c:extLst>
            </c:dLbl>
            <c:dLbl>
              <c:idx val="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534-45AC-91DF-296CAD78055B}"/>
                </c:ext>
              </c:extLst>
            </c:dLbl>
            <c:dLbl>
              <c:idx val="1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534-45AC-91DF-296CAD78055B}"/>
                </c:ext>
              </c:extLst>
            </c:dLbl>
            <c:dLbl>
              <c:idx val="13"/>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534-45AC-91DF-296CAD78055B}"/>
                </c:ext>
              </c:extLst>
            </c:dLbl>
            <c:dLbl>
              <c:idx val="1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534-45AC-91DF-296CAD78055B}"/>
                </c:ext>
              </c:extLst>
            </c:dLbl>
            <c:dLbl>
              <c:idx val="17"/>
              <c:layout>
                <c:manualLayout>
                  <c:x val="1.7196625567813109E-2"/>
                  <c:y val="-5.76027107157983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534-45AC-91DF-296CAD78055B}"/>
                </c:ext>
              </c:extLst>
            </c:dLbl>
            <c:dLbl>
              <c:idx val="1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534-45AC-91DF-296CAD78055B}"/>
                </c:ext>
              </c:extLst>
            </c:dLbl>
            <c:dLbl>
              <c:idx val="1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534-45AC-91DF-296CAD78055B}"/>
                </c:ext>
              </c:extLst>
            </c:dLbl>
            <c:dLbl>
              <c:idx val="2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534-45AC-91DF-296CAD78055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59.146749999999997</c:v>
                </c:pt>
                <c:pt idx="1">
                  <c:v>52.393333333333345</c:v>
                </c:pt>
                <c:pt idx="2">
                  <c:v>43.554499999999997</c:v>
                </c:pt>
                <c:pt idx="3">
                  <c:v>38.052916666666668</c:v>
                </c:pt>
                <c:pt idx="4">
                  <c:v>36.9</c:v>
                </c:pt>
                <c:pt idx="5">
                  <c:v>46.307333333333339</c:v>
                </c:pt>
                <c:pt idx="6">
                  <c:v>53.644083333333334</c:v>
                </c:pt>
                <c:pt idx="7">
                  <c:v>60.916083333333326</c:v>
                </c:pt>
                <c:pt idx="8">
                  <c:v>57.467708333333341</c:v>
                </c:pt>
                <c:pt idx="9">
                  <c:v>47.458958333333328</c:v>
                </c:pt>
                <c:pt idx="10">
                  <c:v>49.520125</c:v>
                </c:pt>
                <c:pt idx="11">
                  <c:v>47.683833333333332</c:v>
                </c:pt>
                <c:pt idx="12">
                  <c:v>40.952999999999996</c:v>
                </c:pt>
                <c:pt idx="13">
                  <c:v>44.981750000000005</c:v>
                </c:pt>
                <c:pt idx="14">
                  <c:v>45.115499999999997</c:v>
                </c:pt>
                <c:pt idx="15">
                  <c:v>36.245750000000001</c:v>
                </c:pt>
                <c:pt idx="16">
                  <c:v>31.702833333333334</c:v>
                </c:pt>
                <c:pt idx="17">
                  <c:v>34.995416666666671</c:v>
                </c:pt>
                <c:pt idx="18">
                  <c:v>30.107499999999998</c:v>
                </c:pt>
                <c:pt idx="19">
                  <c:v>27.642416666666662</c:v>
                </c:pt>
                <c:pt idx="20">
                  <c:v>20.459999999999997</c:v>
                </c:pt>
                <c:pt idx="21">
                  <c:v>20.423333333333336</c:v>
                </c:pt>
                <c:pt idx="22">
                  <c:v>25.747363636363637</c:v>
                </c:pt>
              </c:numCache>
            </c:numRef>
          </c:val>
          <c:smooth val="0"/>
          <c:extLst>
            <c:ext xmlns:c16="http://schemas.microsoft.com/office/drawing/2014/chart" uri="{C3380CC4-5D6E-409C-BE32-E72D297353CC}">
              <c16:uniqueId val="{00000009-2534-45AC-91DF-296CAD78055B}"/>
            </c:ext>
          </c:extLst>
        </c:ser>
        <c:dLbls>
          <c:showLegendKey val="0"/>
          <c:showVal val="0"/>
          <c:showCatName val="0"/>
          <c:showSerName val="0"/>
          <c:showPercent val="0"/>
          <c:showBubbleSize val="0"/>
        </c:dLbls>
        <c:marker val="1"/>
        <c:smooth val="0"/>
        <c:axId val="411728528"/>
        <c:axId val="1"/>
      </c:lineChart>
      <c:catAx>
        <c:axId val="41172852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5"/>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411728528"/>
        <c:crosses val="min"/>
        <c:crossBetween val="midCat"/>
        <c:majorUnit val="5"/>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386030216772498E-2"/>
          <c:y val="8.9422028353326063E-2"/>
          <c:w val="0.94263192467703083"/>
          <c:h val="0.84841875681570333"/>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1123227917121047"/>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FB6-47BD-A8C6-36393AAAD28B}"/>
                </c:ext>
              </c:extLst>
            </c:dLbl>
            <c:dLbl>
              <c:idx val="1"/>
              <c:layout>
                <c:manualLayout>
                  <c:x val="0"/>
                  <c:y val="-0.11123227917121047"/>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FB6-47BD-A8C6-36393AAAD28B}"/>
                </c:ext>
              </c:extLst>
            </c:dLbl>
            <c:dLbl>
              <c:idx val="2"/>
              <c:layout>
                <c:manualLayout>
                  <c:x val="0"/>
                  <c:y val="-0.11123227917121047"/>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FB6-47BD-A8C6-36393AAAD28B}"/>
                </c:ext>
              </c:extLst>
            </c:dLbl>
            <c:dLbl>
              <c:idx val="3"/>
              <c:layout>
                <c:manualLayout>
                  <c:x val="0"/>
                  <c:y val="-0.11123227917121047"/>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FB6-47BD-A8C6-36393AAAD28B}"/>
                </c:ext>
              </c:extLst>
            </c:dLbl>
            <c:dLbl>
              <c:idx val="4"/>
              <c:layout>
                <c:manualLayout>
                  <c:x val="0"/>
                  <c:y val="-0.11123227917121047"/>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FB6-47BD-A8C6-36393AAAD28B}"/>
                </c:ext>
              </c:extLst>
            </c:dLbl>
            <c:dLbl>
              <c:idx val="5"/>
              <c:layout>
                <c:manualLayout>
                  <c:x val="0"/>
                  <c:y val="-0.11123227917121047"/>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FB6-47BD-A8C6-36393AAAD28B}"/>
                </c:ext>
              </c:extLst>
            </c:dLbl>
            <c:dLbl>
              <c:idx val="6"/>
              <c:layout>
                <c:manualLayout>
                  <c:x val="0"/>
                  <c:y val="-0.11123227917121047"/>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FB6-47BD-A8C6-36393AAAD28B}"/>
                </c:ext>
              </c:extLst>
            </c:dLbl>
            <c:dLbl>
              <c:idx val="7"/>
              <c:layout>
                <c:manualLayout>
                  <c:x val="0"/>
                  <c:y val="-0.11123227917121047"/>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FB6-47BD-A8C6-36393AAAD28B}"/>
                </c:ext>
              </c:extLst>
            </c:dLbl>
            <c:dLbl>
              <c:idx val="8"/>
              <c:layout>
                <c:manualLayout>
                  <c:x val="0"/>
                  <c:y val="-0.11123227917121047"/>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FB6-47BD-A8C6-36393AAAD28B}"/>
                </c:ext>
              </c:extLst>
            </c:dLbl>
            <c:dLbl>
              <c:idx val="9"/>
              <c:layout>
                <c:manualLayout>
                  <c:x val="0"/>
                  <c:y val="-0.11123227917121047"/>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FB6-47BD-A8C6-36393AAAD28B}"/>
                </c:ext>
              </c:extLst>
            </c:dLbl>
            <c:dLbl>
              <c:idx val="10"/>
              <c:layout>
                <c:manualLayout>
                  <c:x val="0"/>
                  <c:y val="-0.11123227917121047"/>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FB6-47BD-A8C6-36393AAAD28B}"/>
                </c:ext>
              </c:extLst>
            </c:dLbl>
            <c:dLbl>
              <c:idx val="11"/>
              <c:layout>
                <c:manualLayout>
                  <c:x val="0"/>
                  <c:y val="-0.11123227917121047"/>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FB6-47BD-A8C6-36393AAAD28B}"/>
                </c:ext>
              </c:extLst>
            </c:dLbl>
            <c:dLbl>
              <c:idx val="12"/>
              <c:layout>
                <c:manualLayout>
                  <c:x val="0"/>
                  <c:y val="-0.11123227917121047"/>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FB6-47BD-A8C6-36393AAAD28B}"/>
                </c:ext>
              </c:extLst>
            </c:dLbl>
            <c:dLbl>
              <c:idx val="13"/>
              <c:layout>
                <c:manualLayout>
                  <c:x val="0"/>
                  <c:y val="-0.11123227917121047"/>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FB6-47BD-A8C6-36393AAAD28B}"/>
                </c:ext>
              </c:extLst>
            </c:dLbl>
            <c:dLbl>
              <c:idx val="14"/>
              <c:layout>
                <c:manualLayout>
                  <c:x val="0"/>
                  <c:y val="-0.11123227917121047"/>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FB6-47BD-A8C6-36393AAAD28B}"/>
                </c:ext>
              </c:extLst>
            </c:dLbl>
            <c:dLbl>
              <c:idx val="15"/>
              <c:layout>
                <c:manualLayout>
                  <c:x val="0"/>
                  <c:y val="-0.11123227917121047"/>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FB6-47BD-A8C6-36393AAAD28B}"/>
                </c:ext>
              </c:extLst>
            </c:dLbl>
            <c:dLbl>
              <c:idx val="16"/>
              <c:layout>
                <c:manualLayout>
                  <c:x val="0"/>
                  <c:y val="-0.11123227917121047"/>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FB6-47BD-A8C6-36393AAAD28B}"/>
                </c:ext>
              </c:extLst>
            </c:dLbl>
            <c:dLbl>
              <c:idx val="17"/>
              <c:layout>
                <c:manualLayout>
                  <c:x val="0"/>
                  <c:y val="-0.11123227917121047"/>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FB6-47BD-A8C6-36393AAAD28B}"/>
                </c:ext>
              </c:extLst>
            </c:dLbl>
            <c:dLbl>
              <c:idx val="18"/>
              <c:layout>
                <c:manualLayout>
                  <c:x val="0"/>
                  <c:y val="-0.11123227917121047"/>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FB6-47BD-A8C6-36393AAAD28B}"/>
                </c:ext>
              </c:extLst>
            </c:dLbl>
            <c:dLbl>
              <c:idx val="19"/>
              <c:layout>
                <c:manualLayout>
                  <c:x val="0"/>
                  <c:y val="-0.11123227917121047"/>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FB6-47BD-A8C6-36393AAAD28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41.635555924939005</c:v>
                </c:pt>
                <c:pt idx="1">
                  <c:v>41.089305516198266</c:v>
                </c:pt>
                <c:pt idx="2">
                  <c:v>42.387103808362561</c:v>
                </c:pt>
                <c:pt idx="3">
                  <c:v>42.85684091918273</c:v>
                </c:pt>
                <c:pt idx="4">
                  <c:v>42.670271979968923</c:v>
                </c:pt>
                <c:pt idx="5">
                  <c:v>41.631460062004209</c:v>
                </c:pt>
                <c:pt idx="6">
                  <c:v>42.927392628131805</c:v>
                </c:pt>
                <c:pt idx="7">
                  <c:v>42.48596789168375</c:v>
                </c:pt>
                <c:pt idx="8">
                  <c:v>43.743529246727903</c:v>
                </c:pt>
                <c:pt idx="9">
                  <c:v>44.163265793315489</c:v>
                </c:pt>
                <c:pt idx="10">
                  <c:v>45.021253036717347</c:v>
                </c:pt>
                <c:pt idx="11">
                  <c:v>44.499156529311314</c:v>
                </c:pt>
                <c:pt idx="12">
                  <c:v>43.361807310656992</c:v>
                </c:pt>
                <c:pt idx="13">
                  <c:v>44.519456030262269</c:v>
                </c:pt>
                <c:pt idx="14">
                  <c:v>44.052747439538606</c:v>
                </c:pt>
                <c:pt idx="15">
                  <c:v>43.256467164831086</c:v>
                </c:pt>
                <c:pt idx="16">
                  <c:v>43.062826279682575</c:v>
                </c:pt>
                <c:pt idx="17">
                  <c:v>41.738382731505993</c:v>
                </c:pt>
                <c:pt idx="18">
                  <c:v>41.091822945112241</c:v>
                </c:pt>
                <c:pt idx="19">
                  <c:v>40.740781075000811</c:v>
                </c:pt>
              </c:numCache>
            </c:numRef>
          </c:val>
          <c:smooth val="0"/>
          <c:extLst>
            <c:ext xmlns:c16="http://schemas.microsoft.com/office/drawing/2014/chart" uri="{C3380CC4-5D6E-409C-BE32-E72D297353CC}">
              <c16:uniqueId val="{00000014-3FB6-47BD-A8C6-36393AAAD28B}"/>
            </c:ext>
          </c:extLst>
        </c:ser>
        <c:dLbls>
          <c:showLegendKey val="0"/>
          <c:showVal val="0"/>
          <c:showCatName val="0"/>
          <c:showSerName val="0"/>
          <c:showPercent val="0"/>
          <c:showBubbleSize val="0"/>
        </c:dLbls>
        <c:marker val="1"/>
        <c:smooth val="0"/>
        <c:axId val="589066016"/>
        <c:axId val="1"/>
      </c:lineChart>
      <c:catAx>
        <c:axId val="58906601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900" kern="1200">
                <a:solidFill>
                  <a:schemeClr val="tx1"/>
                </a:solidFill>
                <a:latin typeface="+mn-lt"/>
                <a:ea typeface="+mn-ea"/>
                <a:cs typeface="+mn-cs"/>
                <a:sym typeface="+mn-lt"/>
              </a:defRPr>
            </a:pPr>
            <a:endParaRPr lang="en-US"/>
          </a:p>
        </c:txPr>
        <c:crossAx val="589066016"/>
        <c:crosses val="max"/>
        <c:crossBetween val="between"/>
        <c:majorUnit val="1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869436201780416E-2"/>
          <c:y val="6.9705093833780166E-2"/>
          <c:w val="0.97626112759643913"/>
          <c:h val="0.8605898123324397"/>
        </c:manualLayout>
      </c:layout>
      <c:barChart>
        <c:barDir val="col"/>
        <c:grouping val="stacked"/>
        <c:varyColors val="0"/>
        <c:ser>
          <c:idx val="0"/>
          <c:order val="0"/>
          <c:spPr>
            <a:solidFill>
              <a:srgbClr val="C0E6F4"/>
            </a:solidFill>
            <a:ln w="9525" algn="ctr">
              <a:solidFill>
                <a:srgbClr val="808080"/>
              </a:solidFill>
              <a:prstDash val="solid"/>
            </a:ln>
          </c:spPr>
          <c:invertIfNegative val="0"/>
          <c:val>
            <c:numRef>
              <c:f>Sheet1!$A$1:$T$1</c:f>
              <c:numCache>
                <c:formatCode>General</c:formatCode>
                <c:ptCount val="20"/>
                <c:pt idx="0">
                  <c:v>42406</c:v>
                </c:pt>
                <c:pt idx="1">
                  <c:v>43526</c:v>
                </c:pt>
                <c:pt idx="2">
                  <c:v>47069</c:v>
                </c:pt>
                <c:pt idx="3">
                  <c:v>45323</c:v>
                </c:pt>
                <c:pt idx="4">
                  <c:v>47351</c:v>
                </c:pt>
                <c:pt idx="5">
                  <c:v>47152</c:v>
                </c:pt>
                <c:pt idx="6">
                  <c:v>51893</c:v>
                </c:pt>
                <c:pt idx="7">
                  <c:v>54162</c:v>
                </c:pt>
                <c:pt idx="8">
                  <c:v>57245</c:v>
                </c:pt>
                <c:pt idx="9">
                  <c:v>60485</c:v>
                </c:pt>
                <c:pt idx="10">
                  <c:v>62751</c:v>
                </c:pt>
                <c:pt idx="11">
                  <c:v>63214</c:v>
                </c:pt>
                <c:pt idx="12">
                  <c:v>62364</c:v>
                </c:pt>
                <c:pt idx="13">
                  <c:v>68001</c:v>
                </c:pt>
                <c:pt idx="14">
                  <c:v>71186</c:v>
                </c:pt>
                <c:pt idx="15">
                  <c:v>71539</c:v>
                </c:pt>
                <c:pt idx="16">
                  <c:v>70894</c:v>
                </c:pt>
                <c:pt idx="17">
                  <c:v>71917</c:v>
                </c:pt>
                <c:pt idx="18">
                  <c:v>72017</c:v>
                </c:pt>
                <c:pt idx="19">
                  <c:v>73377</c:v>
                </c:pt>
              </c:numCache>
            </c:numRef>
          </c:val>
          <c:extLst>
            <c:ext xmlns:c16="http://schemas.microsoft.com/office/drawing/2014/chart" uri="{C3380CC4-5D6E-409C-BE32-E72D297353CC}">
              <c16:uniqueId val="{00000000-E413-44FB-B656-C99E63DBD527}"/>
            </c:ext>
          </c:extLst>
        </c:ser>
        <c:ser>
          <c:idx val="1"/>
          <c:order val="1"/>
          <c:spPr>
            <a:solidFill>
              <a:srgbClr val="80CCE8"/>
            </a:solidFill>
            <a:ln w="9525" algn="ctr">
              <a:solidFill>
                <a:srgbClr val="808080"/>
              </a:solidFill>
              <a:prstDash val="solid"/>
            </a:ln>
          </c:spPr>
          <c:invertIfNegative val="0"/>
          <c:val>
            <c:numRef>
              <c:f>Sheet1!$A$2:$T$2</c:f>
              <c:numCache>
                <c:formatCode>General</c:formatCode>
                <c:ptCount val="20"/>
                <c:pt idx="0">
                  <c:v>59445</c:v>
                </c:pt>
                <c:pt idx="1">
                  <c:v>62405</c:v>
                </c:pt>
                <c:pt idx="2">
                  <c:v>63977</c:v>
                </c:pt>
                <c:pt idx="3">
                  <c:v>60431</c:v>
                </c:pt>
                <c:pt idx="4">
                  <c:v>63619</c:v>
                </c:pt>
                <c:pt idx="5">
                  <c:v>66109</c:v>
                </c:pt>
                <c:pt idx="6">
                  <c:v>68993</c:v>
                </c:pt>
                <c:pt idx="7">
                  <c:v>73321</c:v>
                </c:pt>
                <c:pt idx="8">
                  <c:v>73620</c:v>
                </c:pt>
                <c:pt idx="9">
                  <c:v>76472</c:v>
                </c:pt>
                <c:pt idx="10">
                  <c:v>76629</c:v>
                </c:pt>
                <c:pt idx="11">
                  <c:v>78842</c:v>
                </c:pt>
                <c:pt idx="12">
                  <c:v>81458</c:v>
                </c:pt>
                <c:pt idx="13">
                  <c:v>84743</c:v>
                </c:pt>
                <c:pt idx="14">
                  <c:v>90407</c:v>
                </c:pt>
                <c:pt idx="15">
                  <c:v>93845</c:v>
                </c:pt>
                <c:pt idx="16">
                  <c:v>93735</c:v>
                </c:pt>
                <c:pt idx="17">
                  <c:v>100388</c:v>
                </c:pt>
                <c:pt idx="18">
                  <c:v>103241</c:v>
                </c:pt>
                <c:pt idx="19">
                  <c:v>106730</c:v>
                </c:pt>
              </c:numCache>
            </c:numRef>
          </c:val>
          <c:extLst>
            <c:ext xmlns:c16="http://schemas.microsoft.com/office/drawing/2014/chart" uri="{C3380CC4-5D6E-409C-BE32-E72D297353CC}">
              <c16:uniqueId val="{00000001-E413-44FB-B656-C99E63DBD527}"/>
            </c:ext>
          </c:extLst>
        </c:ser>
        <c:dLbls>
          <c:showLegendKey val="0"/>
          <c:showVal val="0"/>
          <c:showCatName val="0"/>
          <c:showSerName val="0"/>
          <c:showPercent val="0"/>
          <c:showBubbleSize val="0"/>
        </c:dLbls>
        <c:gapWidth val="60"/>
        <c:overlap val="100"/>
        <c:axId val="1621017472"/>
        <c:axId val="1"/>
      </c:barChart>
      <c:catAx>
        <c:axId val="162101747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9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900" kern="1200">
                <a:latin typeface="+mn-lt"/>
                <a:ea typeface="+mn-ea"/>
                <a:cs typeface="+mn-cs"/>
                <a:sym typeface="+mn-lt"/>
              </a:defRPr>
            </a:pPr>
            <a:endParaRPr lang="en-US"/>
          </a:p>
        </c:txPr>
        <c:crossAx val="1621017472"/>
        <c:crosses val="min"/>
        <c:crossBetween val="between"/>
        <c:majorUnit val="5000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686875132950439E-2"/>
          <c:y val="6.5887353878852278E-2"/>
          <c:w val="0.91725164858540731"/>
          <c:h val="0.86822529224229539"/>
        </c:manualLayout>
      </c:layout>
      <c:barChart>
        <c:barDir val="col"/>
        <c:grouping val="stacked"/>
        <c:varyColors val="0"/>
        <c:ser>
          <c:idx val="0"/>
          <c:order val="0"/>
          <c:spPr>
            <a:solidFill>
              <a:srgbClr val="C0E6F4"/>
            </a:solidFill>
            <a:ln w="9525" algn="ctr">
              <a:solidFill>
                <a:srgbClr val="808080"/>
              </a:solidFill>
              <a:prstDash val="solid"/>
            </a:ln>
          </c:spPr>
          <c:invertIfNegative val="0"/>
          <c:val>
            <c:numRef>
              <c:f>Sheet1!$A$1:$T$1</c:f>
              <c:numCache>
                <c:formatCode>General</c:formatCode>
                <c:ptCount val="20"/>
                <c:pt idx="0">
                  <c:v>242.61195744225131</c:v>
                </c:pt>
                <c:pt idx="1">
                  <c:v>245.63993124464156</c:v>
                </c:pt>
                <c:pt idx="2">
                  <c:v>262.1678448488932</c:v>
                </c:pt>
                <c:pt idx="3">
                  <c:v>249.28716237479168</c:v>
                </c:pt>
                <c:pt idx="4">
                  <c:v>257.3346178429988</c:v>
                </c:pt>
                <c:pt idx="5">
                  <c:v>253.3347267047107</c:v>
                </c:pt>
                <c:pt idx="6">
                  <c:v>275.78345149756979</c:v>
                </c:pt>
                <c:pt idx="7">
                  <c:v>284.86970432049577</c:v>
                </c:pt>
                <c:pt idx="8">
                  <c:v>298.10353272439676</c:v>
                </c:pt>
                <c:pt idx="9">
                  <c:v>311.95908414351675</c:v>
                </c:pt>
                <c:pt idx="10">
                  <c:v>320.62414205395453</c:v>
                </c:pt>
                <c:pt idx="11">
                  <c:v>320.04585633261968</c:v>
                </c:pt>
                <c:pt idx="12">
                  <c:v>312.93344214946961</c:v>
                </c:pt>
                <c:pt idx="13">
                  <c:v>338.25088470511406</c:v>
                </c:pt>
                <c:pt idx="14">
                  <c:v>351.07972786970646</c:v>
                </c:pt>
                <c:pt idx="15">
                  <c:v>349.87290946939049</c:v>
                </c:pt>
                <c:pt idx="16">
                  <c:v>343.87263553232884</c:v>
                </c:pt>
                <c:pt idx="17">
                  <c:v>346.03319914140724</c:v>
                </c:pt>
                <c:pt idx="18">
                  <c:v>343.80604463460884</c:v>
                </c:pt>
                <c:pt idx="19">
                  <c:v>347.67692994242299</c:v>
                </c:pt>
              </c:numCache>
            </c:numRef>
          </c:val>
          <c:extLst>
            <c:ext xmlns:c16="http://schemas.microsoft.com/office/drawing/2014/chart" uri="{C3380CC4-5D6E-409C-BE32-E72D297353CC}">
              <c16:uniqueId val="{00000000-07F0-46B9-9D83-053BEEFEBAD6}"/>
            </c:ext>
          </c:extLst>
        </c:ser>
        <c:ser>
          <c:idx val="1"/>
          <c:order val="1"/>
          <c:spPr>
            <a:solidFill>
              <a:srgbClr val="80CCE8"/>
            </a:solidFill>
            <a:ln w="9525" algn="ctr">
              <a:solidFill>
                <a:srgbClr val="808080"/>
              </a:solidFill>
              <a:prstDash val="solid"/>
            </a:ln>
          </c:spPr>
          <c:invertIfNegative val="0"/>
          <c:val>
            <c:numRef>
              <c:f>Sheet1!$A$2:$T$2</c:f>
              <c:numCache>
                <c:formatCode>General</c:formatCode>
                <c:ptCount val="20"/>
                <c:pt idx="0">
                  <c:v>340.0918207410748</c:v>
                </c:pt>
                <c:pt idx="1">
                  <c:v>352.17969154699966</c:v>
                </c:pt>
                <c:pt idx="2">
                  <c:v>356.34066668845333</c:v>
                </c:pt>
                <c:pt idx="3">
                  <c:v>332.38698118815739</c:v>
                </c:pt>
                <c:pt idx="4">
                  <c:v>345.74243299886496</c:v>
                </c:pt>
                <c:pt idx="5">
                  <c:v>355.18278944150239</c:v>
                </c:pt>
                <c:pt idx="6">
                  <c:v>366.65820315079407</c:v>
                </c:pt>
                <c:pt idx="7">
                  <c:v>385.63333105052243</c:v>
                </c:pt>
                <c:pt idx="8">
                  <c:v>383.37676357953143</c:v>
                </c:pt>
                <c:pt idx="9">
                  <c:v>394.41776217823929</c:v>
                </c:pt>
                <c:pt idx="10">
                  <c:v>391.53760473809427</c:v>
                </c:pt>
                <c:pt idx="11">
                  <c:v>399.17194754149966</c:v>
                </c:pt>
                <c:pt idx="12">
                  <c:v>408.74644519360317</c:v>
                </c:pt>
                <c:pt idx="13">
                  <c:v>421.53127542547412</c:v>
                </c:pt>
                <c:pt idx="14">
                  <c:v>445.8733528695945</c:v>
                </c:pt>
                <c:pt idx="15">
                  <c:v>458.96084973748407</c:v>
                </c:pt>
                <c:pt idx="16">
                  <c:v>454.66444445159908</c:v>
                </c:pt>
                <c:pt idx="17">
                  <c:v>483.01952522351149</c:v>
                </c:pt>
                <c:pt idx="18">
                  <c:v>492.87147413559126</c:v>
                </c:pt>
                <c:pt idx="19">
                  <c:v>505.71105322455429</c:v>
                </c:pt>
              </c:numCache>
            </c:numRef>
          </c:val>
          <c:extLst>
            <c:ext xmlns:c16="http://schemas.microsoft.com/office/drawing/2014/chart" uri="{C3380CC4-5D6E-409C-BE32-E72D297353CC}">
              <c16:uniqueId val="{00000001-07F0-46B9-9D83-053BEEFEBAD6}"/>
            </c:ext>
          </c:extLst>
        </c:ser>
        <c:dLbls>
          <c:showLegendKey val="0"/>
          <c:showVal val="0"/>
          <c:showCatName val="0"/>
          <c:showSerName val="0"/>
          <c:showPercent val="0"/>
          <c:showBubbleSize val="0"/>
        </c:dLbls>
        <c:gapWidth val="60"/>
        <c:overlap val="100"/>
        <c:axId val="310298736"/>
        <c:axId val="1"/>
      </c:barChart>
      <c:catAx>
        <c:axId val="31029873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10298736"/>
        <c:crosses val="min"/>
        <c:crossBetween val="between"/>
        <c:majorUnit val="20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0"/>
            <a:ext cx="2972393" cy="499286"/>
          </a:xfrm>
          <a:prstGeom prst="rect">
            <a:avLst/>
          </a:prstGeom>
        </p:spPr>
        <p:txBody>
          <a:bodyPr vert="horz" lIns="92504" tIns="46251" rIns="92504" bIns="46251"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83991" y="0"/>
            <a:ext cx="2972392" cy="499286"/>
          </a:xfrm>
          <a:prstGeom prst="rect">
            <a:avLst/>
          </a:prstGeom>
        </p:spPr>
        <p:txBody>
          <a:bodyPr vert="horz" lIns="92504" tIns="46251" rIns="92504" bIns="46251" rtlCol="0"/>
          <a:lstStyle>
            <a:lvl1pPr algn="r">
              <a:defRPr sz="1200"/>
            </a:lvl1pPr>
          </a:lstStyle>
          <a:p>
            <a:fld id="{AD5813BB-2A59-4094-A80D-63C58A298EE5}" type="datetimeFigureOut">
              <a:rPr kumimoji="1" lang="ja-JP" altLang="en-US" smtClean="0">
                <a:latin typeface="Arial" panose="020B0604020202020204" pitchFamily="34" charset="0"/>
              </a:rPr>
              <a:pPr/>
              <a:t>2023/3/30</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446403"/>
            <a:ext cx="2972393" cy="499286"/>
          </a:xfrm>
          <a:prstGeom prst="rect">
            <a:avLst/>
          </a:prstGeom>
        </p:spPr>
        <p:txBody>
          <a:bodyPr vert="horz" lIns="92504" tIns="46251" rIns="92504" bIns="46251"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83991" y="9446403"/>
            <a:ext cx="2972392" cy="499286"/>
          </a:xfrm>
          <a:prstGeom prst="rect">
            <a:avLst/>
          </a:prstGeom>
        </p:spPr>
        <p:txBody>
          <a:bodyPr vert="horz" lIns="92504" tIns="46251" rIns="92504" bIns="46251"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5"/>
            <a:ext cx="2972548" cy="497842"/>
          </a:xfrm>
          <a:prstGeom prst="rect">
            <a:avLst/>
          </a:prstGeom>
        </p:spPr>
        <p:txBody>
          <a:bodyPr vert="horz" lIns="91818" tIns="45909" rIns="91818" bIns="45909"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83853" y="5"/>
            <a:ext cx="2972548" cy="497842"/>
          </a:xfrm>
          <a:prstGeom prst="rect">
            <a:avLst/>
          </a:prstGeom>
        </p:spPr>
        <p:txBody>
          <a:bodyPr vert="horz" lIns="91818" tIns="45909" rIns="91818" bIns="45909" rtlCol="0"/>
          <a:lstStyle>
            <a:lvl1pPr algn="r">
              <a:defRPr sz="1200">
                <a:latin typeface="Arial" panose="020B0604020202020204" pitchFamily="34" charset="0"/>
              </a:defRPr>
            </a:lvl1pPr>
          </a:lstStyle>
          <a:p>
            <a:fld id="{6F0D6084-7E8B-4A36-97F0-DEDFB028508E}" type="datetimeFigureOut">
              <a:rPr lang="ja-JP" altLang="en-US" smtClean="0"/>
              <a:pPr/>
              <a:t>2023/3/30</a:t>
            </a:fld>
            <a:endParaRPr lang="ja-JP" altLang="en-US" dirty="0"/>
          </a:p>
        </p:txBody>
      </p:sp>
      <p:sp>
        <p:nvSpPr>
          <p:cNvPr id="4" name="スライド イメージ プレースホルダ 3"/>
          <p:cNvSpPr>
            <a:spLocks noGrp="1" noRot="1" noChangeAspect="1"/>
          </p:cNvSpPr>
          <p:nvPr>
            <p:ph type="sldImg" idx="2"/>
          </p:nvPr>
        </p:nvSpPr>
        <p:spPr>
          <a:xfrm>
            <a:off x="735013" y="747713"/>
            <a:ext cx="5387975" cy="3730625"/>
          </a:xfrm>
          <a:prstGeom prst="rect">
            <a:avLst/>
          </a:prstGeom>
          <a:noFill/>
          <a:ln w="12700">
            <a:solidFill>
              <a:prstClr val="black"/>
            </a:solidFill>
          </a:ln>
        </p:spPr>
        <p:txBody>
          <a:bodyPr vert="horz" lIns="91818" tIns="45909" rIns="91818" bIns="45909" rtlCol="0" anchor="ctr"/>
          <a:lstStyle/>
          <a:p>
            <a:endParaRPr lang="ja-JP" altLang="en-US" dirty="0"/>
          </a:p>
        </p:txBody>
      </p:sp>
      <p:sp>
        <p:nvSpPr>
          <p:cNvPr id="5" name="ノート プレースホルダ 4"/>
          <p:cNvSpPr>
            <a:spLocks noGrp="1"/>
          </p:cNvSpPr>
          <p:nvPr>
            <p:ph type="body" sz="quarter" idx="3"/>
          </p:nvPr>
        </p:nvSpPr>
        <p:spPr>
          <a:xfrm>
            <a:off x="685480" y="4723925"/>
            <a:ext cx="5487041" cy="4475798"/>
          </a:xfrm>
          <a:prstGeom prst="rect">
            <a:avLst/>
          </a:prstGeom>
        </p:spPr>
        <p:txBody>
          <a:bodyPr vert="horz" lIns="91818" tIns="45909" rIns="91818" bIns="45909"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446260"/>
            <a:ext cx="2972548" cy="497841"/>
          </a:xfrm>
          <a:prstGeom prst="rect">
            <a:avLst/>
          </a:prstGeom>
        </p:spPr>
        <p:txBody>
          <a:bodyPr vert="horz" lIns="91818" tIns="45909" rIns="91818" bIns="45909"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83853" y="9446260"/>
            <a:ext cx="2972548" cy="497841"/>
          </a:xfrm>
          <a:prstGeom prst="rect">
            <a:avLst/>
          </a:prstGeom>
        </p:spPr>
        <p:txBody>
          <a:bodyPr vert="horz" lIns="91818" tIns="45909" rIns="91818" bIns="45909"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5567294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3</a:t>
            </a:fld>
            <a:endParaRPr kumimoji="1" lang="ja-JP" altLang="en-US"/>
          </a:p>
        </p:txBody>
      </p:sp>
    </p:spTree>
    <p:extLst>
      <p:ext uri="{BB962C8B-B14F-4D97-AF65-F5344CB8AC3E}">
        <p14:creationId xmlns:p14="http://schemas.microsoft.com/office/powerpoint/2010/main" val="4505024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38959571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16719202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4285931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1604003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8</a:t>
            </a:fld>
            <a:endParaRPr kumimoji="1" lang="ja-JP" altLang="en-US"/>
          </a:p>
        </p:txBody>
      </p:sp>
    </p:spTree>
    <p:extLst>
      <p:ext uri="{BB962C8B-B14F-4D97-AF65-F5344CB8AC3E}">
        <p14:creationId xmlns:p14="http://schemas.microsoft.com/office/powerpoint/2010/main" val="4505024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8</a:t>
            </a:fld>
            <a:endParaRPr kumimoji="1" lang="ja-JP" altLang="en-US"/>
          </a:p>
        </p:txBody>
      </p:sp>
    </p:spTree>
    <p:extLst>
      <p:ext uri="{BB962C8B-B14F-4D97-AF65-F5344CB8AC3E}">
        <p14:creationId xmlns:p14="http://schemas.microsoft.com/office/powerpoint/2010/main" val="4505024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1</a:t>
            </a:fld>
            <a:endParaRPr kumimoji="1" lang="ja-JP" altLang="en-US"/>
          </a:p>
        </p:txBody>
      </p:sp>
    </p:spTree>
    <p:extLst>
      <p:ext uri="{BB962C8B-B14F-4D97-AF65-F5344CB8AC3E}">
        <p14:creationId xmlns:p14="http://schemas.microsoft.com/office/powerpoint/2010/main" val="4505024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2</a:t>
            </a:fld>
            <a:endParaRPr kumimoji="1" lang="ja-JP" altLang="en-US"/>
          </a:p>
        </p:txBody>
      </p:sp>
    </p:spTree>
    <p:extLst>
      <p:ext uri="{BB962C8B-B14F-4D97-AF65-F5344CB8AC3E}">
        <p14:creationId xmlns:p14="http://schemas.microsoft.com/office/powerpoint/2010/main" val="21145787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431" name="Oval 6"/>
          <p:cNvSpPr>
            <a:spLocks noChangeArrowheads="1"/>
          </p:cNvSpPr>
          <p:nvPr userDrawn="1"/>
        </p:nvSpPr>
        <p:spPr bwMode="auto">
          <a:xfrm>
            <a:off x="7118086" y="6394986"/>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2" name="Oval 7"/>
          <p:cNvSpPr>
            <a:spLocks noChangeArrowheads="1"/>
          </p:cNvSpPr>
          <p:nvPr userDrawn="1"/>
        </p:nvSpPr>
        <p:spPr bwMode="auto">
          <a:xfrm>
            <a:off x="7209493" y="6394986"/>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3" name="Oval 8"/>
          <p:cNvSpPr>
            <a:spLocks noChangeArrowheads="1"/>
          </p:cNvSpPr>
          <p:nvPr userDrawn="1"/>
        </p:nvSpPr>
        <p:spPr bwMode="auto">
          <a:xfrm>
            <a:off x="7299107" y="6394986"/>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4" name="Oval 9"/>
          <p:cNvSpPr>
            <a:spLocks noChangeArrowheads="1"/>
          </p:cNvSpPr>
          <p:nvPr userDrawn="1"/>
        </p:nvSpPr>
        <p:spPr bwMode="auto">
          <a:xfrm>
            <a:off x="7390514" y="6394986"/>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5" name="Oval 10"/>
          <p:cNvSpPr>
            <a:spLocks noChangeArrowheads="1"/>
          </p:cNvSpPr>
          <p:nvPr userDrawn="1"/>
        </p:nvSpPr>
        <p:spPr bwMode="auto">
          <a:xfrm>
            <a:off x="7481921" y="6394986"/>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6" name="Oval 11"/>
          <p:cNvSpPr>
            <a:spLocks noChangeArrowheads="1"/>
          </p:cNvSpPr>
          <p:nvPr userDrawn="1"/>
        </p:nvSpPr>
        <p:spPr bwMode="auto">
          <a:xfrm>
            <a:off x="7209493" y="6488185"/>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7" name="Oval 12"/>
          <p:cNvSpPr>
            <a:spLocks noChangeArrowheads="1"/>
          </p:cNvSpPr>
          <p:nvPr userDrawn="1"/>
        </p:nvSpPr>
        <p:spPr bwMode="auto">
          <a:xfrm>
            <a:off x="7299107" y="6488185"/>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8" name="Oval 13"/>
          <p:cNvSpPr>
            <a:spLocks noChangeArrowheads="1"/>
          </p:cNvSpPr>
          <p:nvPr userDrawn="1"/>
        </p:nvSpPr>
        <p:spPr bwMode="auto">
          <a:xfrm>
            <a:off x="7390514" y="648818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39" name="Oval 14"/>
          <p:cNvSpPr>
            <a:spLocks noChangeArrowheads="1"/>
          </p:cNvSpPr>
          <p:nvPr userDrawn="1"/>
        </p:nvSpPr>
        <p:spPr bwMode="auto">
          <a:xfrm>
            <a:off x="7299107" y="6576007"/>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0" name="Oval 15"/>
          <p:cNvSpPr>
            <a:spLocks noChangeArrowheads="1"/>
          </p:cNvSpPr>
          <p:nvPr userDrawn="1"/>
        </p:nvSpPr>
        <p:spPr bwMode="auto">
          <a:xfrm>
            <a:off x="6306179"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1" name="Oval 16"/>
          <p:cNvSpPr>
            <a:spLocks noChangeArrowheads="1"/>
          </p:cNvSpPr>
          <p:nvPr userDrawn="1"/>
        </p:nvSpPr>
        <p:spPr bwMode="auto">
          <a:xfrm>
            <a:off x="6397586"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2" name="Oval 17"/>
          <p:cNvSpPr>
            <a:spLocks noChangeArrowheads="1"/>
          </p:cNvSpPr>
          <p:nvPr userDrawn="1"/>
        </p:nvSpPr>
        <p:spPr bwMode="auto">
          <a:xfrm>
            <a:off x="6485408" y="4138493"/>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3" name="Oval 18"/>
          <p:cNvSpPr>
            <a:spLocks noChangeArrowheads="1"/>
          </p:cNvSpPr>
          <p:nvPr userDrawn="1"/>
        </p:nvSpPr>
        <p:spPr bwMode="auto">
          <a:xfrm>
            <a:off x="6576815"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4" name="Oval 19"/>
          <p:cNvSpPr>
            <a:spLocks noChangeArrowheads="1"/>
          </p:cNvSpPr>
          <p:nvPr userDrawn="1"/>
        </p:nvSpPr>
        <p:spPr bwMode="auto">
          <a:xfrm>
            <a:off x="6668222" y="4138493"/>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5" name="Oval 20"/>
          <p:cNvSpPr>
            <a:spLocks noChangeArrowheads="1"/>
          </p:cNvSpPr>
          <p:nvPr userDrawn="1"/>
        </p:nvSpPr>
        <p:spPr bwMode="auto">
          <a:xfrm>
            <a:off x="6754251" y="4138493"/>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6" name="Oval 21"/>
          <p:cNvSpPr>
            <a:spLocks noChangeArrowheads="1"/>
          </p:cNvSpPr>
          <p:nvPr userDrawn="1"/>
        </p:nvSpPr>
        <p:spPr bwMode="auto">
          <a:xfrm>
            <a:off x="6847450"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7" name="Oval 22"/>
          <p:cNvSpPr>
            <a:spLocks noChangeArrowheads="1"/>
          </p:cNvSpPr>
          <p:nvPr userDrawn="1"/>
        </p:nvSpPr>
        <p:spPr bwMode="auto">
          <a:xfrm>
            <a:off x="6940650"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8" name="Oval 23"/>
          <p:cNvSpPr>
            <a:spLocks noChangeArrowheads="1"/>
          </p:cNvSpPr>
          <p:nvPr userDrawn="1"/>
        </p:nvSpPr>
        <p:spPr bwMode="auto">
          <a:xfrm>
            <a:off x="7026679"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49" name="Oval 24"/>
          <p:cNvSpPr>
            <a:spLocks noChangeArrowheads="1"/>
          </p:cNvSpPr>
          <p:nvPr userDrawn="1"/>
        </p:nvSpPr>
        <p:spPr bwMode="auto">
          <a:xfrm>
            <a:off x="7118086"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0" name="Oval 25"/>
          <p:cNvSpPr>
            <a:spLocks noChangeArrowheads="1"/>
          </p:cNvSpPr>
          <p:nvPr userDrawn="1"/>
        </p:nvSpPr>
        <p:spPr bwMode="auto">
          <a:xfrm>
            <a:off x="7209493" y="4138493"/>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1" name="Oval 26"/>
          <p:cNvSpPr>
            <a:spLocks noChangeArrowheads="1"/>
          </p:cNvSpPr>
          <p:nvPr userDrawn="1"/>
        </p:nvSpPr>
        <p:spPr bwMode="auto">
          <a:xfrm>
            <a:off x="7299107" y="4138493"/>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2" name="Oval 27"/>
          <p:cNvSpPr>
            <a:spLocks noChangeArrowheads="1"/>
          </p:cNvSpPr>
          <p:nvPr userDrawn="1"/>
        </p:nvSpPr>
        <p:spPr bwMode="auto">
          <a:xfrm>
            <a:off x="7390514"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3" name="Oval 28"/>
          <p:cNvSpPr>
            <a:spLocks noChangeArrowheads="1"/>
          </p:cNvSpPr>
          <p:nvPr userDrawn="1"/>
        </p:nvSpPr>
        <p:spPr bwMode="auto">
          <a:xfrm>
            <a:off x="7481921"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4" name="Oval 29"/>
          <p:cNvSpPr>
            <a:spLocks noChangeArrowheads="1"/>
          </p:cNvSpPr>
          <p:nvPr userDrawn="1"/>
        </p:nvSpPr>
        <p:spPr bwMode="auto">
          <a:xfrm>
            <a:off x="7573328"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5" name="Oval 30"/>
          <p:cNvSpPr>
            <a:spLocks noChangeArrowheads="1"/>
          </p:cNvSpPr>
          <p:nvPr userDrawn="1"/>
        </p:nvSpPr>
        <p:spPr bwMode="auto">
          <a:xfrm>
            <a:off x="7659358"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6" name="Oval 31"/>
          <p:cNvSpPr>
            <a:spLocks noChangeArrowheads="1"/>
          </p:cNvSpPr>
          <p:nvPr userDrawn="1"/>
        </p:nvSpPr>
        <p:spPr bwMode="auto">
          <a:xfrm>
            <a:off x="7752557"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7" name="Oval 32"/>
          <p:cNvSpPr>
            <a:spLocks noChangeArrowheads="1"/>
          </p:cNvSpPr>
          <p:nvPr userDrawn="1"/>
        </p:nvSpPr>
        <p:spPr bwMode="auto">
          <a:xfrm>
            <a:off x="7845756"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8" name="Oval 33"/>
          <p:cNvSpPr>
            <a:spLocks noChangeArrowheads="1"/>
          </p:cNvSpPr>
          <p:nvPr userDrawn="1"/>
        </p:nvSpPr>
        <p:spPr bwMode="auto">
          <a:xfrm>
            <a:off x="7931786"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59" name="Oval 34"/>
          <p:cNvSpPr>
            <a:spLocks noChangeArrowheads="1"/>
          </p:cNvSpPr>
          <p:nvPr userDrawn="1"/>
        </p:nvSpPr>
        <p:spPr bwMode="auto">
          <a:xfrm>
            <a:off x="8023192"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0" name="Oval 35"/>
          <p:cNvSpPr>
            <a:spLocks noChangeArrowheads="1"/>
          </p:cNvSpPr>
          <p:nvPr userDrawn="1"/>
        </p:nvSpPr>
        <p:spPr bwMode="auto">
          <a:xfrm>
            <a:off x="8114599"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1" name="Oval 36"/>
          <p:cNvSpPr>
            <a:spLocks noChangeArrowheads="1"/>
          </p:cNvSpPr>
          <p:nvPr userDrawn="1"/>
        </p:nvSpPr>
        <p:spPr bwMode="auto">
          <a:xfrm>
            <a:off x="8202421"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2" name="Oval 37"/>
          <p:cNvSpPr>
            <a:spLocks noChangeArrowheads="1"/>
          </p:cNvSpPr>
          <p:nvPr userDrawn="1"/>
        </p:nvSpPr>
        <p:spPr bwMode="auto">
          <a:xfrm>
            <a:off x="8293828" y="4138493"/>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3" name="Oval 38"/>
          <p:cNvSpPr>
            <a:spLocks noChangeArrowheads="1"/>
          </p:cNvSpPr>
          <p:nvPr userDrawn="1"/>
        </p:nvSpPr>
        <p:spPr bwMode="auto">
          <a:xfrm>
            <a:off x="8387027"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4" name="Oval 39"/>
          <p:cNvSpPr>
            <a:spLocks noChangeArrowheads="1"/>
          </p:cNvSpPr>
          <p:nvPr userDrawn="1"/>
        </p:nvSpPr>
        <p:spPr bwMode="auto">
          <a:xfrm>
            <a:off x="8473057"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5" name="Oval 40"/>
          <p:cNvSpPr>
            <a:spLocks noChangeArrowheads="1"/>
          </p:cNvSpPr>
          <p:nvPr userDrawn="1"/>
        </p:nvSpPr>
        <p:spPr bwMode="auto">
          <a:xfrm>
            <a:off x="8566256" y="4138493"/>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6" name="Oval 41"/>
          <p:cNvSpPr>
            <a:spLocks noChangeArrowheads="1"/>
          </p:cNvSpPr>
          <p:nvPr userDrawn="1"/>
        </p:nvSpPr>
        <p:spPr bwMode="auto">
          <a:xfrm>
            <a:off x="8657663" y="4138493"/>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7" name="Oval 42"/>
          <p:cNvSpPr>
            <a:spLocks noChangeArrowheads="1"/>
          </p:cNvSpPr>
          <p:nvPr userDrawn="1"/>
        </p:nvSpPr>
        <p:spPr bwMode="auto">
          <a:xfrm>
            <a:off x="8743693"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8" name="Oval 43"/>
          <p:cNvSpPr>
            <a:spLocks noChangeArrowheads="1"/>
          </p:cNvSpPr>
          <p:nvPr userDrawn="1"/>
        </p:nvSpPr>
        <p:spPr bwMode="auto">
          <a:xfrm>
            <a:off x="8836892" y="4138493"/>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69" name="Oval 44"/>
          <p:cNvSpPr>
            <a:spLocks noChangeArrowheads="1"/>
          </p:cNvSpPr>
          <p:nvPr userDrawn="1"/>
        </p:nvSpPr>
        <p:spPr bwMode="auto">
          <a:xfrm>
            <a:off x="8928299" y="4138493"/>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0" name="Oval 45"/>
          <p:cNvSpPr>
            <a:spLocks noChangeArrowheads="1"/>
          </p:cNvSpPr>
          <p:nvPr userDrawn="1"/>
        </p:nvSpPr>
        <p:spPr bwMode="auto">
          <a:xfrm>
            <a:off x="9014329" y="4138493"/>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1" name="Oval 46"/>
          <p:cNvSpPr>
            <a:spLocks noChangeArrowheads="1"/>
          </p:cNvSpPr>
          <p:nvPr userDrawn="1"/>
        </p:nvSpPr>
        <p:spPr bwMode="auto">
          <a:xfrm>
            <a:off x="6397586"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2" name="Oval 47"/>
          <p:cNvSpPr>
            <a:spLocks noChangeArrowheads="1"/>
          </p:cNvSpPr>
          <p:nvPr userDrawn="1"/>
        </p:nvSpPr>
        <p:spPr bwMode="auto">
          <a:xfrm>
            <a:off x="6485408" y="4229900"/>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3" name="Oval 48"/>
          <p:cNvSpPr>
            <a:spLocks noChangeArrowheads="1"/>
          </p:cNvSpPr>
          <p:nvPr userDrawn="1"/>
        </p:nvSpPr>
        <p:spPr bwMode="auto">
          <a:xfrm>
            <a:off x="6576815"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4" name="Oval 49"/>
          <p:cNvSpPr>
            <a:spLocks noChangeArrowheads="1"/>
          </p:cNvSpPr>
          <p:nvPr userDrawn="1"/>
        </p:nvSpPr>
        <p:spPr bwMode="auto">
          <a:xfrm>
            <a:off x="6668222" y="4229900"/>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5" name="Oval 50"/>
          <p:cNvSpPr>
            <a:spLocks noChangeArrowheads="1"/>
          </p:cNvSpPr>
          <p:nvPr userDrawn="1"/>
        </p:nvSpPr>
        <p:spPr bwMode="auto">
          <a:xfrm>
            <a:off x="6754251" y="4229900"/>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6" name="Oval 51"/>
          <p:cNvSpPr>
            <a:spLocks noChangeArrowheads="1"/>
          </p:cNvSpPr>
          <p:nvPr userDrawn="1"/>
        </p:nvSpPr>
        <p:spPr bwMode="auto">
          <a:xfrm>
            <a:off x="6847450"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7" name="Oval 52"/>
          <p:cNvSpPr>
            <a:spLocks noChangeArrowheads="1"/>
          </p:cNvSpPr>
          <p:nvPr userDrawn="1"/>
        </p:nvSpPr>
        <p:spPr bwMode="auto">
          <a:xfrm>
            <a:off x="6940650"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8" name="Oval 53"/>
          <p:cNvSpPr>
            <a:spLocks noChangeArrowheads="1"/>
          </p:cNvSpPr>
          <p:nvPr userDrawn="1"/>
        </p:nvSpPr>
        <p:spPr bwMode="auto">
          <a:xfrm>
            <a:off x="7026679"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79" name="Oval 54"/>
          <p:cNvSpPr>
            <a:spLocks noChangeArrowheads="1"/>
          </p:cNvSpPr>
          <p:nvPr userDrawn="1"/>
        </p:nvSpPr>
        <p:spPr bwMode="auto">
          <a:xfrm>
            <a:off x="7118086"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0" name="Oval 55"/>
          <p:cNvSpPr>
            <a:spLocks noChangeArrowheads="1"/>
          </p:cNvSpPr>
          <p:nvPr userDrawn="1"/>
        </p:nvSpPr>
        <p:spPr bwMode="auto">
          <a:xfrm>
            <a:off x="7209493" y="4229900"/>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1" name="Oval 56"/>
          <p:cNvSpPr>
            <a:spLocks noChangeArrowheads="1"/>
          </p:cNvSpPr>
          <p:nvPr userDrawn="1"/>
        </p:nvSpPr>
        <p:spPr bwMode="auto">
          <a:xfrm>
            <a:off x="7299107" y="4229900"/>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2" name="Oval 57"/>
          <p:cNvSpPr>
            <a:spLocks noChangeArrowheads="1"/>
          </p:cNvSpPr>
          <p:nvPr userDrawn="1"/>
        </p:nvSpPr>
        <p:spPr bwMode="auto">
          <a:xfrm>
            <a:off x="7390514"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3" name="Oval 58"/>
          <p:cNvSpPr>
            <a:spLocks noChangeArrowheads="1"/>
          </p:cNvSpPr>
          <p:nvPr userDrawn="1"/>
        </p:nvSpPr>
        <p:spPr bwMode="auto">
          <a:xfrm>
            <a:off x="7481921"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4" name="Oval 59"/>
          <p:cNvSpPr>
            <a:spLocks noChangeArrowheads="1"/>
          </p:cNvSpPr>
          <p:nvPr userDrawn="1"/>
        </p:nvSpPr>
        <p:spPr bwMode="auto">
          <a:xfrm>
            <a:off x="7573328"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5" name="Oval 60"/>
          <p:cNvSpPr>
            <a:spLocks noChangeArrowheads="1"/>
          </p:cNvSpPr>
          <p:nvPr userDrawn="1"/>
        </p:nvSpPr>
        <p:spPr bwMode="auto">
          <a:xfrm>
            <a:off x="7659358"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6" name="Oval 61"/>
          <p:cNvSpPr>
            <a:spLocks noChangeArrowheads="1"/>
          </p:cNvSpPr>
          <p:nvPr userDrawn="1"/>
        </p:nvSpPr>
        <p:spPr bwMode="auto">
          <a:xfrm>
            <a:off x="7752557"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7" name="Oval 62"/>
          <p:cNvSpPr>
            <a:spLocks noChangeArrowheads="1"/>
          </p:cNvSpPr>
          <p:nvPr userDrawn="1"/>
        </p:nvSpPr>
        <p:spPr bwMode="auto">
          <a:xfrm>
            <a:off x="7845756"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8" name="Oval 63"/>
          <p:cNvSpPr>
            <a:spLocks noChangeArrowheads="1"/>
          </p:cNvSpPr>
          <p:nvPr userDrawn="1"/>
        </p:nvSpPr>
        <p:spPr bwMode="auto">
          <a:xfrm>
            <a:off x="7931786"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89" name="Oval 64"/>
          <p:cNvSpPr>
            <a:spLocks noChangeArrowheads="1"/>
          </p:cNvSpPr>
          <p:nvPr userDrawn="1"/>
        </p:nvSpPr>
        <p:spPr bwMode="auto">
          <a:xfrm>
            <a:off x="8023192"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0" name="Oval 65"/>
          <p:cNvSpPr>
            <a:spLocks noChangeArrowheads="1"/>
          </p:cNvSpPr>
          <p:nvPr userDrawn="1"/>
        </p:nvSpPr>
        <p:spPr bwMode="auto">
          <a:xfrm>
            <a:off x="8114599"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1" name="Oval 66"/>
          <p:cNvSpPr>
            <a:spLocks noChangeArrowheads="1"/>
          </p:cNvSpPr>
          <p:nvPr userDrawn="1"/>
        </p:nvSpPr>
        <p:spPr bwMode="auto">
          <a:xfrm>
            <a:off x="8202421"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2" name="Oval 67"/>
          <p:cNvSpPr>
            <a:spLocks noChangeArrowheads="1"/>
          </p:cNvSpPr>
          <p:nvPr userDrawn="1"/>
        </p:nvSpPr>
        <p:spPr bwMode="auto">
          <a:xfrm>
            <a:off x="8293828" y="4229900"/>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3" name="Oval 68"/>
          <p:cNvSpPr>
            <a:spLocks noChangeArrowheads="1"/>
          </p:cNvSpPr>
          <p:nvPr userDrawn="1"/>
        </p:nvSpPr>
        <p:spPr bwMode="auto">
          <a:xfrm>
            <a:off x="8387027"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4" name="Oval 69"/>
          <p:cNvSpPr>
            <a:spLocks noChangeArrowheads="1"/>
          </p:cNvSpPr>
          <p:nvPr userDrawn="1"/>
        </p:nvSpPr>
        <p:spPr bwMode="auto">
          <a:xfrm>
            <a:off x="8473057"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5" name="Oval 70"/>
          <p:cNvSpPr>
            <a:spLocks noChangeArrowheads="1"/>
          </p:cNvSpPr>
          <p:nvPr userDrawn="1"/>
        </p:nvSpPr>
        <p:spPr bwMode="auto">
          <a:xfrm>
            <a:off x="8566256" y="4229900"/>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6" name="Oval 71"/>
          <p:cNvSpPr>
            <a:spLocks noChangeArrowheads="1"/>
          </p:cNvSpPr>
          <p:nvPr userDrawn="1"/>
        </p:nvSpPr>
        <p:spPr bwMode="auto">
          <a:xfrm>
            <a:off x="8657663" y="4229900"/>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7" name="Oval 72"/>
          <p:cNvSpPr>
            <a:spLocks noChangeArrowheads="1"/>
          </p:cNvSpPr>
          <p:nvPr userDrawn="1"/>
        </p:nvSpPr>
        <p:spPr bwMode="auto">
          <a:xfrm>
            <a:off x="8743693" y="422990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8" name="Oval 73"/>
          <p:cNvSpPr>
            <a:spLocks noChangeArrowheads="1"/>
          </p:cNvSpPr>
          <p:nvPr userDrawn="1"/>
        </p:nvSpPr>
        <p:spPr bwMode="auto">
          <a:xfrm>
            <a:off x="8836892" y="4229900"/>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499" name="Oval 74"/>
          <p:cNvSpPr>
            <a:spLocks noChangeArrowheads="1"/>
          </p:cNvSpPr>
          <p:nvPr userDrawn="1"/>
        </p:nvSpPr>
        <p:spPr bwMode="auto">
          <a:xfrm>
            <a:off x="8928299" y="422990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0" name="Oval 75"/>
          <p:cNvSpPr>
            <a:spLocks noChangeArrowheads="1"/>
          </p:cNvSpPr>
          <p:nvPr userDrawn="1"/>
        </p:nvSpPr>
        <p:spPr bwMode="auto">
          <a:xfrm>
            <a:off x="6485408" y="4321307"/>
            <a:ext cx="80653"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1" name="Oval 76"/>
          <p:cNvSpPr>
            <a:spLocks noChangeArrowheads="1"/>
          </p:cNvSpPr>
          <p:nvPr userDrawn="1"/>
        </p:nvSpPr>
        <p:spPr bwMode="auto">
          <a:xfrm>
            <a:off x="6576815"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2" name="Oval 77"/>
          <p:cNvSpPr>
            <a:spLocks noChangeArrowheads="1"/>
          </p:cNvSpPr>
          <p:nvPr userDrawn="1"/>
        </p:nvSpPr>
        <p:spPr bwMode="auto">
          <a:xfrm>
            <a:off x="6668222" y="4321307"/>
            <a:ext cx="78861"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3" name="Oval 78"/>
          <p:cNvSpPr>
            <a:spLocks noChangeArrowheads="1"/>
          </p:cNvSpPr>
          <p:nvPr userDrawn="1"/>
        </p:nvSpPr>
        <p:spPr bwMode="auto">
          <a:xfrm>
            <a:off x="6754251" y="4321307"/>
            <a:ext cx="8423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4" name="Oval 79"/>
          <p:cNvSpPr>
            <a:spLocks noChangeArrowheads="1"/>
          </p:cNvSpPr>
          <p:nvPr userDrawn="1"/>
        </p:nvSpPr>
        <p:spPr bwMode="auto">
          <a:xfrm>
            <a:off x="6847450"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5" name="Oval 80"/>
          <p:cNvSpPr>
            <a:spLocks noChangeArrowheads="1"/>
          </p:cNvSpPr>
          <p:nvPr userDrawn="1"/>
        </p:nvSpPr>
        <p:spPr bwMode="auto">
          <a:xfrm>
            <a:off x="6940650" y="4321307"/>
            <a:ext cx="7706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6" name="Oval 81"/>
          <p:cNvSpPr>
            <a:spLocks noChangeArrowheads="1"/>
          </p:cNvSpPr>
          <p:nvPr userDrawn="1"/>
        </p:nvSpPr>
        <p:spPr bwMode="auto">
          <a:xfrm>
            <a:off x="7026679"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7" name="Oval 82"/>
          <p:cNvSpPr>
            <a:spLocks noChangeArrowheads="1"/>
          </p:cNvSpPr>
          <p:nvPr userDrawn="1"/>
        </p:nvSpPr>
        <p:spPr bwMode="auto">
          <a:xfrm>
            <a:off x="7118086"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8" name="Oval 83"/>
          <p:cNvSpPr>
            <a:spLocks noChangeArrowheads="1"/>
          </p:cNvSpPr>
          <p:nvPr userDrawn="1"/>
        </p:nvSpPr>
        <p:spPr bwMode="auto">
          <a:xfrm>
            <a:off x="7209493" y="4321307"/>
            <a:ext cx="78861"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09" name="Oval 84"/>
          <p:cNvSpPr>
            <a:spLocks noChangeArrowheads="1"/>
          </p:cNvSpPr>
          <p:nvPr userDrawn="1"/>
        </p:nvSpPr>
        <p:spPr bwMode="auto">
          <a:xfrm>
            <a:off x="7299107" y="4321307"/>
            <a:ext cx="80653"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0" name="Oval 85"/>
          <p:cNvSpPr>
            <a:spLocks noChangeArrowheads="1"/>
          </p:cNvSpPr>
          <p:nvPr userDrawn="1"/>
        </p:nvSpPr>
        <p:spPr bwMode="auto">
          <a:xfrm>
            <a:off x="7390514"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1" name="Oval 86"/>
          <p:cNvSpPr>
            <a:spLocks noChangeArrowheads="1"/>
          </p:cNvSpPr>
          <p:nvPr userDrawn="1"/>
        </p:nvSpPr>
        <p:spPr bwMode="auto">
          <a:xfrm>
            <a:off x="7481921"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2" name="Oval 87"/>
          <p:cNvSpPr>
            <a:spLocks noChangeArrowheads="1"/>
          </p:cNvSpPr>
          <p:nvPr userDrawn="1"/>
        </p:nvSpPr>
        <p:spPr bwMode="auto">
          <a:xfrm>
            <a:off x="7573328" y="4321307"/>
            <a:ext cx="7706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3" name="Oval 88"/>
          <p:cNvSpPr>
            <a:spLocks noChangeArrowheads="1"/>
          </p:cNvSpPr>
          <p:nvPr userDrawn="1"/>
        </p:nvSpPr>
        <p:spPr bwMode="auto">
          <a:xfrm>
            <a:off x="7659358"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4" name="Oval 89"/>
          <p:cNvSpPr>
            <a:spLocks noChangeArrowheads="1"/>
          </p:cNvSpPr>
          <p:nvPr userDrawn="1"/>
        </p:nvSpPr>
        <p:spPr bwMode="auto">
          <a:xfrm>
            <a:off x="7752557"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5" name="Oval 90"/>
          <p:cNvSpPr>
            <a:spLocks noChangeArrowheads="1"/>
          </p:cNvSpPr>
          <p:nvPr userDrawn="1"/>
        </p:nvSpPr>
        <p:spPr bwMode="auto">
          <a:xfrm>
            <a:off x="7845756" y="4321307"/>
            <a:ext cx="7706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6" name="Oval 91"/>
          <p:cNvSpPr>
            <a:spLocks noChangeArrowheads="1"/>
          </p:cNvSpPr>
          <p:nvPr userDrawn="1"/>
        </p:nvSpPr>
        <p:spPr bwMode="auto">
          <a:xfrm>
            <a:off x="7931786"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7" name="Oval 92"/>
          <p:cNvSpPr>
            <a:spLocks noChangeArrowheads="1"/>
          </p:cNvSpPr>
          <p:nvPr userDrawn="1"/>
        </p:nvSpPr>
        <p:spPr bwMode="auto">
          <a:xfrm>
            <a:off x="8023192"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8" name="Oval 93"/>
          <p:cNvSpPr>
            <a:spLocks noChangeArrowheads="1"/>
          </p:cNvSpPr>
          <p:nvPr userDrawn="1"/>
        </p:nvSpPr>
        <p:spPr bwMode="auto">
          <a:xfrm>
            <a:off x="8114599" y="4321307"/>
            <a:ext cx="7706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19" name="Oval 94"/>
          <p:cNvSpPr>
            <a:spLocks noChangeArrowheads="1"/>
          </p:cNvSpPr>
          <p:nvPr userDrawn="1"/>
        </p:nvSpPr>
        <p:spPr bwMode="auto">
          <a:xfrm>
            <a:off x="8202421"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0" name="Oval 95"/>
          <p:cNvSpPr>
            <a:spLocks noChangeArrowheads="1"/>
          </p:cNvSpPr>
          <p:nvPr userDrawn="1"/>
        </p:nvSpPr>
        <p:spPr bwMode="auto">
          <a:xfrm>
            <a:off x="8293828" y="4321307"/>
            <a:ext cx="8423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1" name="Oval 96"/>
          <p:cNvSpPr>
            <a:spLocks noChangeArrowheads="1"/>
          </p:cNvSpPr>
          <p:nvPr userDrawn="1"/>
        </p:nvSpPr>
        <p:spPr bwMode="auto">
          <a:xfrm>
            <a:off x="8387027" y="4321307"/>
            <a:ext cx="7706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2" name="Oval 97"/>
          <p:cNvSpPr>
            <a:spLocks noChangeArrowheads="1"/>
          </p:cNvSpPr>
          <p:nvPr userDrawn="1"/>
        </p:nvSpPr>
        <p:spPr bwMode="auto">
          <a:xfrm>
            <a:off x="8473057"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3" name="Oval 98"/>
          <p:cNvSpPr>
            <a:spLocks noChangeArrowheads="1"/>
          </p:cNvSpPr>
          <p:nvPr userDrawn="1"/>
        </p:nvSpPr>
        <p:spPr bwMode="auto">
          <a:xfrm>
            <a:off x="8566256" y="4321307"/>
            <a:ext cx="78861"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4" name="Oval 99"/>
          <p:cNvSpPr>
            <a:spLocks noChangeArrowheads="1"/>
          </p:cNvSpPr>
          <p:nvPr userDrawn="1"/>
        </p:nvSpPr>
        <p:spPr bwMode="auto">
          <a:xfrm>
            <a:off x="8657663" y="4321307"/>
            <a:ext cx="75276"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5" name="Oval 100"/>
          <p:cNvSpPr>
            <a:spLocks noChangeArrowheads="1"/>
          </p:cNvSpPr>
          <p:nvPr userDrawn="1"/>
        </p:nvSpPr>
        <p:spPr bwMode="auto">
          <a:xfrm>
            <a:off x="8743693" y="4321307"/>
            <a:ext cx="82445"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6" name="Oval 101"/>
          <p:cNvSpPr>
            <a:spLocks noChangeArrowheads="1"/>
          </p:cNvSpPr>
          <p:nvPr userDrawn="1"/>
        </p:nvSpPr>
        <p:spPr bwMode="auto">
          <a:xfrm>
            <a:off x="8836892" y="4321307"/>
            <a:ext cx="80653"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7" name="Oval 102"/>
          <p:cNvSpPr>
            <a:spLocks noChangeArrowheads="1"/>
          </p:cNvSpPr>
          <p:nvPr userDrawn="1"/>
        </p:nvSpPr>
        <p:spPr bwMode="auto">
          <a:xfrm>
            <a:off x="8928299" y="4321307"/>
            <a:ext cx="77068" cy="75276"/>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8" name="Oval 103"/>
          <p:cNvSpPr>
            <a:spLocks noChangeArrowheads="1"/>
          </p:cNvSpPr>
          <p:nvPr userDrawn="1"/>
        </p:nvSpPr>
        <p:spPr bwMode="auto">
          <a:xfrm>
            <a:off x="6485408" y="4409129"/>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29" name="Oval 104"/>
          <p:cNvSpPr>
            <a:spLocks noChangeArrowheads="1"/>
          </p:cNvSpPr>
          <p:nvPr userDrawn="1"/>
        </p:nvSpPr>
        <p:spPr bwMode="auto">
          <a:xfrm>
            <a:off x="6576815"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0" name="Oval 105"/>
          <p:cNvSpPr>
            <a:spLocks noChangeArrowheads="1"/>
          </p:cNvSpPr>
          <p:nvPr userDrawn="1"/>
        </p:nvSpPr>
        <p:spPr bwMode="auto">
          <a:xfrm>
            <a:off x="6668222" y="4409129"/>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1" name="Oval 106"/>
          <p:cNvSpPr>
            <a:spLocks noChangeArrowheads="1"/>
          </p:cNvSpPr>
          <p:nvPr userDrawn="1"/>
        </p:nvSpPr>
        <p:spPr bwMode="auto">
          <a:xfrm>
            <a:off x="6754251" y="4409129"/>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2" name="Oval 107"/>
          <p:cNvSpPr>
            <a:spLocks noChangeArrowheads="1"/>
          </p:cNvSpPr>
          <p:nvPr userDrawn="1"/>
        </p:nvSpPr>
        <p:spPr bwMode="auto">
          <a:xfrm>
            <a:off x="6847450"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3" name="Oval 108"/>
          <p:cNvSpPr>
            <a:spLocks noChangeArrowheads="1"/>
          </p:cNvSpPr>
          <p:nvPr userDrawn="1"/>
        </p:nvSpPr>
        <p:spPr bwMode="auto">
          <a:xfrm>
            <a:off x="6940650" y="440912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4" name="Oval 109"/>
          <p:cNvSpPr>
            <a:spLocks noChangeArrowheads="1"/>
          </p:cNvSpPr>
          <p:nvPr userDrawn="1"/>
        </p:nvSpPr>
        <p:spPr bwMode="auto">
          <a:xfrm>
            <a:off x="7026679"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5" name="Oval 110"/>
          <p:cNvSpPr>
            <a:spLocks noChangeArrowheads="1"/>
          </p:cNvSpPr>
          <p:nvPr userDrawn="1"/>
        </p:nvSpPr>
        <p:spPr bwMode="auto">
          <a:xfrm>
            <a:off x="7118086"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6" name="Oval 111"/>
          <p:cNvSpPr>
            <a:spLocks noChangeArrowheads="1"/>
          </p:cNvSpPr>
          <p:nvPr userDrawn="1"/>
        </p:nvSpPr>
        <p:spPr bwMode="auto">
          <a:xfrm>
            <a:off x="7209493" y="4409129"/>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7" name="Oval 112"/>
          <p:cNvSpPr>
            <a:spLocks noChangeArrowheads="1"/>
          </p:cNvSpPr>
          <p:nvPr userDrawn="1"/>
        </p:nvSpPr>
        <p:spPr bwMode="auto">
          <a:xfrm>
            <a:off x="7299107" y="4409129"/>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8" name="Oval 113"/>
          <p:cNvSpPr>
            <a:spLocks noChangeArrowheads="1"/>
          </p:cNvSpPr>
          <p:nvPr userDrawn="1"/>
        </p:nvSpPr>
        <p:spPr bwMode="auto">
          <a:xfrm>
            <a:off x="7390514"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39" name="Oval 114"/>
          <p:cNvSpPr>
            <a:spLocks noChangeArrowheads="1"/>
          </p:cNvSpPr>
          <p:nvPr userDrawn="1"/>
        </p:nvSpPr>
        <p:spPr bwMode="auto">
          <a:xfrm>
            <a:off x="7481921"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0" name="Oval 115"/>
          <p:cNvSpPr>
            <a:spLocks noChangeArrowheads="1"/>
          </p:cNvSpPr>
          <p:nvPr userDrawn="1"/>
        </p:nvSpPr>
        <p:spPr bwMode="auto">
          <a:xfrm>
            <a:off x="7573328" y="440912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1" name="Oval 116"/>
          <p:cNvSpPr>
            <a:spLocks noChangeArrowheads="1"/>
          </p:cNvSpPr>
          <p:nvPr userDrawn="1"/>
        </p:nvSpPr>
        <p:spPr bwMode="auto">
          <a:xfrm>
            <a:off x="7659358"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2" name="Oval 117"/>
          <p:cNvSpPr>
            <a:spLocks noChangeArrowheads="1"/>
          </p:cNvSpPr>
          <p:nvPr userDrawn="1"/>
        </p:nvSpPr>
        <p:spPr bwMode="auto">
          <a:xfrm>
            <a:off x="7752557"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3" name="Oval 118"/>
          <p:cNvSpPr>
            <a:spLocks noChangeArrowheads="1"/>
          </p:cNvSpPr>
          <p:nvPr userDrawn="1"/>
        </p:nvSpPr>
        <p:spPr bwMode="auto">
          <a:xfrm>
            <a:off x="7845756" y="440912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4" name="Oval 119"/>
          <p:cNvSpPr>
            <a:spLocks noChangeArrowheads="1"/>
          </p:cNvSpPr>
          <p:nvPr userDrawn="1"/>
        </p:nvSpPr>
        <p:spPr bwMode="auto">
          <a:xfrm>
            <a:off x="7931786"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5" name="Oval 120"/>
          <p:cNvSpPr>
            <a:spLocks noChangeArrowheads="1"/>
          </p:cNvSpPr>
          <p:nvPr userDrawn="1"/>
        </p:nvSpPr>
        <p:spPr bwMode="auto">
          <a:xfrm>
            <a:off x="8023192"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6" name="Oval 121"/>
          <p:cNvSpPr>
            <a:spLocks noChangeArrowheads="1"/>
          </p:cNvSpPr>
          <p:nvPr userDrawn="1"/>
        </p:nvSpPr>
        <p:spPr bwMode="auto">
          <a:xfrm>
            <a:off x="8114599" y="440912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7" name="Oval 122"/>
          <p:cNvSpPr>
            <a:spLocks noChangeArrowheads="1"/>
          </p:cNvSpPr>
          <p:nvPr userDrawn="1"/>
        </p:nvSpPr>
        <p:spPr bwMode="auto">
          <a:xfrm>
            <a:off x="8202421"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8" name="Oval 123"/>
          <p:cNvSpPr>
            <a:spLocks noChangeArrowheads="1"/>
          </p:cNvSpPr>
          <p:nvPr userDrawn="1"/>
        </p:nvSpPr>
        <p:spPr bwMode="auto">
          <a:xfrm>
            <a:off x="8293828" y="4409129"/>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49" name="Oval 124"/>
          <p:cNvSpPr>
            <a:spLocks noChangeArrowheads="1"/>
          </p:cNvSpPr>
          <p:nvPr userDrawn="1"/>
        </p:nvSpPr>
        <p:spPr bwMode="auto">
          <a:xfrm>
            <a:off x="8387027" y="440912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0" name="Oval 125"/>
          <p:cNvSpPr>
            <a:spLocks noChangeArrowheads="1"/>
          </p:cNvSpPr>
          <p:nvPr userDrawn="1"/>
        </p:nvSpPr>
        <p:spPr bwMode="auto">
          <a:xfrm>
            <a:off x="8473057"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1" name="Oval 126"/>
          <p:cNvSpPr>
            <a:spLocks noChangeArrowheads="1"/>
          </p:cNvSpPr>
          <p:nvPr userDrawn="1"/>
        </p:nvSpPr>
        <p:spPr bwMode="auto">
          <a:xfrm>
            <a:off x="8566256" y="4409129"/>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2" name="Oval 127"/>
          <p:cNvSpPr>
            <a:spLocks noChangeArrowheads="1"/>
          </p:cNvSpPr>
          <p:nvPr userDrawn="1"/>
        </p:nvSpPr>
        <p:spPr bwMode="auto">
          <a:xfrm>
            <a:off x="8657663" y="4409129"/>
            <a:ext cx="75276"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3" name="Oval 128"/>
          <p:cNvSpPr>
            <a:spLocks noChangeArrowheads="1"/>
          </p:cNvSpPr>
          <p:nvPr userDrawn="1"/>
        </p:nvSpPr>
        <p:spPr bwMode="auto">
          <a:xfrm>
            <a:off x="8743693" y="440912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4" name="Oval 129"/>
          <p:cNvSpPr>
            <a:spLocks noChangeArrowheads="1"/>
          </p:cNvSpPr>
          <p:nvPr userDrawn="1"/>
        </p:nvSpPr>
        <p:spPr bwMode="auto">
          <a:xfrm>
            <a:off x="8836892" y="4409129"/>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5" name="Oval 130"/>
          <p:cNvSpPr>
            <a:spLocks noChangeArrowheads="1"/>
          </p:cNvSpPr>
          <p:nvPr userDrawn="1"/>
        </p:nvSpPr>
        <p:spPr bwMode="auto">
          <a:xfrm>
            <a:off x="8928299" y="440912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6" name="Oval 131"/>
          <p:cNvSpPr>
            <a:spLocks noChangeArrowheads="1"/>
          </p:cNvSpPr>
          <p:nvPr userDrawn="1"/>
        </p:nvSpPr>
        <p:spPr bwMode="auto">
          <a:xfrm>
            <a:off x="6485408" y="4500536"/>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7" name="Oval 132"/>
          <p:cNvSpPr>
            <a:spLocks noChangeArrowheads="1"/>
          </p:cNvSpPr>
          <p:nvPr userDrawn="1"/>
        </p:nvSpPr>
        <p:spPr bwMode="auto">
          <a:xfrm>
            <a:off x="6576815"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8" name="Oval 133"/>
          <p:cNvSpPr>
            <a:spLocks noChangeArrowheads="1"/>
          </p:cNvSpPr>
          <p:nvPr userDrawn="1"/>
        </p:nvSpPr>
        <p:spPr bwMode="auto">
          <a:xfrm>
            <a:off x="6668222" y="4500536"/>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59" name="Oval 134"/>
          <p:cNvSpPr>
            <a:spLocks noChangeArrowheads="1"/>
          </p:cNvSpPr>
          <p:nvPr userDrawn="1"/>
        </p:nvSpPr>
        <p:spPr bwMode="auto">
          <a:xfrm>
            <a:off x="6754251" y="4500536"/>
            <a:ext cx="8423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0" name="Oval 135"/>
          <p:cNvSpPr>
            <a:spLocks noChangeArrowheads="1"/>
          </p:cNvSpPr>
          <p:nvPr userDrawn="1"/>
        </p:nvSpPr>
        <p:spPr bwMode="auto">
          <a:xfrm>
            <a:off x="6847450"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1" name="Oval 136"/>
          <p:cNvSpPr>
            <a:spLocks noChangeArrowheads="1"/>
          </p:cNvSpPr>
          <p:nvPr userDrawn="1"/>
        </p:nvSpPr>
        <p:spPr bwMode="auto">
          <a:xfrm>
            <a:off x="6940650" y="450053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2" name="Oval 137"/>
          <p:cNvSpPr>
            <a:spLocks noChangeArrowheads="1"/>
          </p:cNvSpPr>
          <p:nvPr userDrawn="1"/>
        </p:nvSpPr>
        <p:spPr bwMode="auto">
          <a:xfrm>
            <a:off x="7026679"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3" name="Oval 138"/>
          <p:cNvSpPr>
            <a:spLocks noChangeArrowheads="1"/>
          </p:cNvSpPr>
          <p:nvPr userDrawn="1"/>
        </p:nvSpPr>
        <p:spPr bwMode="auto">
          <a:xfrm>
            <a:off x="7118086"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4" name="Oval 139"/>
          <p:cNvSpPr>
            <a:spLocks noChangeArrowheads="1"/>
          </p:cNvSpPr>
          <p:nvPr userDrawn="1"/>
        </p:nvSpPr>
        <p:spPr bwMode="auto">
          <a:xfrm>
            <a:off x="7209493" y="4500536"/>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5" name="Oval 140"/>
          <p:cNvSpPr>
            <a:spLocks noChangeArrowheads="1"/>
          </p:cNvSpPr>
          <p:nvPr userDrawn="1"/>
        </p:nvSpPr>
        <p:spPr bwMode="auto">
          <a:xfrm>
            <a:off x="7299107" y="4500536"/>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6" name="Oval 141"/>
          <p:cNvSpPr>
            <a:spLocks noChangeArrowheads="1"/>
          </p:cNvSpPr>
          <p:nvPr userDrawn="1"/>
        </p:nvSpPr>
        <p:spPr bwMode="auto">
          <a:xfrm>
            <a:off x="7390514"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7" name="Oval 142"/>
          <p:cNvSpPr>
            <a:spLocks noChangeArrowheads="1"/>
          </p:cNvSpPr>
          <p:nvPr userDrawn="1"/>
        </p:nvSpPr>
        <p:spPr bwMode="auto">
          <a:xfrm>
            <a:off x="7481921"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8" name="Oval 143"/>
          <p:cNvSpPr>
            <a:spLocks noChangeArrowheads="1"/>
          </p:cNvSpPr>
          <p:nvPr userDrawn="1"/>
        </p:nvSpPr>
        <p:spPr bwMode="auto">
          <a:xfrm>
            <a:off x="7573328" y="450053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69" name="Oval 144"/>
          <p:cNvSpPr>
            <a:spLocks noChangeArrowheads="1"/>
          </p:cNvSpPr>
          <p:nvPr userDrawn="1"/>
        </p:nvSpPr>
        <p:spPr bwMode="auto">
          <a:xfrm>
            <a:off x="7659358"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0" name="Oval 145"/>
          <p:cNvSpPr>
            <a:spLocks noChangeArrowheads="1"/>
          </p:cNvSpPr>
          <p:nvPr userDrawn="1"/>
        </p:nvSpPr>
        <p:spPr bwMode="auto">
          <a:xfrm>
            <a:off x="7752557"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1" name="Oval 146"/>
          <p:cNvSpPr>
            <a:spLocks noChangeArrowheads="1"/>
          </p:cNvSpPr>
          <p:nvPr userDrawn="1"/>
        </p:nvSpPr>
        <p:spPr bwMode="auto">
          <a:xfrm>
            <a:off x="7845756" y="450053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2" name="Oval 147"/>
          <p:cNvSpPr>
            <a:spLocks noChangeArrowheads="1"/>
          </p:cNvSpPr>
          <p:nvPr userDrawn="1"/>
        </p:nvSpPr>
        <p:spPr bwMode="auto">
          <a:xfrm>
            <a:off x="7931786"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3" name="Oval 148"/>
          <p:cNvSpPr>
            <a:spLocks noChangeArrowheads="1"/>
          </p:cNvSpPr>
          <p:nvPr userDrawn="1"/>
        </p:nvSpPr>
        <p:spPr bwMode="auto">
          <a:xfrm>
            <a:off x="8023192"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4" name="Oval 149"/>
          <p:cNvSpPr>
            <a:spLocks noChangeArrowheads="1"/>
          </p:cNvSpPr>
          <p:nvPr userDrawn="1"/>
        </p:nvSpPr>
        <p:spPr bwMode="auto">
          <a:xfrm>
            <a:off x="8114599" y="450053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5" name="Oval 150"/>
          <p:cNvSpPr>
            <a:spLocks noChangeArrowheads="1"/>
          </p:cNvSpPr>
          <p:nvPr userDrawn="1"/>
        </p:nvSpPr>
        <p:spPr bwMode="auto">
          <a:xfrm>
            <a:off x="8202421"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6" name="Oval 151"/>
          <p:cNvSpPr>
            <a:spLocks noChangeArrowheads="1"/>
          </p:cNvSpPr>
          <p:nvPr userDrawn="1"/>
        </p:nvSpPr>
        <p:spPr bwMode="auto">
          <a:xfrm>
            <a:off x="8293828" y="4500536"/>
            <a:ext cx="8423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7" name="Oval 152"/>
          <p:cNvSpPr>
            <a:spLocks noChangeArrowheads="1"/>
          </p:cNvSpPr>
          <p:nvPr userDrawn="1"/>
        </p:nvSpPr>
        <p:spPr bwMode="auto">
          <a:xfrm>
            <a:off x="8387027" y="450053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8" name="Oval 153"/>
          <p:cNvSpPr>
            <a:spLocks noChangeArrowheads="1"/>
          </p:cNvSpPr>
          <p:nvPr userDrawn="1"/>
        </p:nvSpPr>
        <p:spPr bwMode="auto">
          <a:xfrm>
            <a:off x="8473057"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79" name="Oval 154"/>
          <p:cNvSpPr>
            <a:spLocks noChangeArrowheads="1"/>
          </p:cNvSpPr>
          <p:nvPr userDrawn="1"/>
        </p:nvSpPr>
        <p:spPr bwMode="auto">
          <a:xfrm>
            <a:off x="8566256" y="4500536"/>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0" name="Oval 155"/>
          <p:cNvSpPr>
            <a:spLocks noChangeArrowheads="1"/>
          </p:cNvSpPr>
          <p:nvPr userDrawn="1"/>
        </p:nvSpPr>
        <p:spPr bwMode="auto">
          <a:xfrm>
            <a:off x="8657663" y="4500536"/>
            <a:ext cx="75276"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1" name="Oval 156"/>
          <p:cNvSpPr>
            <a:spLocks noChangeArrowheads="1"/>
          </p:cNvSpPr>
          <p:nvPr userDrawn="1"/>
        </p:nvSpPr>
        <p:spPr bwMode="auto">
          <a:xfrm>
            <a:off x="8743693" y="450053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2" name="Oval 157"/>
          <p:cNvSpPr>
            <a:spLocks noChangeArrowheads="1"/>
          </p:cNvSpPr>
          <p:nvPr userDrawn="1"/>
        </p:nvSpPr>
        <p:spPr bwMode="auto">
          <a:xfrm>
            <a:off x="8836892" y="4500536"/>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3" name="Oval 158"/>
          <p:cNvSpPr>
            <a:spLocks noChangeArrowheads="1"/>
          </p:cNvSpPr>
          <p:nvPr userDrawn="1"/>
        </p:nvSpPr>
        <p:spPr bwMode="auto">
          <a:xfrm>
            <a:off x="8928299" y="450053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4" name="Oval 159"/>
          <p:cNvSpPr>
            <a:spLocks noChangeArrowheads="1"/>
          </p:cNvSpPr>
          <p:nvPr userDrawn="1"/>
        </p:nvSpPr>
        <p:spPr bwMode="auto">
          <a:xfrm>
            <a:off x="6668222" y="4591942"/>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5" name="Oval 160"/>
          <p:cNvSpPr>
            <a:spLocks noChangeArrowheads="1"/>
          </p:cNvSpPr>
          <p:nvPr userDrawn="1"/>
        </p:nvSpPr>
        <p:spPr bwMode="auto">
          <a:xfrm>
            <a:off x="6754251" y="4591942"/>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6" name="Oval 161"/>
          <p:cNvSpPr>
            <a:spLocks noChangeArrowheads="1"/>
          </p:cNvSpPr>
          <p:nvPr userDrawn="1"/>
        </p:nvSpPr>
        <p:spPr bwMode="auto">
          <a:xfrm>
            <a:off x="6847450"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7" name="Oval 162"/>
          <p:cNvSpPr>
            <a:spLocks noChangeArrowheads="1"/>
          </p:cNvSpPr>
          <p:nvPr userDrawn="1"/>
        </p:nvSpPr>
        <p:spPr bwMode="auto">
          <a:xfrm>
            <a:off x="6940650" y="4591942"/>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8" name="Oval 163"/>
          <p:cNvSpPr>
            <a:spLocks noChangeArrowheads="1"/>
          </p:cNvSpPr>
          <p:nvPr userDrawn="1"/>
        </p:nvSpPr>
        <p:spPr bwMode="auto">
          <a:xfrm>
            <a:off x="7026679"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89" name="Oval 164"/>
          <p:cNvSpPr>
            <a:spLocks noChangeArrowheads="1"/>
          </p:cNvSpPr>
          <p:nvPr userDrawn="1"/>
        </p:nvSpPr>
        <p:spPr bwMode="auto">
          <a:xfrm>
            <a:off x="7118086"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0" name="Oval 165"/>
          <p:cNvSpPr>
            <a:spLocks noChangeArrowheads="1"/>
          </p:cNvSpPr>
          <p:nvPr userDrawn="1"/>
        </p:nvSpPr>
        <p:spPr bwMode="auto">
          <a:xfrm>
            <a:off x="7209493" y="4591942"/>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1" name="Oval 166"/>
          <p:cNvSpPr>
            <a:spLocks noChangeArrowheads="1"/>
          </p:cNvSpPr>
          <p:nvPr userDrawn="1"/>
        </p:nvSpPr>
        <p:spPr bwMode="auto">
          <a:xfrm>
            <a:off x="7299107" y="4591942"/>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2" name="Oval 167"/>
          <p:cNvSpPr>
            <a:spLocks noChangeArrowheads="1"/>
          </p:cNvSpPr>
          <p:nvPr userDrawn="1"/>
        </p:nvSpPr>
        <p:spPr bwMode="auto">
          <a:xfrm>
            <a:off x="7390514"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3" name="Oval 168"/>
          <p:cNvSpPr>
            <a:spLocks noChangeArrowheads="1"/>
          </p:cNvSpPr>
          <p:nvPr userDrawn="1"/>
        </p:nvSpPr>
        <p:spPr bwMode="auto">
          <a:xfrm>
            <a:off x="7481921"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4" name="Oval 169"/>
          <p:cNvSpPr>
            <a:spLocks noChangeArrowheads="1"/>
          </p:cNvSpPr>
          <p:nvPr userDrawn="1"/>
        </p:nvSpPr>
        <p:spPr bwMode="auto">
          <a:xfrm>
            <a:off x="7573328" y="4591942"/>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5" name="Oval 170"/>
          <p:cNvSpPr>
            <a:spLocks noChangeArrowheads="1"/>
          </p:cNvSpPr>
          <p:nvPr userDrawn="1"/>
        </p:nvSpPr>
        <p:spPr bwMode="auto">
          <a:xfrm>
            <a:off x="7659358"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6" name="Oval 171"/>
          <p:cNvSpPr>
            <a:spLocks noChangeArrowheads="1"/>
          </p:cNvSpPr>
          <p:nvPr userDrawn="1"/>
        </p:nvSpPr>
        <p:spPr bwMode="auto">
          <a:xfrm>
            <a:off x="7752557"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7" name="Oval 172"/>
          <p:cNvSpPr>
            <a:spLocks noChangeArrowheads="1"/>
          </p:cNvSpPr>
          <p:nvPr userDrawn="1"/>
        </p:nvSpPr>
        <p:spPr bwMode="auto">
          <a:xfrm>
            <a:off x="7845756" y="4591942"/>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8" name="Oval 173"/>
          <p:cNvSpPr>
            <a:spLocks noChangeArrowheads="1"/>
          </p:cNvSpPr>
          <p:nvPr userDrawn="1"/>
        </p:nvSpPr>
        <p:spPr bwMode="auto">
          <a:xfrm>
            <a:off x="7931786"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599" name="Oval 174"/>
          <p:cNvSpPr>
            <a:spLocks noChangeArrowheads="1"/>
          </p:cNvSpPr>
          <p:nvPr userDrawn="1"/>
        </p:nvSpPr>
        <p:spPr bwMode="auto">
          <a:xfrm>
            <a:off x="8023192"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0" name="Oval 175"/>
          <p:cNvSpPr>
            <a:spLocks noChangeArrowheads="1"/>
          </p:cNvSpPr>
          <p:nvPr userDrawn="1"/>
        </p:nvSpPr>
        <p:spPr bwMode="auto">
          <a:xfrm>
            <a:off x="8114599" y="4591942"/>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1" name="Oval 176"/>
          <p:cNvSpPr>
            <a:spLocks noChangeArrowheads="1"/>
          </p:cNvSpPr>
          <p:nvPr userDrawn="1"/>
        </p:nvSpPr>
        <p:spPr bwMode="auto">
          <a:xfrm>
            <a:off x="8202421"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2" name="Oval 177"/>
          <p:cNvSpPr>
            <a:spLocks noChangeArrowheads="1"/>
          </p:cNvSpPr>
          <p:nvPr userDrawn="1"/>
        </p:nvSpPr>
        <p:spPr bwMode="auto">
          <a:xfrm>
            <a:off x="8293828" y="4591942"/>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3" name="Oval 178"/>
          <p:cNvSpPr>
            <a:spLocks noChangeArrowheads="1"/>
          </p:cNvSpPr>
          <p:nvPr userDrawn="1"/>
        </p:nvSpPr>
        <p:spPr bwMode="auto">
          <a:xfrm>
            <a:off x="8387027" y="4591942"/>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4" name="Oval 179"/>
          <p:cNvSpPr>
            <a:spLocks noChangeArrowheads="1"/>
          </p:cNvSpPr>
          <p:nvPr userDrawn="1"/>
        </p:nvSpPr>
        <p:spPr bwMode="auto">
          <a:xfrm>
            <a:off x="8473057"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5" name="Oval 180"/>
          <p:cNvSpPr>
            <a:spLocks noChangeArrowheads="1"/>
          </p:cNvSpPr>
          <p:nvPr userDrawn="1"/>
        </p:nvSpPr>
        <p:spPr bwMode="auto">
          <a:xfrm>
            <a:off x="8566256" y="4591942"/>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6" name="Oval 181"/>
          <p:cNvSpPr>
            <a:spLocks noChangeArrowheads="1"/>
          </p:cNvSpPr>
          <p:nvPr userDrawn="1"/>
        </p:nvSpPr>
        <p:spPr bwMode="auto">
          <a:xfrm>
            <a:off x="8657663" y="4591942"/>
            <a:ext cx="75276"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7" name="Oval 182"/>
          <p:cNvSpPr>
            <a:spLocks noChangeArrowheads="1"/>
          </p:cNvSpPr>
          <p:nvPr userDrawn="1"/>
        </p:nvSpPr>
        <p:spPr bwMode="auto">
          <a:xfrm>
            <a:off x="8743693" y="4591942"/>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8" name="Oval 183"/>
          <p:cNvSpPr>
            <a:spLocks noChangeArrowheads="1"/>
          </p:cNvSpPr>
          <p:nvPr userDrawn="1"/>
        </p:nvSpPr>
        <p:spPr bwMode="auto">
          <a:xfrm>
            <a:off x="8836892" y="4591942"/>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09" name="Oval 184"/>
          <p:cNvSpPr>
            <a:spLocks noChangeArrowheads="1"/>
          </p:cNvSpPr>
          <p:nvPr userDrawn="1"/>
        </p:nvSpPr>
        <p:spPr bwMode="auto">
          <a:xfrm>
            <a:off x="6754251" y="4677972"/>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0" name="Oval 185"/>
          <p:cNvSpPr>
            <a:spLocks noChangeArrowheads="1"/>
          </p:cNvSpPr>
          <p:nvPr userDrawn="1"/>
        </p:nvSpPr>
        <p:spPr bwMode="auto">
          <a:xfrm>
            <a:off x="6847450"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1" name="Oval 186"/>
          <p:cNvSpPr>
            <a:spLocks noChangeArrowheads="1"/>
          </p:cNvSpPr>
          <p:nvPr userDrawn="1"/>
        </p:nvSpPr>
        <p:spPr bwMode="auto">
          <a:xfrm>
            <a:off x="6940650" y="467797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2" name="Oval 187"/>
          <p:cNvSpPr>
            <a:spLocks noChangeArrowheads="1"/>
          </p:cNvSpPr>
          <p:nvPr userDrawn="1"/>
        </p:nvSpPr>
        <p:spPr bwMode="auto">
          <a:xfrm>
            <a:off x="7026679"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3" name="Oval 188"/>
          <p:cNvSpPr>
            <a:spLocks noChangeArrowheads="1"/>
          </p:cNvSpPr>
          <p:nvPr userDrawn="1"/>
        </p:nvSpPr>
        <p:spPr bwMode="auto">
          <a:xfrm>
            <a:off x="7118086"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4" name="Oval 189"/>
          <p:cNvSpPr>
            <a:spLocks noChangeArrowheads="1"/>
          </p:cNvSpPr>
          <p:nvPr userDrawn="1"/>
        </p:nvSpPr>
        <p:spPr bwMode="auto">
          <a:xfrm>
            <a:off x="7209493" y="4677972"/>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5" name="Oval 190"/>
          <p:cNvSpPr>
            <a:spLocks noChangeArrowheads="1"/>
          </p:cNvSpPr>
          <p:nvPr userDrawn="1"/>
        </p:nvSpPr>
        <p:spPr bwMode="auto">
          <a:xfrm>
            <a:off x="7299107" y="4677972"/>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6" name="Oval 191"/>
          <p:cNvSpPr>
            <a:spLocks noChangeArrowheads="1"/>
          </p:cNvSpPr>
          <p:nvPr userDrawn="1"/>
        </p:nvSpPr>
        <p:spPr bwMode="auto">
          <a:xfrm>
            <a:off x="7390514"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7" name="Oval 192"/>
          <p:cNvSpPr>
            <a:spLocks noChangeArrowheads="1"/>
          </p:cNvSpPr>
          <p:nvPr userDrawn="1"/>
        </p:nvSpPr>
        <p:spPr bwMode="auto">
          <a:xfrm>
            <a:off x="7481921"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8" name="Oval 193"/>
          <p:cNvSpPr>
            <a:spLocks noChangeArrowheads="1"/>
          </p:cNvSpPr>
          <p:nvPr userDrawn="1"/>
        </p:nvSpPr>
        <p:spPr bwMode="auto">
          <a:xfrm>
            <a:off x="7573328" y="467797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19" name="Oval 194"/>
          <p:cNvSpPr>
            <a:spLocks noChangeArrowheads="1"/>
          </p:cNvSpPr>
          <p:nvPr userDrawn="1"/>
        </p:nvSpPr>
        <p:spPr bwMode="auto">
          <a:xfrm>
            <a:off x="7659358"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0" name="Oval 195"/>
          <p:cNvSpPr>
            <a:spLocks noChangeArrowheads="1"/>
          </p:cNvSpPr>
          <p:nvPr userDrawn="1"/>
        </p:nvSpPr>
        <p:spPr bwMode="auto">
          <a:xfrm>
            <a:off x="7752557"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1" name="Oval 196"/>
          <p:cNvSpPr>
            <a:spLocks noChangeArrowheads="1"/>
          </p:cNvSpPr>
          <p:nvPr userDrawn="1"/>
        </p:nvSpPr>
        <p:spPr bwMode="auto">
          <a:xfrm>
            <a:off x="7845756" y="467797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2" name="Oval 197"/>
          <p:cNvSpPr>
            <a:spLocks noChangeArrowheads="1"/>
          </p:cNvSpPr>
          <p:nvPr userDrawn="1"/>
        </p:nvSpPr>
        <p:spPr bwMode="auto">
          <a:xfrm>
            <a:off x="7931786"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3" name="Oval 198"/>
          <p:cNvSpPr>
            <a:spLocks noChangeArrowheads="1"/>
          </p:cNvSpPr>
          <p:nvPr userDrawn="1"/>
        </p:nvSpPr>
        <p:spPr bwMode="auto">
          <a:xfrm>
            <a:off x="8023192"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4" name="Oval 199"/>
          <p:cNvSpPr>
            <a:spLocks noChangeArrowheads="1"/>
          </p:cNvSpPr>
          <p:nvPr userDrawn="1"/>
        </p:nvSpPr>
        <p:spPr bwMode="auto">
          <a:xfrm>
            <a:off x="8114599" y="467797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5" name="Oval 200"/>
          <p:cNvSpPr>
            <a:spLocks noChangeArrowheads="1"/>
          </p:cNvSpPr>
          <p:nvPr userDrawn="1"/>
        </p:nvSpPr>
        <p:spPr bwMode="auto">
          <a:xfrm>
            <a:off x="8202421"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6" name="Oval 201"/>
          <p:cNvSpPr>
            <a:spLocks noChangeArrowheads="1"/>
          </p:cNvSpPr>
          <p:nvPr userDrawn="1"/>
        </p:nvSpPr>
        <p:spPr bwMode="auto">
          <a:xfrm>
            <a:off x="8293828" y="4677972"/>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7" name="Oval 202"/>
          <p:cNvSpPr>
            <a:spLocks noChangeArrowheads="1"/>
          </p:cNvSpPr>
          <p:nvPr userDrawn="1"/>
        </p:nvSpPr>
        <p:spPr bwMode="auto">
          <a:xfrm>
            <a:off x="8387027" y="467797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8" name="Oval 203"/>
          <p:cNvSpPr>
            <a:spLocks noChangeArrowheads="1"/>
          </p:cNvSpPr>
          <p:nvPr userDrawn="1"/>
        </p:nvSpPr>
        <p:spPr bwMode="auto">
          <a:xfrm>
            <a:off x="8473057"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29" name="Oval 204"/>
          <p:cNvSpPr>
            <a:spLocks noChangeArrowheads="1"/>
          </p:cNvSpPr>
          <p:nvPr userDrawn="1"/>
        </p:nvSpPr>
        <p:spPr bwMode="auto">
          <a:xfrm>
            <a:off x="8566256" y="4677972"/>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0" name="Oval 205"/>
          <p:cNvSpPr>
            <a:spLocks noChangeArrowheads="1"/>
          </p:cNvSpPr>
          <p:nvPr userDrawn="1"/>
        </p:nvSpPr>
        <p:spPr bwMode="auto">
          <a:xfrm>
            <a:off x="8657663" y="4677972"/>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1" name="Oval 207"/>
          <p:cNvSpPr>
            <a:spLocks noChangeArrowheads="1"/>
          </p:cNvSpPr>
          <p:nvPr userDrawn="1"/>
        </p:nvSpPr>
        <p:spPr bwMode="auto">
          <a:xfrm>
            <a:off x="8743692" y="467797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2" name="Oval 208"/>
          <p:cNvSpPr>
            <a:spLocks noChangeArrowheads="1"/>
          </p:cNvSpPr>
          <p:nvPr userDrawn="1"/>
        </p:nvSpPr>
        <p:spPr bwMode="auto">
          <a:xfrm>
            <a:off x="8836891" y="4677972"/>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3" name="Oval 209"/>
          <p:cNvSpPr>
            <a:spLocks noChangeArrowheads="1"/>
          </p:cNvSpPr>
          <p:nvPr userDrawn="1"/>
        </p:nvSpPr>
        <p:spPr bwMode="auto">
          <a:xfrm>
            <a:off x="6847450"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4" name="Oval 210"/>
          <p:cNvSpPr>
            <a:spLocks noChangeArrowheads="1"/>
          </p:cNvSpPr>
          <p:nvPr userDrawn="1"/>
        </p:nvSpPr>
        <p:spPr bwMode="auto">
          <a:xfrm>
            <a:off x="6940649" y="47711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5" name="Oval 211"/>
          <p:cNvSpPr>
            <a:spLocks noChangeArrowheads="1"/>
          </p:cNvSpPr>
          <p:nvPr userDrawn="1"/>
        </p:nvSpPr>
        <p:spPr bwMode="auto">
          <a:xfrm>
            <a:off x="7026679"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6" name="Oval 212"/>
          <p:cNvSpPr>
            <a:spLocks noChangeArrowheads="1"/>
          </p:cNvSpPr>
          <p:nvPr userDrawn="1"/>
        </p:nvSpPr>
        <p:spPr bwMode="auto">
          <a:xfrm>
            <a:off x="7118086"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7" name="Oval 213"/>
          <p:cNvSpPr>
            <a:spLocks noChangeArrowheads="1"/>
          </p:cNvSpPr>
          <p:nvPr userDrawn="1"/>
        </p:nvSpPr>
        <p:spPr bwMode="auto">
          <a:xfrm>
            <a:off x="7209492" y="4771171"/>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8" name="Oval 214"/>
          <p:cNvSpPr>
            <a:spLocks noChangeArrowheads="1"/>
          </p:cNvSpPr>
          <p:nvPr userDrawn="1"/>
        </p:nvSpPr>
        <p:spPr bwMode="auto">
          <a:xfrm>
            <a:off x="7299107" y="4771171"/>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39" name="Oval 215"/>
          <p:cNvSpPr>
            <a:spLocks noChangeArrowheads="1"/>
          </p:cNvSpPr>
          <p:nvPr userDrawn="1"/>
        </p:nvSpPr>
        <p:spPr bwMode="auto">
          <a:xfrm>
            <a:off x="7390514"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0" name="Oval 216"/>
          <p:cNvSpPr>
            <a:spLocks noChangeArrowheads="1"/>
          </p:cNvSpPr>
          <p:nvPr userDrawn="1"/>
        </p:nvSpPr>
        <p:spPr bwMode="auto">
          <a:xfrm>
            <a:off x="7481920"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1" name="Oval 217"/>
          <p:cNvSpPr>
            <a:spLocks noChangeArrowheads="1"/>
          </p:cNvSpPr>
          <p:nvPr userDrawn="1"/>
        </p:nvSpPr>
        <p:spPr bwMode="auto">
          <a:xfrm>
            <a:off x="7573327" y="47711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2" name="Oval 218"/>
          <p:cNvSpPr>
            <a:spLocks noChangeArrowheads="1"/>
          </p:cNvSpPr>
          <p:nvPr userDrawn="1"/>
        </p:nvSpPr>
        <p:spPr bwMode="auto">
          <a:xfrm>
            <a:off x="7659357"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3" name="Oval 219"/>
          <p:cNvSpPr>
            <a:spLocks noChangeArrowheads="1"/>
          </p:cNvSpPr>
          <p:nvPr userDrawn="1"/>
        </p:nvSpPr>
        <p:spPr bwMode="auto">
          <a:xfrm>
            <a:off x="7752556"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4" name="Oval 220"/>
          <p:cNvSpPr>
            <a:spLocks noChangeArrowheads="1"/>
          </p:cNvSpPr>
          <p:nvPr userDrawn="1"/>
        </p:nvSpPr>
        <p:spPr bwMode="auto">
          <a:xfrm>
            <a:off x="7845755" y="47711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5" name="Oval 221"/>
          <p:cNvSpPr>
            <a:spLocks noChangeArrowheads="1"/>
          </p:cNvSpPr>
          <p:nvPr userDrawn="1"/>
        </p:nvSpPr>
        <p:spPr bwMode="auto">
          <a:xfrm>
            <a:off x="7931785"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6" name="Oval 222"/>
          <p:cNvSpPr>
            <a:spLocks noChangeArrowheads="1"/>
          </p:cNvSpPr>
          <p:nvPr userDrawn="1"/>
        </p:nvSpPr>
        <p:spPr bwMode="auto">
          <a:xfrm>
            <a:off x="8023192"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7" name="Oval 223"/>
          <p:cNvSpPr>
            <a:spLocks noChangeArrowheads="1"/>
          </p:cNvSpPr>
          <p:nvPr userDrawn="1"/>
        </p:nvSpPr>
        <p:spPr bwMode="auto">
          <a:xfrm>
            <a:off x="8114598" y="47711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8" name="Oval 224"/>
          <p:cNvSpPr>
            <a:spLocks noChangeArrowheads="1"/>
          </p:cNvSpPr>
          <p:nvPr userDrawn="1"/>
        </p:nvSpPr>
        <p:spPr bwMode="auto">
          <a:xfrm>
            <a:off x="8202421"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49" name="Oval 225"/>
          <p:cNvSpPr>
            <a:spLocks noChangeArrowheads="1"/>
          </p:cNvSpPr>
          <p:nvPr userDrawn="1"/>
        </p:nvSpPr>
        <p:spPr bwMode="auto">
          <a:xfrm>
            <a:off x="8293827" y="4771171"/>
            <a:ext cx="8423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0" name="Oval 226"/>
          <p:cNvSpPr>
            <a:spLocks noChangeArrowheads="1"/>
          </p:cNvSpPr>
          <p:nvPr userDrawn="1"/>
        </p:nvSpPr>
        <p:spPr bwMode="auto">
          <a:xfrm>
            <a:off x="8387026" y="47711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1" name="Oval 227"/>
          <p:cNvSpPr>
            <a:spLocks noChangeArrowheads="1"/>
          </p:cNvSpPr>
          <p:nvPr userDrawn="1"/>
        </p:nvSpPr>
        <p:spPr bwMode="auto">
          <a:xfrm>
            <a:off x="8473056"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2" name="Oval 228"/>
          <p:cNvSpPr>
            <a:spLocks noChangeArrowheads="1"/>
          </p:cNvSpPr>
          <p:nvPr userDrawn="1"/>
        </p:nvSpPr>
        <p:spPr bwMode="auto">
          <a:xfrm>
            <a:off x="8566255" y="4771171"/>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3" name="Oval 229"/>
          <p:cNvSpPr>
            <a:spLocks noChangeArrowheads="1"/>
          </p:cNvSpPr>
          <p:nvPr userDrawn="1"/>
        </p:nvSpPr>
        <p:spPr bwMode="auto">
          <a:xfrm>
            <a:off x="8657662" y="4771171"/>
            <a:ext cx="75276"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4" name="Oval 230"/>
          <p:cNvSpPr>
            <a:spLocks noChangeArrowheads="1"/>
          </p:cNvSpPr>
          <p:nvPr userDrawn="1"/>
        </p:nvSpPr>
        <p:spPr bwMode="auto">
          <a:xfrm>
            <a:off x="8743692" y="47711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5" name="Oval 231"/>
          <p:cNvSpPr>
            <a:spLocks noChangeArrowheads="1"/>
          </p:cNvSpPr>
          <p:nvPr userDrawn="1"/>
        </p:nvSpPr>
        <p:spPr bwMode="auto">
          <a:xfrm>
            <a:off x="8836891" y="4771171"/>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6" name="Oval 232"/>
          <p:cNvSpPr>
            <a:spLocks noChangeArrowheads="1"/>
          </p:cNvSpPr>
          <p:nvPr userDrawn="1"/>
        </p:nvSpPr>
        <p:spPr bwMode="auto">
          <a:xfrm>
            <a:off x="6847450"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7" name="Oval 233"/>
          <p:cNvSpPr>
            <a:spLocks noChangeArrowheads="1"/>
          </p:cNvSpPr>
          <p:nvPr userDrawn="1"/>
        </p:nvSpPr>
        <p:spPr bwMode="auto">
          <a:xfrm>
            <a:off x="6940649" y="4862578"/>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8" name="Oval 234"/>
          <p:cNvSpPr>
            <a:spLocks noChangeArrowheads="1"/>
          </p:cNvSpPr>
          <p:nvPr userDrawn="1"/>
        </p:nvSpPr>
        <p:spPr bwMode="auto">
          <a:xfrm>
            <a:off x="7026679"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59" name="Oval 235"/>
          <p:cNvSpPr>
            <a:spLocks noChangeArrowheads="1"/>
          </p:cNvSpPr>
          <p:nvPr userDrawn="1"/>
        </p:nvSpPr>
        <p:spPr bwMode="auto">
          <a:xfrm>
            <a:off x="7118086"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0" name="Oval 236"/>
          <p:cNvSpPr>
            <a:spLocks noChangeArrowheads="1"/>
          </p:cNvSpPr>
          <p:nvPr userDrawn="1"/>
        </p:nvSpPr>
        <p:spPr bwMode="auto">
          <a:xfrm>
            <a:off x="7209492" y="4862578"/>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1" name="Oval 237"/>
          <p:cNvSpPr>
            <a:spLocks noChangeArrowheads="1"/>
          </p:cNvSpPr>
          <p:nvPr userDrawn="1"/>
        </p:nvSpPr>
        <p:spPr bwMode="auto">
          <a:xfrm>
            <a:off x="7299107" y="4862578"/>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2" name="Oval 238"/>
          <p:cNvSpPr>
            <a:spLocks noChangeArrowheads="1"/>
          </p:cNvSpPr>
          <p:nvPr userDrawn="1"/>
        </p:nvSpPr>
        <p:spPr bwMode="auto">
          <a:xfrm>
            <a:off x="7390514"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3" name="Oval 239"/>
          <p:cNvSpPr>
            <a:spLocks noChangeArrowheads="1"/>
          </p:cNvSpPr>
          <p:nvPr userDrawn="1"/>
        </p:nvSpPr>
        <p:spPr bwMode="auto">
          <a:xfrm>
            <a:off x="7481920"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4" name="Oval 240"/>
          <p:cNvSpPr>
            <a:spLocks noChangeArrowheads="1"/>
          </p:cNvSpPr>
          <p:nvPr userDrawn="1"/>
        </p:nvSpPr>
        <p:spPr bwMode="auto">
          <a:xfrm>
            <a:off x="7573327" y="4862578"/>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5" name="Oval 241"/>
          <p:cNvSpPr>
            <a:spLocks noChangeArrowheads="1"/>
          </p:cNvSpPr>
          <p:nvPr userDrawn="1"/>
        </p:nvSpPr>
        <p:spPr bwMode="auto">
          <a:xfrm>
            <a:off x="7659357"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6" name="Oval 242"/>
          <p:cNvSpPr>
            <a:spLocks noChangeArrowheads="1"/>
          </p:cNvSpPr>
          <p:nvPr userDrawn="1"/>
        </p:nvSpPr>
        <p:spPr bwMode="auto">
          <a:xfrm>
            <a:off x="7752556"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7" name="Oval 243"/>
          <p:cNvSpPr>
            <a:spLocks noChangeArrowheads="1"/>
          </p:cNvSpPr>
          <p:nvPr userDrawn="1"/>
        </p:nvSpPr>
        <p:spPr bwMode="auto">
          <a:xfrm>
            <a:off x="7845755" y="4862578"/>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8" name="Oval 244"/>
          <p:cNvSpPr>
            <a:spLocks noChangeArrowheads="1"/>
          </p:cNvSpPr>
          <p:nvPr userDrawn="1"/>
        </p:nvSpPr>
        <p:spPr bwMode="auto">
          <a:xfrm>
            <a:off x="7931785"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69" name="Oval 245"/>
          <p:cNvSpPr>
            <a:spLocks noChangeArrowheads="1"/>
          </p:cNvSpPr>
          <p:nvPr userDrawn="1"/>
        </p:nvSpPr>
        <p:spPr bwMode="auto">
          <a:xfrm>
            <a:off x="8023192"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0" name="Oval 246"/>
          <p:cNvSpPr>
            <a:spLocks noChangeArrowheads="1"/>
          </p:cNvSpPr>
          <p:nvPr userDrawn="1"/>
        </p:nvSpPr>
        <p:spPr bwMode="auto">
          <a:xfrm>
            <a:off x="8114598" y="4862578"/>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1" name="Oval 247"/>
          <p:cNvSpPr>
            <a:spLocks noChangeArrowheads="1"/>
          </p:cNvSpPr>
          <p:nvPr userDrawn="1"/>
        </p:nvSpPr>
        <p:spPr bwMode="auto">
          <a:xfrm>
            <a:off x="8202421"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2" name="Oval 248"/>
          <p:cNvSpPr>
            <a:spLocks noChangeArrowheads="1"/>
          </p:cNvSpPr>
          <p:nvPr userDrawn="1"/>
        </p:nvSpPr>
        <p:spPr bwMode="auto">
          <a:xfrm>
            <a:off x="8293827" y="4862578"/>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3" name="Oval 249"/>
          <p:cNvSpPr>
            <a:spLocks noChangeArrowheads="1"/>
          </p:cNvSpPr>
          <p:nvPr userDrawn="1"/>
        </p:nvSpPr>
        <p:spPr bwMode="auto">
          <a:xfrm>
            <a:off x="8387026" y="4862578"/>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4" name="Oval 250"/>
          <p:cNvSpPr>
            <a:spLocks noChangeArrowheads="1"/>
          </p:cNvSpPr>
          <p:nvPr userDrawn="1"/>
        </p:nvSpPr>
        <p:spPr bwMode="auto">
          <a:xfrm>
            <a:off x="8473056"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5" name="Oval 251"/>
          <p:cNvSpPr>
            <a:spLocks noChangeArrowheads="1"/>
          </p:cNvSpPr>
          <p:nvPr userDrawn="1"/>
        </p:nvSpPr>
        <p:spPr bwMode="auto">
          <a:xfrm>
            <a:off x="8566255" y="4862578"/>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6" name="Oval 252"/>
          <p:cNvSpPr>
            <a:spLocks noChangeArrowheads="1"/>
          </p:cNvSpPr>
          <p:nvPr userDrawn="1"/>
        </p:nvSpPr>
        <p:spPr bwMode="auto">
          <a:xfrm>
            <a:off x="8657662" y="4862578"/>
            <a:ext cx="75276"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7" name="Oval 253"/>
          <p:cNvSpPr>
            <a:spLocks noChangeArrowheads="1"/>
          </p:cNvSpPr>
          <p:nvPr userDrawn="1"/>
        </p:nvSpPr>
        <p:spPr bwMode="auto">
          <a:xfrm>
            <a:off x="8743692" y="4862578"/>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8" name="Oval 254"/>
          <p:cNvSpPr>
            <a:spLocks noChangeArrowheads="1"/>
          </p:cNvSpPr>
          <p:nvPr userDrawn="1"/>
        </p:nvSpPr>
        <p:spPr bwMode="auto">
          <a:xfrm>
            <a:off x="8836891" y="4862578"/>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79" name="Oval 255"/>
          <p:cNvSpPr>
            <a:spLocks noChangeArrowheads="1"/>
          </p:cNvSpPr>
          <p:nvPr userDrawn="1"/>
        </p:nvSpPr>
        <p:spPr bwMode="auto">
          <a:xfrm>
            <a:off x="6847450"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0" name="Oval 256"/>
          <p:cNvSpPr>
            <a:spLocks noChangeArrowheads="1"/>
          </p:cNvSpPr>
          <p:nvPr userDrawn="1"/>
        </p:nvSpPr>
        <p:spPr bwMode="auto">
          <a:xfrm>
            <a:off x="6940649" y="494860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1" name="Oval 257"/>
          <p:cNvSpPr>
            <a:spLocks noChangeArrowheads="1"/>
          </p:cNvSpPr>
          <p:nvPr userDrawn="1"/>
        </p:nvSpPr>
        <p:spPr bwMode="auto">
          <a:xfrm>
            <a:off x="7026679"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2" name="Oval 258"/>
          <p:cNvSpPr>
            <a:spLocks noChangeArrowheads="1"/>
          </p:cNvSpPr>
          <p:nvPr userDrawn="1"/>
        </p:nvSpPr>
        <p:spPr bwMode="auto">
          <a:xfrm>
            <a:off x="7118086"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3" name="Oval 259"/>
          <p:cNvSpPr>
            <a:spLocks noChangeArrowheads="1"/>
          </p:cNvSpPr>
          <p:nvPr userDrawn="1"/>
        </p:nvSpPr>
        <p:spPr bwMode="auto">
          <a:xfrm>
            <a:off x="7209492" y="4948608"/>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4" name="Oval 260"/>
          <p:cNvSpPr>
            <a:spLocks noChangeArrowheads="1"/>
          </p:cNvSpPr>
          <p:nvPr userDrawn="1"/>
        </p:nvSpPr>
        <p:spPr bwMode="auto">
          <a:xfrm>
            <a:off x="7299107" y="4948608"/>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5" name="Oval 261"/>
          <p:cNvSpPr>
            <a:spLocks noChangeArrowheads="1"/>
          </p:cNvSpPr>
          <p:nvPr userDrawn="1"/>
        </p:nvSpPr>
        <p:spPr bwMode="auto">
          <a:xfrm>
            <a:off x="7390514"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6" name="Oval 262"/>
          <p:cNvSpPr>
            <a:spLocks noChangeArrowheads="1"/>
          </p:cNvSpPr>
          <p:nvPr userDrawn="1"/>
        </p:nvSpPr>
        <p:spPr bwMode="auto">
          <a:xfrm>
            <a:off x="7481920"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7" name="Oval 263"/>
          <p:cNvSpPr>
            <a:spLocks noChangeArrowheads="1"/>
          </p:cNvSpPr>
          <p:nvPr userDrawn="1"/>
        </p:nvSpPr>
        <p:spPr bwMode="auto">
          <a:xfrm>
            <a:off x="7573327" y="494860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8" name="Oval 264"/>
          <p:cNvSpPr>
            <a:spLocks noChangeArrowheads="1"/>
          </p:cNvSpPr>
          <p:nvPr userDrawn="1"/>
        </p:nvSpPr>
        <p:spPr bwMode="auto">
          <a:xfrm>
            <a:off x="7659357"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89" name="Oval 265"/>
          <p:cNvSpPr>
            <a:spLocks noChangeArrowheads="1"/>
          </p:cNvSpPr>
          <p:nvPr userDrawn="1"/>
        </p:nvSpPr>
        <p:spPr bwMode="auto">
          <a:xfrm>
            <a:off x="7752556"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0" name="Oval 266"/>
          <p:cNvSpPr>
            <a:spLocks noChangeArrowheads="1"/>
          </p:cNvSpPr>
          <p:nvPr userDrawn="1"/>
        </p:nvSpPr>
        <p:spPr bwMode="auto">
          <a:xfrm>
            <a:off x="7845755" y="494860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1" name="Oval 267"/>
          <p:cNvSpPr>
            <a:spLocks noChangeArrowheads="1"/>
          </p:cNvSpPr>
          <p:nvPr userDrawn="1"/>
        </p:nvSpPr>
        <p:spPr bwMode="auto">
          <a:xfrm>
            <a:off x="7931785"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2" name="Oval 268"/>
          <p:cNvSpPr>
            <a:spLocks noChangeArrowheads="1"/>
          </p:cNvSpPr>
          <p:nvPr userDrawn="1"/>
        </p:nvSpPr>
        <p:spPr bwMode="auto">
          <a:xfrm>
            <a:off x="8023192"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3" name="Oval 269"/>
          <p:cNvSpPr>
            <a:spLocks noChangeArrowheads="1"/>
          </p:cNvSpPr>
          <p:nvPr userDrawn="1"/>
        </p:nvSpPr>
        <p:spPr bwMode="auto">
          <a:xfrm>
            <a:off x="8114598" y="494860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4" name="Oval 270"/>
          <p:cNvSpPr>
            <a:spLocks noChangeArrowheads="1"/>
          </p:cNvSpPr>
          <p:nvPr userDrawn="1"/>
        </p:nvSpPr>
        <p:spPr bwMode="auto">
          <a:xfrm>
            <a:off x="8202421"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5" name="Oval 271"/>
          <p:cNvSpPr>
            <a:spLocks noChangeArrowheads="1"/>
          </p:cNvSpPr>
          <p:nvPr userDrawn="1"/>
        </p:nvSpPr>
        <p:spPr bwMode="auto">
          <a:xfrm>
            <a:off x="8293827" y="4948608"/>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6" name="Oval 272"/>
          <p:cNvSpPr>
            <a:spLocks noChangeArrowheads="1"/>
          </p:cNvSpPr>
          <p:nvPr userDrawn="1"/>
        </p:nvSpPr>
        <p:spPr bwMode="auto">
          <a:xfrm>
            <a:off x="8387026" y="494860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7" name="Oval 273"/>
          <p:cNvSpPr>
            <a:spLocks noChangeArrowheads="1"/>
          </p:cNvSpPr>
          <p:nvPr userDrawn="1"/>
        </p:nvSpPr>
        <p:spPr bwMode="auto">
          <a:xfrm>
            <a:off x="8473056"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8" name="Oval 274"/>
          <p:cNvSpPr>
            <a:spLocks noChangeArrowheads="1"/>
          </p:cNvSpPr>
          <p:nvPr userDrawn="1"/>
        </p:nvSpPr>
        <p:spPr bwMode="auto">
          <a:xfrm>
            <a:off x="8566255" y="4948608"/>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699" name="Oval 275"/>
          <p:cNvSpPr>
            <a:spLocks noChangeArrowheads="1"/>
          </p:cNvSpPr>
          <p:nvPr userDrawn="1"/>
        </p:nvSpPr>
        <p:spPr bwMode="auto">
          <a:xfrm>
            <a:off x="8657662" y="4948608"/>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0" name="Oval 276"/>
          <p:cNvSpPr>
            <a:spLocks noChangeArrowheads="1"/>
          </p:cNvSpPr>
          <p:nvPr userDrawn="1"/>
        </p:nvSpPr>
        <p:spPr bwMode="auto">
          <a:xfrm>
            <a:off x="8743692" y="494860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1" name="Oval 277"/>
          <p:cNvSpPr>
            <a:spLocks noChangeArrowheads="1"/>
          </p:cNvSpPr>
          <p:nvPr userDrawn="1"/>
        </p:nvSpPr>
        <p:spPr bwMode="auto">
          <a:xfrm>
            <a:off x="6847450"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2" name="Oval 278"/>
          <p:cNvSpPr>
            <a:spLocks noChangeArrowheads="1"/>
          </p:cNvSpPr>
          <p:nvPr userDrawn="1"/>
        </p:nvSpPr>
        <p:spPr bwMode="auto">
          <a:xfrm>
            <a:off x="6940649" y="504001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3" name="Oval 279"/>
          <p:cNvSpPr>
            <a:spLocks noChangeArrowheads="1"/>
          </p:cNvSpPr>
          <p:nvPr userDrawn="1"/>
        </p:nvSpPr>
        <p:spPr bwMode="auto">
          <a:xfrm>
            <a:off x="7026679"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4" name="Oval 280"/>
          <p:cNvSpPr>
            <a:spLocks noChangeArrowheads="1"/>
          </p:cNvSpPr>
          <p:nvPr userDrawn="1"/>
        </p:nvSpPr>
        <p:spPr bwMode="auto">
          <a:xfrm>
            <a:off x="7118086"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5" name="Oval 281"/>
          <p:cNvSpPr>
            <a:spLocks noChangeArrowheads="1"/>
          </p:cNvSpPr>
          <p:nvPr userDrawn="1"/>
        </p:nvSpPr>
        <p:spPr bwMode="auto">
          <a:xfrm>
            <a:off x="7209492" y="5040014"/>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6" name="Oval 282"/>
          <p:cNvSpPr>
            <a:spLocks noChangeArrowheads="1"/>
          </p:cNvSpPr>
          <p:nvPr userDrawn="1"/>
        </p:nvSpPr>
        <p:spPr bwMode="auto">
          <a:xfrm>
            <a:off x="7299107" y="5040014"/>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7" name="Oval 283"/>
          <p:cNvSpPr>
            <a:spLocks noChangeArrowheads="1"/>
          </p:cNvSpPr>
          <p:nvPr userDrawn="1"/>
        </p:nvSpPr>
        <p:spPr bwMode="auto">
          <a:xfrm>
            <a:off x="7390514"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8" name="Oval 284"/>
          <p:cNvSpPr>
            <a:spLocks noChangeArrowheads="1"/>
          </p:cNvSpPr>
          <p:nvPr userDrawn="1"/>
        </p:nvSpPr>
        <p:spPr bwMode="auto">
          <a:xfrm>
            <a:off x="7481920"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09" name="Oval 285"/>
          <p:cNvSpPr>
            <a:spLocks noChangeArrowheads="1"/>
          </p:cNvSpPr>
          <p:nvPr userDrawn="1"/>
        </p:nvSpPr>
        <p:spPr bwMode="auto">
          <a:xfrm>
            <a:off x="7573327" y="504001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0" name="Oval 286"/>
          <p:cNvSpPr>
            <a:spLocks noChangeArrowheads="1"/>
          </p:cNvSpPr>
          <p:nvPr userDrawn="1"/>
        </p:nvSpPr>
        <p:spPr bwMode="auto">
          <a:xfrm>
            <a:off x="7659357"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1" name="Oval 287"/>
          <p:cNvSpPr>
            <a:spLocks noChangeArrowheads="1"/>
          </p:cNvSpPr>
          <p:nvPr userDrawn="1"/>
        </p:nvSpPr>
        <p:spPr bwMode="auto">
          <a:xfrm>
            <a:off x="7752556"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2" name="Oval 288"/>
          <p:cNvSpPr>
            <a:spLocks noChangeArrowheads="1"/>
          </p:cNvSpPr>
          <p:nvPr userDrawn="1"/>
        </p:nvSpPr>
        <p:spPr bwMode="auto">
          <a:xfrm>
            <a:off x="7845755" y="504001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3" name="Oval 289"/>
          <p:cNvSpPr>
            <a:spLocks noChangeArrowheads="1"/>
          </p:cNvSpPr>
          <p:nvPr userDrawn="1"/>
        </p:nvSpPr>
        <p:spPr bwMode="auto">
          <a:xfrm>
            <a:off x="7931785"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4" name="Oval 290"/>
          <p:cNvSpPr>
            <a:spLocks noChangeArrowheads="1"/>
          </p:cNvSpPr>
          <p:nvPr userDrawn="1"/>
        </p:nvSpPr>
        <p:spPr bwMode="auto">
          <a:xfrm>
            <a:off x="8023192"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5" name="Oval 291"/>
          <p:cNvSpPr>
            <a:spLocks noChangeArrowheads="1"/>
          </p:cNvSpPr>
          <p:nvPr userDrawn="1"/>
        </p:nvSpPr>
        <p:spPr bwMode="auto">
          <a:xfrm>
            <a:off x="8114598" y="504001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6" name="Oval 292"/>
          <p:cNvSpPr>
            <a:spLocks noChangeArrowheads="1"/>
          </p:cNvSpPr>
          <p:nvPr userDrawn="1"/>
        </p:nvSpPr>
        <p:spPr bwMode="auto">
          <a:xfrm>
            <a:off x="8202421"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7" name="Oval 293"/>
          <p:cNvSpPr>
            <a:spLocks noChangeArrowheads="1"/>
          </p:cNvSpPr>
          <p:nvPr userDrawn="1"/>
        </p:nvSpPr>
        <p:spPr bwMode="auto">
          <a:xfrm>
            <a:off x="8293827" y="5040014"/>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8" name="Oval 294"/>
          <p:cNvSpPr>
            <a:spLocks noChangeArrowheads="1"/>
          </p:cNvSpPr>
          <p:nvPr userDrawn="1"/>
        </p:nvSpPr>
        <p:spPr bwMode="auto">
          <a:xfrm>
            <a:off x="8387026" y="504001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19" name="Oval 295"/>
          <p:cNvSpPr>
            <a:spLocks noChangeArrowheads="1"/>
          </p:cNvSpPr>
          <p:nvPr userDrawn="1"/>
        </p:nvSpPr>
        <p:spPr bwMode="auto">
          <a:xfrm>
            <a:off x="8473056"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0" name="Oval 296"/>
          <p:cNvSpPr>
            <a:spLocks noChangeArrowheads="1"/>
          </p:cNvSpPr>
          <p:nvPr userDrawn="1"/>
        </p:nvSpPr>
        <p:spPr bwMode="auto">
          <a:xfrm>
            <a:off x="8566255" y="5040014"/>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1" name="Oval 297"/>
          <p:cNvSpPr>
            <a:spLocks noChangeArrowheads="1"/>
          </p:cNvSpPr>
          <p:nvPr userDrawn="1"/>
        </p:nvSpPr>
        <p:spPr bwMode="auto">
          <a:xfrm>
            <a:off x="8657662" y="5040014"/>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2" name="Oval 298"/>
          <p:cNvSpPr>
            <a:spLocks noChangeArrowheads="1"/>
          </p:cNvSpPr>
          <p:nvPr userDrawn="1"/>
        </p:nvSpPr>
        <p:spPr bwMode="auto">
          <a:xfrm>
            <a:off x="8743692" y="504001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3" name="Oval 299"/>
          <p:cNvSpPr>
            <a:spLocks noChangeArrowheads="1"/>
          </p:cNvSpPr>
          <p:nvPr userDrawn="1"/>
        </p:nvSpPr>
        <p:spPr bwMode="auto">
          <a:xfrm>
            <a:off x="6847450"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4" name="Oval 300"/>
          <p:cNvSpPr>
            <a:spLocks noChangeArrowheads="1"/>
          </p:cNvSpPr>
          <p:nvPr userDrawn="1"/>
        </p:nvSpPr>
        <p:spPr bwMode="auto">
          <a:xfrm>
            <a:off x="6940649" y="5131421"/>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5" name="Oval 301"/>
          <p:cNvSpPr>
            <a:spLocks noChangeArrowheads="1"/>
          </p:cNvSpPr>
          <p:nvPr userDrawn="1"/>
        </p:nvSpPr>
        <p:spPr bwMode="auto">
          <a:xfrm>
            <a:off x="7026679"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6" name="Oval 302"/>
          <p:cNvSpPr>
            <a:spLocks noChangeArrowheads="1"/>
          </p:cNvSpPr>
          <p:nvPr userDrawn="1"/>
        </p:nvSpPr>
        <p:spPr bwMode="auto">
          <a:xfrm>
            <a:off x="7118086"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7" name="Oval 303"/>
          <p:cNvSpPr>
            <a:spLocks noChangeArrowheads="1"/>
          </p:cNvSpPr>
          <p:nvPr userDrawn="1"/>
        </p:nvSpPr>
        <p:spPr bwMode="auto">
          <a:xfrm>
            <a:off x="7209492" y="5131421"/>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8" name="Oval 304"/>
          <p:cNvSpPr>
            <a:spLocks noChangeArrowheads="1"/>
          </p:cNvSpPr>
          <p:nvPr userDrawn="1"/>
        </p:nvSpPr>
        <p:spPr bwMode="auto">
          <a:xfrm>
            <a:off x="7299107" y="5131421"/>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29" name="Oval 305"/>
          <p:cNvSpPr>
            <a:spLocks noChangeArrowheads="1"/>
          </p:cNvSpPr>
          <p:nvPr userDrawn="1"/>
        </p:nvSpPr>
        <p:spPr bwMode="auto">
          <a:xfrm>
            <a:off x="7390514"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0" name="Oval 306"/>
          <p:cNvSpPr>
            <a:spLocks noChangeArrowheads="1"/>
          </p:cNvSpPr>
          <p:nvPr userDrawn="1"/>
        </p:nvSpPr>
        <p:spPr bwMode="auto">
          <a:xfrm>
            <a:off x="7481920"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1" name="Oval 307"/>
          <p:cNvSpPr>
            <a:spLocks noChangeArrowheads="1"/>
          </p:cNvSpPr>
          <p:nvPr userDrawn="1"/>
        </p:nvSpPr>
        <p:spPr bwMode="auto">
          <a:xfrm>
            <a:off x="7573327" y="5131421"/>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2" name="Oval 308"/>
          <p:cNvSpPr>
            <a:spLocks noChangeArrowheads="1"/>
          </p:cNvSpPr>
          <p:nvPr userDrawn="1"/>
        </p:nvSpPr>
        <p:spPr bwMode="auto">
          <a:xfrm>
            <a:off x="7659357"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3" name="Oval 309"/>
          <p:cNvSpPr>
            <a:spLocks noChangeArrowheads="1"/>
          </p:cNvSpPr>
          <p:nvPr userDrawn="1"/>
        </p:nvSpPr>
        <p:spPr bwMode="auto">
          <a:xfrm>
            <a:off x="7752556"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4" name="Oval 310"/>
          <p:cNvSpPr>
            <a:spLocks noChangeArrowheads="1"/>
          </p:cNvSpPr>
          <p:nvPr userDrawn="1"/>
        </p:nvSpPr>
        <p:spPr bwMode="auto">
          <a:xfrm>
            <a:off x="7845755" y="5131421"/>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5" name="Oval 311"/>
          <p:cNvSpPr>
            <a:spLocks noChangeArrowheads="1"/>
          </p:cNvSpPr>
          <p:nvPr userDrawn="1"/>
        </p:nvSpPr>
        <p:spPr bwMode="auto">
          <a:xfrm>
            <a:off x="7931785"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6" name="Oval 312"/>
          <p:cNvSpPr>
            <a:spLocks noChangeArrowheads="1"/>
          </p:cNvSpPr>
          <p:nvPr userDrawn="1"/>
        </p:nvSpPr>
        <p:spPr bwMode="auto">
          <a:xfrm>
            <a:off x="8023192"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7" name="Oval 313"/>
          <p:cNvSpPr>
            <a:spLocks noChangeArrowheads="1"/>
          </p:cNvSpPr>
          <p:nvPr userDrawn="1"/>
        </p:nvSpPr>
        <p:spPr bwMode="auto">
          <a:xfrm>
            <a:off x="8114598" y="5131421"/>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8" name="Oval 314"/>
          <p:cNvSpPr>
            <a:spLocks noChangeArrowheads="1"/>
          </p:cNvSpPr>
          <p:nvPr userDrawn="1"/>
        </p:nvSpPr>
        <p:spPr bwMode="auto">
          <a:xfrm>
            <a:off x="8202421"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39" name="Oval 315"/>
          <p:cNvSpPr>
            <a:spLocks noChangeArrowheads="1"/>
          </p:cNvSpPr>
          <p:nvPr userDrawn="1"/>
        </p:nvSpPr>
        <p:spPr bwMode="auto">
          <a:xfrm>
            <a:off x="8293827" y="5131421"/>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0" name="Oval 316"/>
          <p:cNvSpPr>
            <a:spLocks noChangeArrowheads="1"/>
          </p:cNvSpPr>
          <p:nvPr userDrawn="1"/>
        </p:nvSpPr>
        <p:spPr bwMode="auto">
          <a:xfrm>
            <a:off x="8387026" y="5131421"/>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1" name="Oval 317"/>
          <p:cNvSpPr>
            <a:spLocks noChangeArrowheads="1"/>
          </p:cNvSpPr>
          <p:nvPr userDrawn="1"/>
        </p:nvSpPr>
        <p:spPr bwMode="auto">
          <a:xfrm>
            <a:off x="8473056" y="5131421"/>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2" name="Oval 318"/>
          <p:cNvSpPr>
            <a:spLocks noChangeArrowheads="1"/>
          </p:cNvSpPr>
          <p:nvPr userDrawn="1"/>
        </p:nvSpPr>
        <p:spPr bwMode="auto">
          <a:xfrm>
            <a:off x="8566255" y="5131421"/>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3" name="Oval 319"/>
          <p:cNvSpPr>
            <a:spLocks noChangeArrowheads="1"/>
          </p:cNvSpPr>
          <p:nvPr userDrawn="1"/>
        </p:nvSpPr>
        <p:spPr bwMode="auto">
          <a:xfrm>
            <a:off x="8657662" y="5131421"/>
            <a:ext cx="75276"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4" name="Oval 320"/>
          <p:cNvSpPr>
            <a:spLocks noChangeArrowheads="1"/>
          </p:cNvSpPr>
          <p:nvPr userDrawn="1"/>
        </p:nvSpPr>
        <p:spPr bwMode="auto">
          <a:xfrm>
            <a:off x="7026679"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5" name="Oval 321"/>
          <p:cNvSpPr>
            <a:spLocks noChangeArrowheads="1"/>
          </p:cNvSpPr>
          <p:nvPr userDrawn="1"/>
        </p:nvSpPr>
        <p:spPr bwMode="auto">
          <a:xfrm>
            <a:off x="7118086"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6" name="Oval 322"/>
          <p:cNvSpPr>
            <a:spLocks noChangeArrowheads="1"/>
          </p:cNvSpPr>
          <p:nvPr userDrawn="1"/>
        </p:nvSpPr>
        <p:spPr bwMode="auto">
          <a:xfrm>
            <a:off x="7209492" y="5219243"/>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7" name="Oval 323"/>
          <p:cNvSpPr>
            <a:spLocks noChangeArrowheads="1"/>
          </p:cNvSpPr>
          <p:nvPr userDrawn="1"/>
        </p:nvSpPr>
        <p:spPr bwMode="auto">
          <a:xfrm>
            <a:off x="7299107" y="5219243"/>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8" name="Oval 324"/>
          <p:cNvSpPr>
            <a:spLocks noChangeArrowheads="1"/>
          </p:cNvSpPr>
          <p:nvPr userDrawn="1"/>
        </p:nvSpPr>
        <p:spPr bwMode="auto">
          <a:xfrm>
            <a:off x="7390514"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49" name="Oval 325"/>
          <p:cNvSpPr>
            <a:spLocks noChangeArrowheads="1"/>
          </p:cNvSpPr>
          <p:nvPr userDrawn="1"/>
        </p:nvSpPr>
        <p:spPr bwMode="auto">
          <a:xfrm>
            <a:off x="7481920"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0" name="Oval 326"/>
          <p:cNvSpPr>
            <a:spLocks noChangeArrowheads="1"/>
          </p:cNvSpPr>
          <p:nvPr userDrawn="1"/>
        </p:nvSpPr>
        <p:spPr bwMode="auto">
          <a:xfrm>
            <a:off x="7573327" y="5219243"/>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1" name="Oval 327"/>
          <p:cNvSpPr>
            <a:spLocks noChangeArrowheads="1"/>
          </p:cNvSpPr>
          <p:nvPr userDrawn="1"/>
        </p:nvSpPr>
        <p:spPr bwMode="auto">
          <a:xfrm>
            <a:off x="7659357"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2" name="Oval 328"/>
          <p:cNvSpPr>
            <a:spLocks noChangeArrowheads="1"/>
          </p:cNvSpPr>
          <p:nvPr userDrawn="1"/>
        </p:nvSpPr>
        <p:spPr bwMode="auto">
          <a:xfrm>
            <a:off x="7752556"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753" name="Oval 329"/>
          <p:cNvSpPr>
            <a:spLocks noChangeArrowheads="1"/>
          </p:cNvSpPr>
          <p:nvPr userDrawn="1"/>
        </p:nvSpPr>
        <p:spPr bwMode="auto">
          <a:xfrm>
            <a:off x="7845755" y="5219243"/>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4" name="Oval 330"/>
          <p:cNvSpPr>
            <a:spLocks noChangeArrowheads="1"/>
          </p:cNvSpPr>
          <p:nvPr userDrawn="1"/>
        </p:nvSpPr>
        <p:spPr bwMode="auto">
          <a:xfrm>
            <a:off x="7931785"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5" name="Oval 331"/>
          <p:cNvSpPr>
            <a:spLocks noChangeArrowheads="1"/>
          </p:cNvSpPr>
          <p:nvPr userDrawn="1"/>
        </p:nvSpPr>
        <p:spPr bwMode="auto">
          <a:xfrm>
            <a:off x="8023192"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6" name="Oval 332"/>
          <p:cNvSpPr>
            <a:spLocks noChangeArrowheads="1"/>
          </p:cNvSpPr>
          <p:nvPr userDrawn="1"/>
        </p:nvSpPr>
        <p:spPr bwMode="auto">
          <a:xfrm>
            <a:off x="8114598" y="5219243"/>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7" name="Oval 333"/>
          <p:cNvSpPr>
            <a:spLocks noChangeArrowheads="1"/>
          </p:cNvSpPr>
          <p:nvPr userDrawn="1"/>
        </p:nvSpPr>
        <p:spPr bwMode="auto">
          <a:xfrm>
            <a:off x="8202421"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8" name="Oval 334"/>
          <p:cNvSpPr>
            <a:spLocks noChangeArrowheads="1"/>
          </p:cNvSpPr>
          <p:nvPr userDrawn="1"/>
        </p:nvSpPr>
        <p:spPr bwMode="auto">
          <a:xfrm>
            <a:off x="8293827" y="5219243"/>
            <a:ext cx="8423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59" name="Oval 335"/>
          <p:cNvSpPr>
            <a:spLocks noChangeArrowheads="1"/>
          </p:cNvSpPr>
          <p:nvPr userDrawn="1"/>
        </p:nvSpPr>
        <p:spPr bwMode="auto">
          <a:xfrm>
            <a:off x="8387026" y="5219243"/>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0" name="Oval 336"/>
          <p:cNvSpPr>
            <a:spLocks noChangeArrowheads="1"/>
          </p:cNvSpPr>
          <p:nvPr userDrawn="1"/>
        </p:nvSpPr>
        <p:spPr bwMode="auto">
          <a:xfrm>
            <a:off x="8473056" y="5219243"/>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1" name="Oval 337"/>
          <p:cNvSpPr>
            <a:spLocks noChangeArrowheads="1"/>
          </p:cNvSpPr>
          <p:nvPr userDrawn="1"/>
        </p:nvSpPr>
        <p:spPr bwMode="auto">
          <a:xfrm>
            <a:off x="8566255" y="5219243"/>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2" name="Oval 338"/>
          <p:cNvSpPr>
            <a:spLocks noChangeArrowheads="1"/>
          </p:cNvSpPr>
          <p:nvPr userDrawn="1"/>
        </p:nvSpPr>
        <p:spPr bwMode="auto">
          <a:xfrm>
            <a:off x="7026679"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3" name="Oval 339"/>
          <p:cNvSpPr>
            <a:spLocks noChangeArrowheads="1"/>
          </p:cNvSpPr>
          <p:nvPr userDrawn="1"/>
        </p:nvSpPr>
        <p:spPr bwMode="auto">
          <a:xfrm>
            <a:off x="7118086"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4" name="Oval 340"/>
          <p:cNvSpPr>
            <a:spLocks noChangeArrowheads="1"/>
          </p:cNvSpPr>
          <p:nvPr userDrawn="1"/>
        </p:nvSpPr>
        <p:spPr bwMode="auto">
          <a:xfrm>
            <a:off x="7209492" y="5312442"/>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5" name="Oval 341"/>
          <p:cNvSpPr>
            <a:spLocks noChangeArrowheads="1"/>
          </p:cNvSpPr>
          <p:nvPr userDrawn="1"/>
        </p:nvSpPr>
        <p:spPr bwMode="auto">
          <a:xfrm>
            <a:off x="7299107" y="5312442"/>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6" name="Oval 342"/>
          <p:cNvSpPr>
            <a:spLocks noChangeArrowheads="1"/>
          </p:cNvSpPr>
          <p:nvPr userDrawn="1"/>
        </p:nvSpPr>
        <p:spPr bwMode="auto">
          <a:xfrm>
            <a:off x="7390514"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7" name="Oval 343"/>
          <p:cNvSpPr>
            <a:spLocks noChangeArrowheads="1"/>
          </p:cNvSpPr>
          <p:nvPr userDrawn="1"/>
        </p:nvSpPr>
        <p:spPr bwMode="auto">
          <a:xfrm>
            <a:off x="7481920"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8" name="Oval 344"/>
          <p:cNvSpPr>
            <a:spLocks noChangeArrowheads="1"/>
          </p:cNvSpPr>
          <p:nvPr userDrawn="1"/>
        </p:nvSpPr>
        <p:spPr bwMode="auto">
          <a:xfrm>
            <a:off x="7573327" y="531244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69" name="Oval 345"/>
          <p:cNvSpPr>
            <a:spLocks noChangeArrowheads="1"/>
          </p:cNvSpPr>
          <p:nvPr userDrawn="1"/>
        </p:nvSpPr>
        <p:spPr bwMode="auto">
          <a:xfrm>
            <a:off x="7659357"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0" name="Oval 346"/>
          <p:cNvSpPr>
            <a:spLocks noChangeArrowheads="1"/>
          </p:cNvSpPr>
          <p:nvPr userDrawn="1"/>
        </p:nvSpPr>
        <p:spPr bwMode="auto">
          <a:xfrm>
            <a:off x="7752556"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1" name="Oval 347"/>
          <p:cNvSpPr>
            <a:spLocks noChangeArrowheads="1"/>
          </p:cNvSpPr>
          <p:nvPr userDrawn="1"/>
        </p:nvSpPr>
        <p:spPr bwMode="auto">
          <a:xfrm>
            <a:off x="7845755" y="531244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2" name="Oval 348"/>
          <p:cNvSpPr>
            <a:spLocks noChangeArrowheads="1"/>
          </p:cNvSpPr>
          <p:nvPr userDrawn="1"/>
        </p:nvSpPr>
        <p:spPr bwMode="auto">
          <a:xfrm>
            <a:off x="7931785"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3" name="Oval 349"/>
          <p:cNvSpPr>
            <a:spLocks noChangeArrowheads="1"/>
          </p:cNvSpPr>
          <p:nvPr userDrawn="1"/>
        </p:nvSpPr>
        <p:spPr bwMode="auto">
          <a:xfrm>
            <a:off x="8023192"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4" name="Oval 350"/>
          <p:cNvSpPr>
            <a:spLocks noChangeArrowheads="1"/>
          </p:cNvSpPr>
          <p:nvPr userDrawn="1"/>
        </p:nvSpPr>
        <p:spPr bwMode="auto">
          <a:xfrm>
            <a:off x="8114598" y="531244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5" name="Oval 351"/>
          <p:cNvSpPr>
            <a:spLocks noChangeArrowheads="1"/>
          </p:cNvSpPr>
          <p:nvPr userDrawn="1"/>
        </p:nvSpPr>
        <p:spPr bwMode="auto">
          <a:xfrm>
            <a:off x="8202421"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6" name="Oval 352"/>
          <p:cNvSpPr>
            <a:spLocks noChangeArrowheads="1"/>
          </p:cNvSpPr>
          <p:nvPr userDrawn="1"/>
        </p:nvSpPr>
        <p:spPr bwMode="auto">
          <a:xfrm>
            <a:off x="8293827" y="5312442"/>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7" name="Oval 353"/>
          <p:cNvSpPr>
            <a:spLocks noChangeArrowheads="1"/>
          </p:cNvSpPr>
          <p:nvPr userDrawn="1"/>
        </p:nvSpPr>
        <p:spPr bwMode="auto">
          <a:xfrm>
            <a:off x="8387026" y="5312442"/>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8" name="Oval 354"/>
          <p:cNvSpPr>
            <a:spLocks noChangeArrowheads="1"/>
          </p:cNvSpPr>
          <p:nvPr userDrawn="1"/>
        </p:nvSpPr>
        <p:spPr bwMode="auto">
          <a:xfrm>
            <a:off x="8473056" y="5312442"/>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79" name="Oval 355"/>
          <p:cNvSpPr>
            <a:spLocks noChangeArrowheads="1"/>
          </p:cNvSpPr>
          <p:nvPr userDrawn="1"/>
        </p:nvSpPr>
        <p:spPr bwMode="auto">
          <a:xfrm>
            <a:off x="7118086"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0" name="Oval 356"/>
          <p:cNvSpPr>
            <a:spLocks noChangeArrowheads="1"/>
          </p:cNvSpPr>
          <p:nvPr userDrawn="1"/>
        </p:nvSpPr>
        <p:spPr bwMode="auto">
          <a:xfrm>
            <a:off x="7209492" y="5403849"/>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1" name="Oval 357"/>
          <p:cNvSpPr>
            <a:spLocks noChangeArrowheads="1"/>
          </p:cNvSpPr>
          <p:nvPr userDrawn="1"/>
        </p:nvSpPr>
        <p:spPr bwMode="auto">
          <a:xfrm>
            <a:off x="7299107" y="5403849"/>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2" name="Oval 358"/>
          <p:cNvSpPr>
            <a:spLocks noChangeArrowheads="1"/>
          </p:cNvSpPr>
          <p:nvPr userDrawn="1"/>
        </p:nvSpPr>
        <p:spPr bwMode="auto">
          <a:xfrm>
            <a:off x="7390514"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3" name="Oval 359"/>
          <p:cNvSpPr>
            <a:spLocks noChangeArrowheads="1"/>
          </p:cNvSpPr>
          <p:nvPr userDrawn="1"/>
        </p:nvSpPr>
        <p:spPr bwMode="auto">
          <a:xfrm>
            <a:off x="7481920"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4" name="Oval 360"/>
          <p:cNvSpPr>
            <a:spLocks noChangeArrowheads="1"/>
          </p:cNvSpPr>
          <p:nvPr userDrawn="1"/>
        </p:nvSpPr>
        <p:spPr bwMode="auto">
          <a:xfrm>
            <a:off x="7573327" y="5403849"/>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5" name="Oval 361"/>
          <p:cNvSpPr>
            <a:spLocks noChangeArrowheads="1"/>
          </p:cNvSpPr>
          <p:nvPr userDrawn="1"/>
        </p:nvSpPr>
        <p:spPr bwMode="auto">
          <a:xfrm>
            <a:off x="7659357"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6" name="Oval 362"/>
          <p:cNvSpPr>
            <a:spLocks noChangeArrowheads="1"/>
          </p:cNvSpPr>
          <p:nvPr userDrawn="1"/>
        </p:nvSpPr>
        <p:spPr bwMode="auto">
          <a:xfrm>
            <a:off x="7752556"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7" name="Oval 363"/>
          <p:cNvSpPr>
            <a:spLocks noChangeArrowheads="1"/>
          </p:cNvSpPr>
          <p:nvPr userDrawn="1"/>
        </p:nvSpPr>
        <p:spPr bwMode="auto">
          <a:xfrm>
            <a:off x="7845755" y="5403849"/>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8" name="Oval 364"/>
          <p:cNvSpPr>
            <a:spLocks noChangeArrowheads="1"/>
          </p:cNvSpPr>
          <p:nvPr userDrawn="1"/>
        </p:nvSpPr>
        <p:spPr bwMode="auto">
          <a:xfrm>
            <a:off x="7931785"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89" name="Oval 365"/>
          <p:cNvSpPr>
            <a:spLocks noChangeArrowheads="1"/>
          </p:cNvSpPr>
          <p:nvPr userDrawn="1"/>
        </p:nvSpPr>
        <p:spPr bwMode="auto">
          <a:xfrm>
            <a:off x="8023192"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0" name="Oval 366"/>
          <p:cNvSpPr>
            <a:spLocks noChangeArrowheads="1"/>
          </p:cNvSpPr>
          <p:nvPr userDrawn="1"/>
        </p:nvSpPr>
        <p:spPr bwMode="auto">
          <a:xfrm>
            <a:off x="8114598" y="5403849"/>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1" name="Oval 367"/>
          <p:cNvSpPr>
            <a:spLocks noChangeArrowheads="1"/>
          </p:cNvSpPr>
          <p:nvPr userDrawn="1"/>
        </p:nvSpPr>
        <p:spPr bwMode="auto">
          <a:xfrm>
            <a:off x="8202421" y="54038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2" name="Oval 368"/>
          <p:cNvSpPr>
            <a:spLocks noChangeArrowheads="1"/>
          </p:cNvSpPr>
          <p:nvPr userDrawn="1"/>
        </p:nvSpPr>
        <p:spPr bwMode="auto">
          <a:xfrm>
            <a:off x="8293827" y="5403849"/>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3" name="Oval 369"/>
          <p:cNvSpPr>
            <a:spLocks noChangeArrowheads="1"/>
          </p:cNvSpPr>
          <p:nvPr userDrawn="1"/>
        </p:nvSpPr>
        <p:spPr bwMode="auto">
          <a:xfrm>
            <a:off x="7209492" y="5491671"/>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4" name="Oval 370"/>
          <p:cNvSpPr>
            <a:spLocks noChangeArrowheads="1"/>
          </p:cNvSpPr>
          <p:nvPr userDrawn="1"/>
        </p:nvSpPr>
        <p:spPr bwMode="auto">
          <a:xfrm>
            <a:off x="7299107" y="5491671"/>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5" name="Oval 371"/>
          <p:cNvSpPr>
            <a:spLocks noChangeArrowheads="1"/>
          </p:cNvSpPr>
          <p:nvPr userDrawn="1"/>
        </p:nvSpPr>
        <p:spPr bwMode="auto">
          <a:xfrm>
            <a:off x="7390514" y="54916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6" name="Oval 372"/>
          <p:cNvSpPr>
            <a:spLocks noChangeArrowheads="1"/>
          </p:cNvSpPr>
          <p:nvPr userDrawn="1"/>
        </p:nvSpPr>
        <p:spPr bwMode="auto">
          <a:xfrm>
            <a:off x="7481920" y="54916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7" name="Oval 373"/>
          <p:cNvSpPr>
            <a:spLocks noChangeArrowheads="1"/>
          </p:cNvSpPr>
          <p:nvPr userDrawn="1"/>
        </p:nvSpPr>
        <p:spPr bwMode="auto">
          <a:xfrm>
            <a:off x="7573327" y="54916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8" name="Oval 374"/>
          <p:cNvSpPr>
            <a:spLocks noChangeArrowheads="1"/>
          </p:cNvSpPr>
          <p:nvPr userDrawn="1"/>
        </p:nvSpPr>
        <p:spPr bwMode="auto">
          <a:xfrm>
            <a:off x="7659357" y="54916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799" name="Oval 375"/>
          <p:cNvSpPr>
            <a:spLocks noChangeArrowheads="1"/>
          </p:cNvSpPr>
          <p:nvPr userDrawn="1"/>
        </p:nvSpPr>
        <p:spPr bwMode="auto">
          <a:xfrm>
            <a:off x="7752556" y="54916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0" name="Oval 376"/>
          <p:cNvSpPr>
            <a:spLocks noChangeArrowheads="1"/>
          </p:cNvSpPr>
          <p:nvPr userDrawn="1"/>
        </p:nvSpPr>
        <p:spPr bwMode="auto">
          <a:xfrm>
            <a:off x="7845755" y="5491671"/>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1" name="Oval 377"/>
          <p:cNvSpPr>
            <a:spLocks noChangeArrowheads="1"/>
          </p:cNvSpPr>
          <p:nvPr userDrawn="1"/>
        </p:nvSpPr>
        <p:spPr bwMode="auto">
          <a:xfrm>
            <a:off x="7931785" y="5491671"/>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2" name="Oval 378"/>
          <p:cNvSpPr>
            <a:spLocks noChangeArrowheads="1"/>
          </p:cNvSpPr>
          <p:nvPr userDrawn="1"/>
        </p:nvSpPr>
        <p:spPr bwMode="auto">
          <a:xfrm>
            <a:off x="7209492" y="5583078"/>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3" name="Oval 379"/>
          <p:cNvSpPr>
            <a:spLocks noChangeArrowheads="1"/>
          </p:cNvSpPr>
          <p:nvPr userDrawn="1"/>
        </p:nvSpPr>
        <p:spPr bwMode="auto">
          <a:xfrm>
            <a:off x="7299107" y="5583078"/>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4" name="Oval 380"/>
          <p:cNvSpPr>
            <a:spLocks noChangeArrowheads="1"/>
          </p:cNvSpPr>
          <p:nvPr userDrawn="1"/>
        </p:nvSpPr>
        <p:spPr bwMode="auto">
          <a:xfrm>
            <a:off x="7390514" y="558307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5" name="Oval 381"/>
          <p:cNvSpPr>
            <a:spLocks noChangeArrowheads="1"/>
          </p:cNvSpPr>
          <p:nvPr userDrawn="1"/>
        </p:nvSpPr>
        <p:spPr bwMode="auto">
          <a:xfrm>
            <a:off x="7481920" y="558307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6" name="Oval 382"/>
          <p:cNvSpPr>
            <a:spLocks noChangeArrowheads="1"/>
          </p:cNvSpPr>
          <p:nvPr userDrawn="1"/>
        </p:nvSpPr>
        <p:spPr bwMode="auto">
          <a:xfrm>
            <a:off x="7573327" y="558307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7" name="Oval 383"/>
          <p:cNvSpPr>
            <a:spLocks noChangeArrowheads="1"/>
          </p:cNvSpPr>
          <p:nvPr userDrawn="1"/>
        </p:nvSpPr>
        <p:spPr bwMode="auto">
          <a:xfrm>
            <a:off x="7659357" y="558307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8" name="Oval 384"/>
          <p:cNvSpPr>
            <a:spLocks noChangeArrowheads="1"/>
          </p:cNvSpPr>
          <p:nvPr userDrawn="1"/>
        </p:nvSpPr>
        <p:spPr bwMode="auto">
          <a:xfrm>
            <a:off x="7752556" y="5583078"/>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09" name="Oval 385"/>
          <p:cNvSpPr>
            <a:spLocks noChangeArrowheads="1"/>
          </p:cNvSpPr>
          <p:nvPr userDrawn="1"/>
        </p:nvSpPr>
        <p:spPr bwMode="auto">
          <a:xfrm>
            <a:off x="7845755" y="5583078"/>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0" name="Oval 386"/>
          <p:cNvSpPr>
            <a:spLocks noChangeArrowheads="1"/>
          </p:cNvSpPr>
          <p:nvPr userDrawn="1"/>
        </p:nvSpPr>
        <p:spPr bwMode="auto">
          <a:xfrm>
            <a:off x="7299107" y="5674485"/>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1" name="Oval 387"/>
          <p:cNvSpPr>
            <a:spLocks noChangeArrowheads="1"/>
          </p:cNvSpPr>
          <p:nvPr userDrawn="1"/>
        </p:nvSpPr>
        <p:spPr bwMode="auto">
          <a:xfrm>
            <a:off x="7390514" y="5674485"/>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2" name="Oval 388"/>
          <p:cNvSpPr>
            <a:spLocks noChangeArrowheads="1"/>
          </p:cNvSpPr>
          <p:nvPr userDrawn="1"/>
        </p:nvSpPr>
        <p:spPr bwMode="auto">
          <a:xfrm>
            <a:off x="7481920" y="5674485"/>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3" name="Oval 389"/>
          <p:cNvSpPr>
            <a:spLocks noChangeArrowheads="1"/>
          </p:cNvSpPr>
          <p:nvPr userDrawn="1"/>
        </p:nvSpPr>
        <p:spPr bwMode="auto">
          <a:xfrm>
            <a:off x="7573327" y="5674485"/>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4" name="Oval 390"/>
          <p:cNvSpPr>
            <a:spLocks noChangeArrowheads="1"/>
          </p:cNvSpPr>
          <p:nvPr userDrawn="1"/>
        </p:nvSpPr>
        <p:spPr bwMode="auto">
          <a:xfrm>
            <a:off x="7659357" y="5674485"/>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5" name="Oval 391"/>
          <p:cNvSpPr>
            <a:spLocks noChangeArrowheads="1"/>
          </p:cNvSpPr>
          <p:nvPr userDrawn="1"/>
        </p:nvSpPr>
        <p:spPr bwMode="auto">
          <a:xfrm>
            <a:off x="7752556" y="5674485"/>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6" name="Oval 392"/>
          <p:cNvSpPr>
            <a:spLocks noChangeArrowheads="1"/>
          </p:cNvSpPr>
          <p:nvPr userDrawn="1"/>
        </p:nvSpPr>
        <p:spPr bwMode="auto">
          <a:xfrm>
            <a:off x="7299107" y="5760515"/>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7" name="Oval 393"/>
          <p:cNvSpPr>
            <a:spLocks noChangeArrowheads="1"/>
          </p:cNvSpPr>
          <p:nvPr userDrawn="1"/>
        </p:nvSpPr>
        <p:spPr bwMode="auto">
          <a:xfrm>
            <a:off x="7390514" y="5760515"/>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8" name="Oval 394"/>
          <p:cNvSpPr>
            <a:spLocks noChangeArrowheads="1"/>
          </p:cNvSpPr>
          <p:nvPr userDrawn="1"/>
        </p:nvSpPr>
        <p:spPr bwMode="auto">
          <a:xfrm>
            <a:off x="7481920" y="5760515"/>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19" name="Oval 395"/>
          <p:cNvSpPr>
            <a:spLocks noChangeArrowheads="1"/>
          </p:cNvSpPr>
          <p:nvPr userDrawn="1"/>
        </p:nvSpPr>
        <p:spPr bwMode="auto">
          <a:xfrm>
            <a:off x="7573327" y="5760515"/>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0" name="Oval 396"/>
          <p:cNvSpPr>
            <a:spLocks noChangeArrowheads="1"/>
          </p:cNvSpPr>
          <p:nvPr userDrawn="1"/>
        </p:nvSpPr>
        <p:spPr bwMode="auto">
          <a:xfrm>
            <a:off x="7659357" y="5760515"/>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1" name="Oval 397"/>
          <p:cNvSpPr>
            <a:spLocks noChangeArrowheads="1"/>
          </p:cNvSpPr>
          <p:nvPr userDrawn="1"/>
        </p:nvSpPr>
        <p:spPr bwMode="auto">
          <a:xfrm>
            <a:off x="7752556" y="5760515"/>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2" name="Oval 398"/>
          <p:cNvSpPr>
            <a:spLocks noChangeArrowheads="1"/>
          </p:cNvSpPr>
          <p:nvPr userDrawn="1"/>
        </p:nvSpPr>
        <p:spPr bwMode="auto">
          <a:xfrm>
            <a:off x="7118086" y="585550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3" name="Oval 399"/>
          <p:cNvSpPr>
            <a:spLocks noChangeArrowheads="1"/>
          </p:cNvSpPr>
          <p:nvPr userDrawn="1"/>
        </p:nvSpPr>
        <p:spPr bwMode="auto">
          <a:xfrm>
            <a:off x="7209492" y="5855506"/>
            <a:ext cx="78861"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4" name="Oval 400"/>
          <p:cNvSpPr>
            <a:spLocks noChangeArrowheads="1"/>
          </p:cNvSpPr>
          <p:nvPr userDrawn="1"/>
        </p:nvSpPr>
        <p:spPr bwMode="auto">
          <a:xfrm>
            <a:off x="7299107" y="5855506"/>
            <a:ext cx="80653"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5" name="Oval 401"/>
          <p:cNvSpPr>
            <a:spLocks noChangeArrowheads="1"/>
          </p:cNvSpPr>
          <p:nvPr userDrawn="1"/>
        </p:nvSpPr>
        <p:spPr bwMode="auto">
          <a:xfrm>
            <a:off x="7390514" y="585550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6" name="Oval 402"/>
          <p:cNvSpPr>
            <a:spLocks noChangeArrowheads="1"/>
          </p:cNvSpPr>
          <p:nvPr userDrawn="1"/>
        </p:nvSpPr>
        <p:spPr bwMode="auto">
          <a:xfrm>
            <a:off x="7481920" y="585550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7" name="Oval 403"/>
          <p:cNvSpPr>
            <a:spLocks noChangeArrowheads="1"/>
          </p:cNvSpPr>
          <p:nvPr userDrawn="1"/>
        </p:nvSpPr>
        <p:spPr bwMode="auto">
          <a:xfrm>
            <a:off x="7573327" y="5855506"/>
            <a:ext cx="77068"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8" name="Oval 404"/>
          <p:cNvSpPr>
            <a:spLocks noChangeArrowheads="1"/>
          </p:cNvSpPr>
          <p:nvPr userDrawn="1"/>
        </p:nvSpPr>
        <p:spPr bwMode="auto">
          <a:xfrm>
            <a:off x="7659357" y="585550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29" name="Oval 405"/>
          <p:cNvSpPr>
            <a:spLocks noChangeArrowheads="1"/>
          </p:cNvSpPr>
          <p:nvPr userDrawn="1"/>
        </p:nvSpPr>
        <p:spPr bwMode="auto">
          <a:xfrm>
            <a:off x="7752556" y="5855506"/>
            <a:ext cx="82445" cy="80653"/>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0" name="Oval 406"/>
          <p:cNvSpPr>
            <a:spLocks noChangeArrowheads="1"/>
          </p:cNvSpPr>
          <p:nvPr userDrawn="1"/>
        </p:nvSpPr>
        <p:spPr bwMode="auto">
          <a:xfrm>
            <a:off x="7026679" y="5946913"/>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1" name="Oval 408"/>
          <p:cNvSpPr>
            <a:spLocks noChangeArrowheads="1"/>
          </p:cNvSpPr>
          <p:nvPr userDrawn="1"/>
        </p:nvSpPr>
        <p:spPr bwMode="auto">
          <a:xfrm>
            <a:off x="7118086" y="5946914"/>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2" name="Oval 409"/>
          <p:cNvSpPr>
            <a:spLocks noChangeArrowheads="1"/>
          </p:cNvSpPr>
          <p:nvPr userDrawn="1"/>
        </p:nvSpPr>
        <p:spPr bwMode="auto">
          <a:xfrm>
            <a:off x="7209493" y="5946914"/>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3" name="Oval 410"/>
          <p:cNvSpPr>
            <a:spLocks noChangeArrowheads="1"/>
          </p:cNvSpPr>
          <p:nvPr userDrawn="1"/>
        </p:nvSpPr>
        <p:spPr bwMode="auto">
          <a:xfrm>
            <a:off x="7299108" y="5946914"/>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4" name="Oval 411"/>
          <p:cNvSpPr>
            <a:spLocks noChangeArrowheads="1"/>
          </p:cNvSpPr>
          <p:nvPr userDrawn="1"/>
        </p:nvSpPr>
        <p:spPr bwMode="auto">
          <a:xfrm>
            <a:off x="7390514" y="5946914"/>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5" name="Oval 412"/>
          <p:cNvSpPr>
            <a:spLocks noChangeArrowheads="1"/>
          </p:cNvSpPr>
          <p:nvPr userDrawn="1"/>
        </p:nvSpPr>
        <p:spPr bwMode="auto">
          <a:xfrm>
            <a:off x="7481921" y="5946914"/>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6" name="Oval 413"/>
          <p:cNvSpPr>
            <a:spLocks noChangeArrowheads="1"/>
          </p:cNvSpPr>
          <p:nvPr userDrawn="1"/>
        </p:nvSpPr>
        <p:spPr bwMode="auto">
          <a:xfrm>
            <a:off x="7573328" y="5946914"/>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7" name="Oval 414"/>
          <p:cNvSpPr>
            <a:spLocks noChangeArrowheads="1"/>
          </p:cNvSpPr>
          <p:nvPr userDrawn="1"/>
        </p:nvSpPr>
        <p:spPr bwMode="auto">
          <a:xfrm>
            <a:off x="7659358" y="5946914"/>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8" name="Oval 415"/>
          <p:cNvSpPr>
            <a:spLocks noChangeArrowheads="1"/>
          </p:cNvSpPr>
          <p:nvPr userDrawn="1"/>
        </p:nvSpPr>
        <p:spPr bwMode="auto">
          <a:xfrm>
            <a:off x="7752557" y="5946914"/>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39" name="Oval 416"/>
          <p:cNvSpPr>
            <a:spLocks noChangeArrowheads="1"/>
          </p:cNvSpPr>
          <p:nvPr userDrawn="1"/>
        </p:nvSpPr>
        <p:spPr bwMode="auto">
          <a:xfrm>
            <a:off x="6940650" y="603294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0" name="Oval 417"/>
          <p:cNvSpPr>
            <a:spLocks noChangeArrowheads="1"/>
          </p:cNvSpPr>
          <p:nvPr userDrawn="1"/>
        </p:nvSpPr>
        <p:spPr bwMode="auto">
          <a:xfrm>
            <a:off x="7026680" y="603294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1" name="Oval 418"/>
          <p:cNvSpPr>
            <a:spLocks noChangeArrowheads="1"/>
          </p:cNvSpPr>
          <p:nvPr userDrawn="1"/>
        </p:nvSpPr>
        <p:spPr bwMode="auto">
          <a:xfrm>
            <a:off x="7118086" y="603294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2" name="Oval 419"/>
          <p:cNvSpPr>
            <a:spLocks noChangeArrowheads="1"/>
          </p:cNvSpPr>
          <p:nvPr userDrawn="1"/>
        </p:nvSpPr>
        <p:spPr bwMode="auto">
          <a:xfrm>
            <a:off x="7209493" y="6032944"/>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3" name="Oval 420"/>
          <p:cNvSpPr>
            <a:spLocks noChangeArrowheads="1"/>
          </p:cNvSpPr>
          <p:nvPr userDrawn="1"/>
        </p:nvSpPr>
        <p:spPr bwMode="auto">
          <a:xfrm>
            <a:off x="7299108" y="6032944"/>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4" name="Oval 421"/>
          <p:cNvSpPr>
            <a:spLocks noChangeArrowheads="1"/>
          </p:cNvSpPr>
          <p:nvPr userDrawn="1"/>
        </p:nvSpPr>
        <p:spPr bwMode="auto">
          <a:xfrm>
            <a:off x="7390514" y="603294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5" name="Oval 422"/>
          <p:cNvSpPr>
            <a:spLocks noChangeArrowheads="1"/>
          </p:cNvSpPr>
          <p:nvPr userDrawn="1"/>
        </p:nvSpPr>
        <p:spPr bwMode="auto">
          <a:xfrm>
            <a:off x="7481921" y="603294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6" name="Oval 423"/>
          <p:cNvSpPr>
            <a:spLocks noChangeArrowheads="1"/>
          </p:cNvSpPr>
          <p:nvPr userDrawn="1"/>
        </p:nvSpPr>
        <p:spPr bwMode="auto">
          <a:xfrm>
            <a:off x="7573328" y="6032944"/>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7" name="Oval 424"/>
          <p:cNvSpPr>
            <a:spLocks noChangeArrowheads="1"/>
          </p:cNvSpPr>
          <p:nvPr userDrawn="1"/>
        </p:nvSpPr>
        <p:spPr bwMode="auto">
          <a:xfrm>
            <a:off x="7659358" y="6032944"/>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8" name="Oval 425"/>
          <p:cNvSpPr>
            <a:spLocks noChangeArrowheads="1"/>
          </p:cNvSpPr>
          <p:nvPr userDrawn="1"/>
        </p:nvSpPr>
        <p:spPr bwMode="auto">
          <a:xfrm>
            <a:off x="6847451" y="612435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49" name="Oval 426"/>
          <p:cNvSpPr>
            <a:spLocks noChangeArrowheads="1"/>
          </p:cNvSpPr>
          <p:nvPr userDrawn="1"/>
        </p:nvSpPr>
        <p:spPr bwMode="auto">
          <a:xfrm>
            <a:off x="6940650" y="612435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0" name="Oval 427"/>
          <p:cNvSpPr>
            <a:spLocks noChangeArrowheads="1"/>
          </p:cNvSpPr>
          <p:nvPr userDrawn="1"/>
        </p:nvSpPr>
        <p:spPr bwMode="auto">
          <a:xfrm>
            <a:off x="7026680" y="612435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1" name="Oval 428"/>
          <p:cNvSpPr>
            <a:spLocks noChangeArrowheads="1"/>
          </p:cNvSpPr>
          <p:nvPr userDrawn="1"/>
        </p:nvSpPr>
        <p:spPr bwMode="auto">
          <a:xfrm>
            <a:off x="7118086" y="612435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2" name="Oval 429"/>
          <p:cNvSpPr>
            <a:spLocks noChangeArrowheads="1"/>
          </p:cNvSpPr>
          <p:nvPr userDrawn="1"/>
        </p:nvSpPr>
        <p:spPr bwMode="auto">
          <a:xfrm>
            <a:off x="7209493" y="6124350"/>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3" name="Oval 430"/>
          <p:cNvSpPr>
            <a:spLocks noChangeArrowheads="1"/>
          </p:cNvSpPr>
          <p:nvPr userDrawn="1"/>
        </p:nvSpPr>
        <p:spPr bwMode="auto">
          <a:xfrm>
            <a:off x="7299108" y="6124350"/>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4" name="Oval 431"/>
          <p:cNvSpPr>
            <a:spLocks noChangeArrowheads="1"/>
          </p:cNvSpPr>
          <p:nvPr userDrawn="1"/>
        </p:nvSpPr>
        <p:spPr bwMode="auto">
          <a:xfrm>
            <a:off x="7390514" y="612435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5" name="Oval 432"/>
          <p:cNvSpPr>
            <a:spLocks noChangeArrowheads="1"/>
          </p:cNvSpPr>
          <p:nvPr userDrawn="1"/>
        </p:nvSpPr>
        <p:spPr bwMode="auto">
          <a:xfrm>
            <a:off x="7481921" y="6124350"/>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6" name="Oval 433"/>
          <p:cNvSpPr>
            <a:spLocks noChangeArrowheads="1"/>
          </p:cNvSpPr>
          <p:nvPr userDrawn="1"/>
        </p:nvSpPr>
        <p:spPr bwMode="auto">
          <a:xfrm>
            <a:off x="7573328" y="6124350"/>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7" name="Oval 434"/>
          <p:cNvSpPr>
            <a:spLocks noChangeArrowheads="1"/>
          </p:cNvSpPr>
          <p:nvPr userDrawn="1"/>
        </p:nvSpPr>
        <p:spPr bwMode="auto">
          <a:xfrm>
            <a:off x="6847451" y="62175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8" name="Oval 435"/>
          <p:cNvSpPr>
            <a:spLocks noChangeArrowheads="1"/>
          </p:cNvSpPr>
          <p:nvPr userDrawn="1"/>
        </p:nvSpPr>
        <p:spPr bwMode="auto">
          <a:xfrm>
            <a:off x="6940650" y="6217549"/>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59" name="Oval 436"/>
          <p:cNvSpPr>
            <a:spLocks noChangeArrowheads="1"/>
          </p:cNvSpPr>
          <p:nvPr userDrawn="1"/>
        </p:nvSpPr>
        <p:spPr bwMode="auto">
          <a:xfrm>
            <a:off x="7026680" y="62175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0" name="Oval 437"/>
          <p:cNvSpPr>
            <a:spLocks noChangeArrowheads="1"/>
          </p:cNvSpPr>
          <p:nvPr userDrawn="1"/>
        </p:nvSpPr>
        <p:spPr bwMode="auto">
          <a:xfrm>
            <a:off x="7118086" y="62175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1" name="Oval 438"/>
          <p:cNvSpPr>
            <a:spLocks noChangeArrowheads="1"/>
          </p:cNvSpPr>
          <p:nvPr userDrawn="1"/>
        </p:nvSpPr>
        <p:spPr bwMode="auto">
          <a:xfrm>
            <a:off x="7209493" y="6217549"/>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2" name="Oval 439"/>
          <p:cNvSpPr>
            <a:spLocks noChangeArrowheads="1"/>
          </p:cNvSpPr>
          <p:nvPr userDrawn="1"/>
        </p:nvSpPr>
        <p:spPr bwMode="auto">
          <a:xfrm>
            <a:off x="7299108" y="6217549"/>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3" name="Oval 440"/>
          <p:cNvSpPr>
            <a:spLocks noChangeArrowheads="1"/>
          </p:cNvSpPr>
          <p:nvPr userDrawn="1"/>
        </p:nvSpPr>
        <p:spPr bwMode="auto">
          <a:xfrm>
            <a:off x="7390514" y="62175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4" name="Oval 441"/>
          <p:cNvSpPr>
            <a:spLocks noChangeArrowheads="1"/>
          </p:cNvSpPr>
          <p:nvPr userDrawn="1"/>
        </p:nvSpPr>
        <p:spPr bwMode="auto">
          <a:xfrm>
            <a:off x="7481921" y="6217549"/>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5" name="Oval 442"/>
          <p:cNvSpPr>
            <a:spLocks noChangeArrowheads="1"/>
          </p:cNvSpPr>
          <p:nvPr userDrawn="1"/>
        </p:nvSpPr>
        <p:spPr bwMode="auto">
          <a:xfrm>
            <a:off x="7573328" y="6217549"/>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6" name="Oval 443"/>
          <p:cNvSpPr>
            <a:spLocks noChangeArrowheads="1"/>
          </p:cNvSpPr>
          <p:nvPr userDrawn="1"/>
        </p:nvSpPr>
        <p:spPr bwMode="auto">
          <a:xfrm>
            <a:off x="7118086" y="6303579"/>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7" name="Oval 444"/>
          <p:cNvSpPr>
            <a:spLocks noChangeArrowheads="1"/>
          </p:cNvSpPr>
          <p:nvPr userDrawn="1"/>
        </p:nvSpPr>
        <p:spPr bwMode="auto">
          <a:xfrm>
            <a:off x="7026680" y="6303579"/>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8" name="Oval 445"/>
          <p:cNvSpPr>
            <a:spLocks noChangeArrowheads="1"/>
          </p:cNvSpPr>
          <p:nvPr userDrawn="1"/>
        </p:nvSpPr>
        <p:spPr bwMode="auto">
          <a:xfrm>
            <a:off x="6940650" y="6303579"/>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69" name="Oval 446"/>
          <p:cNvSpPr>
            <a:spLocks noChangeArrowheads="1"/>
          </p:cNvSpPr>
          <p:nvPr userDrawn="1"/>
        </p:nvSpPr>
        <p:spPr bwMode="auto">
          <a:xfrm>
            <a:off x="7209493" y="6303579"/>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870" name="Oval 447"/>
          <p:cNvSpPr>
            <a:spLocks noChangeArrowheads="1"/>
          </p:cNvSpPr>
          <p:nvPr userDrawn="1"/>
        </p:nvSpPr>
        <p:spPr bwMode="auto">
          <a:xfrm>
            <a:off x="7299108" y="6303579"/>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2" name="Oval 448"/>
          <p:cNvSpPr>
            <a:spLocks noChangeArrowheads="1"/>
          </p:cNvSpPr>
          <p:nvPr userDrawn="1"/>
        </p:nvSpPr>
        <p:spPr bwMode="auto">
          <a:xfrm>
            <a:off x="7390514" y="6303579"/>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3" name="Oval 449"/>
          <p:cNvSpPr>
            <a:spLocks noChangeArrowheads="1"/>
          </p:cNvSpPr>
          <p:nvPr userDrawn="1"/>
        </p:nvSpPr>
        <p:spPr bwMode="auto">
          <a:xfrm>
            <a:off x="7481921" y="6303579"/>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4" name="Oval 450"/>
          <p:cNvSpPr>
            <a:spLocks noChangeArrowheads="1"/>
          </p:cNvSpPr>
          <p:nvPr userDrawn="1"/>
        </p:nvSpPr>
        <p:spPr bwMode="auto">
          <a:xfrm>
            <a:off x="6576815" y="1971615"/>
            <a:ext cx="82445" cy="78861"/>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5" name="Oval 451"/>
          <p:cNvSpPr>
            <a:spLocks noChangeArrowheads="1"/>
          </p:cNvSpPr>
          <p:nvPr userDrawn="1"/>
        </p:nvSpPr>
        <p:spPr bwMode="auto">
          <a:xfrm>
            <a:off x="6485408" y="1971615"/>
            <a:ext cx="80653" cy="78861"/>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6" name="Oval 452"/>
          <p:cNvSpPr>
            <a:spLocks noChangeArrowheads="1"/>
          </p:cNvSpPr>
          <p:nvPr userDrawn="1"/>
        </p:nvSpPr>
        <p:spPr bwMode="auto">
          <a:xfrm>
            <a:off x="6306179" y="2061229"/>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7" name="Oval 453"/>
          <p:cNvSpPr>
            <a:spLocks noChangeArrowheads="1"/>
          </p:cNvSpPr>
          <p:nvPr userDrawn="1"/>
        </p:nvSpPr>
        <p:spPr bwMode="auto">
          <a:xfrm>
            <a:off x="6397586" y="2061229"/>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8" name="Oval 454"/>
          <p:cNvSpPr>
            <a:spLocks noChangeArrowheads="1"/>
          </p:cNvSpPr>
          <p:nvPr userDrawn="1"/>
        </p:nvSpPr>
        <p:spPr bwMode="auto">
          <a:xfrm>
            <a:off x="6485408" y="2061229"/>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999" name="Oval 455"/>
          <p:cNvSpPr>
            <a:spLocks noChangeArrowheads="1"/>
          </p:cNvSpPr>
          <p:nvPr userDrawn="1"/>
        </p:nvSpPr>
        <p:spPr bwMode="auto">
          <a:xfrm>
            <a:off x="6576815" y="2061229"/>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0" name="Oval 456"/>
          <p:cNvSpPr>
            <a:spLocks noChangeArrowheads="1"/>
          </p:cNvSpPr>
          <p:nvPr userDrawn="1"/>
        </p:nvSpPr>
        <p:spPr bwMode="auto">
          <a:xfrm>
            <a:off x="6576815" y="21526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1" name="Oval 457"/>
          <p:cNvSpPr>
            <a:spLocks noChangeArrowheads="1"/>
          </p:cNvSpPr>
          <p:nvPr userDrawn="1"/>
        </p:nvSpPr>
        <p:spPr bwMode="auto">
          <a:xfrm>
            <a:off x="7481921" y="2061229"/>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2" name="Oval 458"/>
          <p:cNvSpPr>
            <a:spLocks noChangeArrowheads="1"/>
          </p:cNvSpPr>
          <p:nvPr userDrawn="1"/>
        </p:nvSpPr>
        <p:spPr bwMode="auto">
          <a:xfrm>
            <a:off x="5944137" y="21526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3" name="Oval 459"/>
          <p:cNvSpPr>
            <a:spLocks noChangeArrowheads="1"/>
          </p:cNvSpPr>
          <p:nvPr userDrawn="1"/>
        </p:nvSpPr>
        <p:spPr bwMode="auto">
          <a:xfrm>
            <a:off x="5944137" y="2238666"/>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4" name="Oval 460"/>
          <p:cNvSpPr>
            <a:spLocks noChangeArrowheads="1"/>
          </p:cNvSpPr>
          <p:nvPr userDrawn="1"/>
        </p:nvSpPr>
        <p:spPr bwMode="auto">
          <a:xfrm>
            <a:off x="6035543" y="21526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5" name="Oval 461"/>
          <p:cNvSpPr>
            <a:spLocks noChangeArrowheads="1"/>
          </p:cNvSpPr>
          <p:nvPr userDrawn="1"/>
        </p:nvSpPr>
        <p:spPr bwMode="auto">
          <a:xfrm>
            <a:off x="5944137" y="2061229"/>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6" name="Oval 462"/>
          <p:cNvSpPr>
            <a:spLocks noChangeArrowheads="1"/>
          </p:cNvSpPr>
          <p:nvPr userDrawn="1"/>
        </p:nvSpPr>
        <p:spPr bwMode="auto">
          <a:xfrm>
            <a:off x="6035543" y="2061229"/>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7" name="Oval 463"/>
          <p:cNvSpPr>
            <a:spLocks noChangeArrowheads="1"/>
          </p:cNvSpPr>
          <p:nvPr userDrawn="1"/>
        </p:nvSpPr>
        <p:spPr bwMode="auto">
          <a:xfrm>
            <a:off x="6126950" y="21526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8" name="Oval 464"/>
          <p:cNvSpPr>
            <a:spLocks noChangeArrowheads="1"/>
          </p:cNvSpPr>
          <p:nvPr userDrawn="1"/>
        </p:nvSpPr>
        <p:spPr bwMode="auto">
          <a:xfrm>
            <a:off x="6212980" y="2152636"/>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09" name="Oval 465"/>
          <p:cNvSpPr>
            <a:spLocks noChangeArrowheads="1"/>
          </p:cNvSpPr>
          <p:nvPr userDrawn="1"/>
        </p:nvSpPr>
        <p:spPr bwMode="auto">
          <a:xfrm>
            <a:off x="6306179" y="21526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0" name="Oval 466"/>
          <p:cNvSpPr>
            <a:spLocks noChangeArrowheads="1"/>
          </p:cNvSpPr>
          <p:nvPr userDrawn="1"/>
        </p:nvSpPr>
        <p:spPr bwMode="auto">
          <a:xfrm>
            <a:off x="6397586" y="21526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1" name="Oval 467"/>
          <p:cNvSpPr>
            <a:spLocks noChangeArrowheads="1"/>
          </p:cNvSpPr>
          <p:nvPr userDrawn="1"/>
        </p:nvSpPr>
        <p:spPr bwMode="auto">
          <a:xfrm>
            <a:off x="6485408" y="21526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2" name="Oval 468"/>
          <p:cNvSpPr>
            <a:spLocks noChangeArrowheads="1"/>
          </p:cNvSpPr>
          <p:nvPr userDrawn="1"/>
        </p:nvSpPr>
        <p:spPr bwMode="auto">
          <a:xfrm>
            <a:off x="7390514" y="21526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3" name="Oval 469"/>
          <p:cNvSpPr>
            <a:spLocks noChangeArrowheads="1"/>
          </p:cNvSpPr>
          <p:nvPr userDrawn="1"/>
        </p:nvSpPr>
        <p:spPr bwMode="auto">
          <a:xfrm>
            <a:off x="7481921" y="21526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4" name="Oval 470"/>
          <p:cNvSpPr>
            <a:spLocks noChangeArrowheads="1"/>
          </p:cNvSpPr>
          <p:nvPr userDrawn="1"/>
        </p:nvSpPr>
        <p:spPr bwMode="auto">
          <a:xfrm>
            <a:off x="6035543" y="2238666"/>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5" name="Oval 471"/>
          <p:cNvSpPr>
            <a:spLocks noChangeArrowheads="1"/>
          </p:cNvSpPr>
          <p:nvPr userDrawn="1"/>
        </p:nvSpPr>
        <p:spPr bwMode="auto">
          <a:xfrm>
            <a:off x="6126950" y="2238666"/>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6" name="Oval 472"/>
          <p:cNvSpPr>
            <a:spLocks noChangeArrowheads="1"/>
          </p:cNvSpPr>
          <p:nvPr userDrawn="1"/>
        </p:nvSpPr>
        <p:spPr bwMode="auto">
          <a:xfrm>
            <a:off x="6212980" y="2238666"/>
            <a:ext cx="8423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7" name="Oval 473"/>
          <p:cNvSpPr>
            <a:spLocks noChangeArrowheads="1"/>
          </p:cNvSpPr>
          <p:nvPr userDrawn="1"/>
        </p:nvSpPr>
        <p:spPr bwMode="auto">
          <a:xfrm>
            <a:off x="6306179" y="2238666"/>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8" name="Oval 474"/>
          <p:cNvSpPr>
            <a:spLocks noChangeArrowheads="1"/>
          </p:cNvSpPr>
          <p:nvPr userDrawn="1"/>
        </p:nvSpPr>
        <p:spPr bwMode="auto">
          <a:xfrm>
            <a:off x="6397586" y="2238666"/>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19" name="Oval 475"/>
          <p:cNvSpPr>
            <a:spLocks noChangeArrowheads="1"/>
          </p:cNvSpPr>
          <p:nvPr userDrawn="1"/>
        </p:nvSpPr>
        <p:spPr bwMode="auto">
          <a:xfrm>
            <a:off x="6485408" y="2238666"/>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0" name="Oval 476"/>
          <p:cNvSpPr>
            <a:spLocks noChangeArrowheads="1"/>
          </p:cNvSpPr>
          <p:nvPr userDrawn="1"/>
        </p:nvSpPr>
        <p:spPr bwMode="auto">
          <a:xfrm>
            <a:off x="7390514" y="2238666"/>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1" name="Oval 477"/>
          <p:cNvSpPr>
            <a:spLocks noChangeArrowheads="1"/>
          </p:cNvSpPr>
          <p:nvPr userDrawn="1"/>
        </p:nvSpPr>
        <p:spPr bwMode="auto">
          <a:xfrm>
            <a:off x="7481921" y="2238666"/>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2" name="Oval 478"/>
          <p:cNvSpPr>
            <a:spLocks noChangeArrowheads="1"/>
          </p:cNvSpPr>
          <p:nvPr userDrawn="1"/>
        </p:nvSpPr>
        <p:spPr bwMode="auto">
          <a:xfrm>
            <a:off x="7573328" y="2238666"/>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3" name="Oval 479"/>
          <p:cNvSpPr>
            <a:spLocks noChangeArrowheads="1"/>
          </p:cNvSpPr>
          <p:nvPr userDrawn="1"/>
        </p:nvSpPr>
        <p:spPr bwMode="auto">
          <a:xfrm>
            <a:off x="5585679" y="23318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4" name="Oval 480"/>
          <p:cNvSpPr>
            <a:spLocks noChangeArrowheads="1"/>
          </p:cNvSpPr>
          <p:nvPr userDrawn="1"/>
        </p:nvSpPr>
        <p:spPr bwMode="auto">
          <a:xfrm>
            <a:off x="5673501" y="23318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5" name="Oval 481"/>
          <p:cNvSpPr>
            <a:spLocks noChangeArrowheads="1"/>
          </p:cNvSpPr>
          <p:nvPr userDrawn="1"/>
        </p:nvSpPr>
        <p:spPr bwMode="auto">
          <a:xfrm>
            <a:off x="6126950" y="23318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6" name="Oval 482"/>
          <p:cNvSpPr>
            <a:spLocks noChangeArrowheads="1"/>
          </p:cNvSpPr>
          <p:nvPr userDrawn="1"/>
        </p:nvSpPr>
        <p:spPr bwMode="auto">
          <a:xfrm>
            <a:off x="6212980" y="2331865"/>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7" name="Oval 483"/>
          <p:cNvSpPr>
            <a:spLocks noChangeArrowheads="1"/>
          </p:cNvSpPr>
          <p:nvPr userDrawn="1"/>
        </p:nvSpPr>
        <p:spPr bwMode="auto">
          <a:xfrm>
            <a:off x="6306179" y="23318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8" name="Oval 484"/>
          <p:cNvSpPr>
            <a:spLocks noChangeArrowheads="1"/>
          </p:cNvSpPr>
          <p:nvPr userDrawn="1"/>
        </p:nvSpPr>
        <p:spPr bwMode="auto">
          <a:xfrm>
            <a:off x="6397586" y="23318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29" name="Oval 485"/>
          <p:cNvSpPr>
            <a:spLocks noChangeArrowheads="1"/>
          </p:cNvSpPr>
          <p:nvPr userDrawn="1"/>
        </p:nvSpPr>
        <p:spPr bwMode="auto">
          <a:xfrm>
            <a:off x="6485408" y="23318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0" name="Oval 486"/>
          <p:cNvSpPr>
            <a:spLocks noChangeArrowheads="1"/>
          </p:cNvSpPr>
          <p:nvPr userDrawn="1"/>
        </p:nvSpPr>
        <p:spPr bwMode="auto">
          <a:xfrm>
            <a:off x="6940650" y="23318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1" name="Oval 487"/>
          <p:cNvSpPr>
            <a:spLocks noChangeArrowheads="1"/>
          </p:cNvSpPr>
          <p:nvPr userDrawn="1"/>
        </p:nvSpPr>
        <p:spPr bwMode="auto">
          <a:xfrm>
            <a:off x="7026680" y="23318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2" name="Oval 488"/>
          <p:cNvSpPr>
            <a:spLocks noChangeArrowheads="1"/>
          </p:cNvSpPr>
          <p:nvPr userDrawn="1"/>
        </p:nvSpPr>
        <p:spPr bwMode="auto">
          <a:xfrm>
            <a:off x="7118086" y="23318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3" name="Oval 489"/>
          <p:cNvSpPr>
            <a:spLocks noChangeArrowheads="1"/>
          </p:cNvSpPr>
          <p:nvPr userDrawn="1"/>
        </p:nvSpPr>
        <p:spPr bwMode="auto">
          <a:xfrm>
            <a:off x="7299108" y="23318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4" name="Oval 490"/>
          <p:cNvSpPr>
            <a:spLocks noChangeArrowheads="1"/>
          </p:cNvSpPr>
          <p:nvPr userDrawn="1"/>
        </p:nvSpPr>
        <p:spPr bwMode="auto">
          <a:xfrm>
            <a:off x="7390514" y="23318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5" name="Oval 491"/>
          <p:cNvSpPr>
            <a:spLocks noChangeArrowheads="1"/>
          </p:cNvSpPr>
          <p:nvPr userDrawn="1"/>
        </p:nvSpPr>
        <p:spPr bwMode="auto">
          <a:xfrm>
            <a:off x="7481921" y="23318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6" name="Oval 492"/>
          <p:cNvSpPr>
            <a:spLocks noChangeArrowheads="1"/>
          </p:cNvSpPr>
          <p:nvPr userDrawn="1"/>
        </p:nvSpPr>
        <p:spPr bwMode="auto">
          <a:xfrm>
            <a:off x="7573328" y="23318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7" name="Oval 493"/>
          <p:cNvSpPr>
            <a:spLocks noChangeArrowheads="1"/>
          </p:cNvSpPr>
          <p:nvPr userDrawn="1"/>
        </p:nvSpPr>
        <p:spPr bwMode="auto">
          <a:xfrm>
            <a:off x="5402865"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8" name="Oval 494"/>
          <p:cNvSpPr>
            <a:spLocks noChangeArrowheads="1"/>
          </p:cNvSpPr>
          <p:nvPr userDrawn="1"/>
        </p:nvSpPr>
        <p:spPr bwMode="auto">
          <a:xfrm>
            <a:off x="5494272"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39" name="Oval 495"/>
          <p:cNvSpPr>
            <a:spLocks noChangeArrowheads="1"/>
          </p:cNvSpPr>
          <p:nvPr userDrawn="1"/>
        </p:nvSpPr>
        <p:spPr bwMode="auto">
          <a:xfrm>
            <a:off x="5585679" y="2425064"/>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0" name="Oval 496"/>
          <p:cNvSpPr>
            <a:spLocks noChangeArrowheads="1"/>
          </p:cNvSpPr>
          <p:nvPr userDrawn="1"/>
        </p:nvSpPr>
        <p:spPr bwMode="auto">
          <a:xfrm>
            <a:off x="5673501"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1" name="Oval 497"/>
          <p:cNvSpPr>
            <a:spLocks noChangeArrowheads="1"/>
          </p:cNvSpPr>
          <p:nvPr userDrawn="1"/>
        </p:nvSpPr>
        <p:spPr bwMode="auto">
          <a:xfrm>
            <a:off x="6035543" y="2425064"/>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2" name="Oval 498"/>
          <p:cNvSpPr>
            <a:spLocks noChangeArrowheads="1"/>
          </p:cNvSpPr>
          <p:nvPr userDrawn="1"/>
        </p:nvSpPr>
        <p:spPr bwMode="auto">
          <a:xfrm>
            <a:off x="6126950" y="2425064"/>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3" name="Oval 499"/>
          <p:cNvSpPr>
            <a:spLocks noChangeArrowheads="1"/>
          </p:cNvSpPr>
          <p:nvPr userDrawn="1"/>
        </p:nvSpPr>
        <p:spPr bwMode="auto">
          <a:xfrm>
            <a:off x="6212980" y="2425064"/>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4" name="Oval 500"/>
          <p:cNvSpPr>
            <a:spLocks noChangeArrowheads="1"/>
          </p:cNvSpPr>
          <p:nvPr userDrawn="1"/>
        </p:nvSpPr>
        <p:spPr bwMode="auto">
          <a:xfrm>
            <a:off x="6306179"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5" name="Oval 501"/>
          <p:cNvSpPr>
            <a:spLocks noChangeArrowheads="1"/>
          </p:cNvSpPr>
          <p:nvPr userDrawn="1"/>
        </p:nvSpPr>
        <p:spPr bwMode="auto">
          <a:xfrm>
            <a:off x="6397586" y="2425064"/>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6" name="Oval 502"/>
          <p:cNvSpPr>
            <a:spLocks noChangeArrowheads="1"/>
          </p:cNvSpPr>
          <p:nvPr userDrawn="1"/>
        </p:nvSpPr>
        <p:spPr bwMode="auto">
          <a:xfrm>
            <a:off x="6485408" y="2425064"/>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7" name="Oval 503"/>
          <p:cNvSpPr>
            <a:spLocks noChangeArrowheads="1"/>
          </p:cNvSpPr>
          <p:nvPr userDrawn="1"/>
        </p:nvSpPr>
        <p:spPr bwMode="auto">
          <a:xfrm>
            <a:off x="6576815"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8" name="Oval 504"/>
          <p:cNvSpPr>
            <a:spLocks noChangeArrowheads="1"/>
          </p:cNvSpPr>
          <p:nvPr userDrawn="1"/>
        </p:nvSpPr>
        <p:spPr bwMode="auto">
          <a:xfrm>
            <a:off x="6754252" y="2425064"/>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49" name="Oval 505"/>
          <p:cNvSpPr>
            <a:spLocks noChangeArrowheads="1"/>
          </p:cNvSpPr>
          <p:nvPr userDrawn="1"/>
        </p:nvSpPr>
        <p:spPr bwMode="auto">
          <a:xfrm>
            <a:off x="6847451"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0" name="Oval 506"/>
          <p:cNvSpPr>
            <a:spLocks noChangeArrowheads="1"/>
          </p:cNvSpPr>
          <p:nvPr userDrawn="1"/>
        </p:nvSpPr>
        <p:spPr bwMode="auto">
          <a:xfrm>
            <a:off x="6940650" y="2425064"/>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1" name="Oval 507"/>
          <p:cNvSpPr>
            <a:spLocks noChangeArrowheads="1"/>
          </p:cNvSpPr>
          <p:nvPr userDrawn="1"/>
        </p:nvSpPr>
        <p:spPr bwMode="auto">
          <a:xfrm>
            <a:off x="7026680"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2" name="Oval 508"/>
          <p:cNvSpPr>
            <a:spLocks noChangeArrowheads="1"/>
          </p:cNvSpPr>
          <p:nvPr userDrawn="1"/>
        </p:nvSpPr>
        <p:spPr bwMode="auto">
          <a:xfrm>
            <a:off x="7118086"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3" name="Oval 509"/>
          <p:cNvSpPr>
            <a:spLocks noChangeArrowheads="1"/>
          </p:cNvSpPr>
          <p:nvPr userDrawn="1"/>
        </p:nvSpPr>
        <p:spPr bwMode="auto">
          <a:xfrm>
            <a:off x="7209493" y="2425064"/>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4" name="Oval 510"/>
          <p:cNvSpPr>
            <a:spLocks noChangeArrowheads="1"/>
          </p:cNvSpPr>
          <p:nvPr userDrawn="1"/>
        </p:nvSpPr>
        <p:spPr bwMode="auto">
          <a:xfrm>
            <a:off x="7299108" y="2425064"/>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5" name="Oval 511"/>
          <p:cNvSpPr>
            <a:spLocks noChangeArrowheads="1"/>
          </p:cNvSpPr>
          <p:nvPr userDrawn="1"/>
        </p:nvSpPr>
        <p:spPr bwMode="auto">
          <a:xfrm>
            <a:off x="7390514"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6" name="Oval 512"/>
          <p:cNvSpPr>
            <a:spLocks noChangeArrowheads="1"/>
          </p:cNvSpPr>
          <p:nvPr userDrawn="1"/>
        </p:nvSpPr>
        <p:spPr bwMode="auto">
          <a:xfrm>
            <a:off x="7481921"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7" name="Oval 513"/>
          <p:cNvSpPr>
            <a:spLocks noChangeArrowheads="1"/>
          </p:cNvSpPr>
          <p:nvPr userDrawn="1"/>
        </p:nvSpPr>
        <p:spPr bwMode="auto">
          <a:xfrm>
            <a:off x="7573328" y="2425064"/>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8" name="Oval 514"/>
          <p:cNvSpPr>
            <a:spLocks noChangeArrowheads="1"/>
          </p:cNvSpPr>
          <p:nvPr userDrawn="1"/>
        </p:nvSpPr>
        <p:spPr bwMode="auto">
          <a:xfrm>
            <a:off x="7659358"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59" name="Oval 515"/>
          <p:cNvSpPr>
            <a:spLocks noChangeArrowheads="1"/>
          </p:cNvSpPr>
          <p:nvPr userDrawn="1"/>
        </p:nvSpPr>
        <p:spPr bwMode="auto">
          <a:xfrm>
            <a:off x="5402865"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0" name="Oval 516"/>
          <p:cNvSpPr>
            <a:spLocks noChangeArrowheads="1"/>
          </p:cNvSpPr>
          <p:nvPr userDrawn="1"/>
        </p:nvSpPr>
        <p:spPr bwMode="auto">
          <a:xfrm>
            <a:off x="5494272"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1" name="Oval 517"/>
          <p:cNvSpPr>
            <a:spLocks noChangeArrowheads="1"/>
          </p:cNvSpPr>
          <p:nvPr userDrawn="1"/>
        </p:nvSpPr>
        <p:spPr bwMode="auto">
          <a:xfrm>
            <a:off x="5585679" y="2511094"/>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2" name="Oval 518"/>
          <p:cNvSpPr>
            <a:spLocks noChangeArrowheads="1"/>
          </p:cNvSpPr>
          <p:nvPr userDrawn="1"/>
        </p:nvSpPr>
        <p:spPr bwMode="auto">
          <a:xfrm>
            <a:off x="5673501"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3" name="Oval 519"/>
          <p:cNvSpPr>
            <a:spLocks noChangeArrowheads="1"/>
          </p:cNvSpPr>
          <p:nvPr userDrawn="1"/>
        </p:nvSpPr>
        <p:spPr bwMode="auto">
          <a:xfrm>
            <a:off x="5764908"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4" name="Oval 520"/>
          <p:cNvSpPr>
            <a:spLocks noChangeArrowheads="1"/>
          </p:cNvSpPr>
          <p:nvPr userDrawn="1"/>
        </p:nvSpPr>
        <p:spPr bwMode="auto">
          <a:xfrm>
            <a:off x="5764908" y="2425064"/>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5" name="Oval 521"/>
          <p:cNvSpPr>
            <a:spLocks noChangeArrowheads="1"/>
          </p:cNvSpPr>
          <p:nvPr userDrawn="1"/>
        </p:nvSpPr>
        <p:spPr bwMode="auto">
          <a:xfrm>
            <a:off x="5944137" y="2511094"/>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6" name="Oval 522"/>
          <p:cNvSpPr>
            <a:spLocks noChangeArrowheads="1"/>
          </p:cNvSpPr>
          <p:nvPr userDrawn="1"/>
        </p:nvSpPr>
        <p:spPr bwMode="auto">
          <a:xfrm>
            <a:off x="6035543" y="2511094"/>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7" name="Oval 523"/>
          <p:cNvSpPr>
            <a:spLocks noChangeArrowheads="1"/>
          </p:cNvSpPr>
          <p:nvPr userDrawn="1"/>
        </p:nvSpPr>
        <p:spPr bwMode="auto">
          <a:xfrm>
            <a:off x="6126950" y="2511094"/>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8" name="Oval 524"/>
          <p:cNvSpPr>
            <a:spLocks noChangeArrowheads="1"/>
          </p:cNvSpPr>
          <p:nvPr userDrawn="1"/>
        </p:nvSpPr>
        <p:spPr bwMode="auto">
          <a:xfrm>
            <a:off x="6212980" y="2511094"/>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69" name="Oval 525"/>
          <p:cNvSpPr>
            <a:spLocks noChangeArrowheads="1"/>
          </p:cNvSpPr>
          <p:nvPr userDrawn="1"/>
        </p:nvSpPr>
        <p:spPr bwMode="auto">
          <a:xfrm>
            <a:off x="6306179"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0" name="Oval 526"/>
          <p:cNvSpPr>
            <a:spLocks noChangeArrowheads="1"/>
          </p:cNvSpPr>
          <p:nvPr userDrawn="1"/>
        </p:nvSpPr>
        <p:spPr bwMode="auto">
          <a:xfrm>
            <a:off x="6397586" y="2511094"/>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1" name="Oval 527"/>
          <p:cNvSpPr>
            <a:spLocks noChangeArrowheads="1"/>
          </p:cNvSpPr>
          <p:nvPr userDrawn="1"/>
        </p:nvSpPr>
        <p:spPr bwMode="auto">
          <a:xfrm>
            <a:off x="6485408" y="2511094"/>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2" name="Oval 528"/>
          <p:cNvSpPr>
            <a:spLocks noChangeArrowheads="1"/>
          </p:cNvSpPr>
          <p:nvPr userDrawn="1"/>
        </p:nvSpPr>
        <p:spPr bwMode="auto">
          <a:xfrm>
            <a:off x="6576815"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3" name="Oval 529"/>
          <p:cNvSpPr>
            <a:spLocks noChangeArrowheads="1"/>
          </p:cNvSpPr>
          <p:nvPr userDrawn="1"/>
        </p:nvSpPr>
        <p:spPr bwMode="auto">
          <a:xfrm>
            <a:off x="6668222" y="2511094"/>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4" name="Oval 530"/>
          <p:cNvSpPr>
            <a:spLocks noChangeArrowheads="1"/>
          </p:cNvSpPr>
          <p:nvPr userDrawn="1"/>
        </p:nvSpPr>
        <p:spPr bwMode="auto">
          <a:xfrm>
            <a:off x="6754252" y="2511094"/>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5" name="Oval 531"/>
          <p:cNvSpPr>
            <a:spLocks noChangeArrowheads="1"/>
          </p:cNvSpPr>
          <p:nvPr userDrawn="1"/>
        </p:nvSpPr>
        <p:spPr bwMode="auto">
          <a:xfrm>
            <a:off x="6847451"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6" name="Oval 532"/>
          <p:cNvSpPr>
            <a:spLocks noChangeArrowheads="1"/>
          </p:cNvSpPr>
          <p:nvPr userDrawn="1"/>
        </p:nvSpPr>
        <p:spPr bwMode="auto">
          <a:xfrm>
            <a:off x="6940650" y="2511094"/>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7" name="Oval 533"/>
          <p:cNvSpPr>
            <a:spLocks noChangeArrowheads="1"/>
          </p:cNvSpPr>
          <p:nvPr userDrawn="1"/>
        </p:nvSpPr>
        <p:spPr bwMode="auto">
          <a:xfrm>
            <a:off x="7026680"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8" name="Oval 534"/>
          <p:cNvSpPr>
            <a:spLocks noChangeArrowheads="1"/>
          </p:cNvSpPr>
          <p:nvPr userDrawn="1"/>
        </p:nvSpPr>
        <p:spPr bwMode="auto">
          <a:xfrm>
            <a:off x="7118086"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79" name="Oval 535"/>
          <p:cNvSpPr>
            <a:spLocks noChangeArrowheads="1"/>
          </p:cNvSpPr>
          <p:nvPr userDrawn="1"/>
        </p:nvSpPr>
        <p:spPr bwMode="auto">
          <a:xfrm>
            <a:off x="7209493" y="2511094"/>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0" name="Oval 536"/>
          <p:cNvSpPr>
            <a:spLocks noChangeArrowheads="1"/>
          </p:cNvSpPr>
          <p:nvPr userDrawn="1"/>
        </p:nvSpPr>
        <p:spPr bwMode="auto">
          <a:xfrm>
            <a:off x="7299108" y="2511094"/>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1" name="Oval 537"/>
          <p:cNvSpPr>
            <a:spLocks noChangeArrowheads="1"/>
          </p:cNvSpPr>
          <p:nvPr userDrawn="1"/>
        </p:nvSpPr>
        <p:spPr bwMode="auto">
          <a:xfrm>
            <a:off x="7390514"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2" name="Oval 538"/>
          <p:cNvSpPr>
            <a:spLocks noChangeArrowheads="1"/>
          </p:cNvSpPr>
          <p:nvPr userDrawn="1"/>
        </p:nvSpPr>
        <p:spPr bwMode="auto">
          <a:xfrm>
            <a:off x="7481921"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3" name="Oval 539"/>
          <p:cNvSpPr>
            <a:spLocks noChangeArrowheads="1"/>
          </p:cNvSpPr>
          <p:nvPr userDrawn="1"/>
        </p:nvSpPr>
        <p:spPr bwMode="auto">
          <a:xfrm>
            <a:off x="7573328" y="2511094"/>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4" name="Oval 540"/>
          <p:cNvSpPr>
            <a:spLocks noChangeArrowheads="1"/>
          </p:cNvSpPr>
          <p:nvPr userDrawn="1"/>
        </p:nvSpPr>
        <p:spPr bwMode="auto">
          <a:xfrm>
            <a:off x="7659358" y="2511094"/>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5" name="Oval 541"/>
          <p:cNvSpPr>
            <a:spLocks noChangeArrowheads="1"/>
          </p:cNvSpPr>
          <p:nvPr userDrawn="1"/>
        </p:nvSpPr>
        <p:spPr bwMode="auto">
          <a:xfrm>
            <a:off x="5494272"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6" name="Oval 542"/>
          <p:cNvSpPr>
            <a:spLocks noChangeArrowheads="1"/>
          </p:cNvSpPr>
          <p:nvPr userDrawn="1"/>
        </p:nvSpPr>
        <p:spPr bwMode="auto">
          <a:xfrm>
            <a:off x="5585679" y="2602501"/>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7" name="Oval 543"/>
          <p:cNvSpPr>
            <a:spLocks noChangeArrowheads="1"/>
          </p:cNvSpPr>
          <p:nvPr userDrawn="1"/>
        </p:nvSpPr>
        <p:spPr bwMode="auto">
          <a:xfrm>
            <a:off x="5673501"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8" name="Oval 544"/>
          <p:cNvSpPr>
            <a:spLocks noChangeArrowheads="1"/>
          </p:cNvSpPr>
          <p:nvPr userDrawn="1"/>
        </p:nvSpPr>
        <p:spPr bwMode="auto">
          <a:xfrm>
            <a:off x="5764908"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89" name="Oval 545"/>
          <p:cNvSpPr>
            <a:spLocks noChangeArrowheads="1"/>
          </p:cNvSpPr>
          <p:nvPr userDrawn="1"/>
        </p:nvSpPr>
        <p:spPr bwMode="auto">
          <a:xfrm>
            <a:off x="5858107" y="2602501"/>
            <a:ext cx="75276"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0" name="Oval 546"/>
          <p:cNvSpPr>
            <a:spLocks noChangeArrowheads="1"/>
          </p:cNvSpPr>
          <p:nvPr userDrawn="1"/>
        </p:nvSpPr>
        <p:spPr bwMode="auto">
          <a:xfrm>
            <a:off x="5944137" y="2602501"/>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1" name="Oval 547"/>
          <p:cNvSpPr>
            <a:spLocks noChangeArrowheads="1"/>
          </p:cNvSpPr>
          <p:nvPr userDrawn="1"/>
        </p:nvSpPr>
        <p:spPr bwMode="auto">
          <a:xfrm>
            <a:off x="6035543" y="2602501"/>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2" name="Oval 548"/>
          <p:cNvSpPr>
            <a:spLocks noChangeArrowheads="1"/>
          </p:cNvSpPr>
          <p:nvPr userDrawn="1"/>
        </p:nvSpPr>
        <p:spPr bwMode="auto">
          <a:xfrm>
            <a:off x="6126950" y="2602501"/>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3" name="Oval 549"/>
          <p:cNvSpPr>
            <a:spLocks noChangeArrowheads="1"/>
          </p:cNvSpPr>
          <p:nvPr userDrawn="1"/>
        </p:nvSpPr>
        <p:spPr bwMode="auto">
          <a:xfrm>
            <a:off x="6212980" y="2602501"/>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4" name="Oval 550"/>
          <p:cNvSpPr>
            <a:spLocks noChangeArrowheads="1"/>
          </p:cNvSpPr>
          <p:nvPr userDrawn="1"/>
        </p:nvSpPr>
        <p:spPr bwMode="auto">
          <a:xfrm>
            <a:off x="6306179"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5" name="Oval 551"/>
          <p:cNvSpPr>
            <a:spLocks noChangeArrowheads="1"/>
          </p:cNvSpPr>
          <p:nvPr userDrawn="1"/>
        </p:nvSpPr>
        <p:spPr bwMode="auto">
          <a:xfrm>
            <a:off x="6397586" y="2602501"/>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6" name="Oval 552"/>
          <p:cNvSpPr>
            <a:spLocks noChangeArrowheads="1"/>
          </p:cNvSpPr>
          <p:nvPr userDrawn="1"/>
        </p:nvSpPr>
        <p:spPr bwMode="auto">
          <a:xfrm>
            <a:off x="6485408" y="2602501"/>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7" name="Oval 553"/>
          <p:cNvSpPr>
            <a:spLocks noChangeArrowheads="1"/>
          </p:cNvSpPr>
          <p:nvPr userDrawn="1"/>
        </p:nvSpPr>
        <p:spPr bwMode="auto">
          <a:xfrm>
            <a:off x="6576815"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8" name="Oval 554"/>
          <p:cNvSpPr>
            <a:spLocks noChangeArrowheads="1"/>
          </p:cNvSpPr>
          <p:nvPr userDrawn="1"/>
        </p:nvSpPr>
        <p:spPr bwMode="auto">
          <a:xfrm>
            <a:off x="6668222" y="2602501"/>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099" name="Oval 555"/>
          <p:cNvSpPr>
            <a:spLocks noChangeArrowheads="1"/>
          </p:cNvSpPr>
          <p:nvPr userDrawn="1"/>
        </p:nvSpPr>
        <p:spPr bwMode="auto">
          <a:xfrm>
            <a:off x="6754252" y="2602501"/>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0" name="Oval 556"/>
          <p:cNvSpPr>
            <a:spLocks noChangeArrowheads="1"/>
          </p:cNvSpPr>
          <p:nvPr userDrawn="1"/>
        </p:nvSpPr>
        <p:spPr bwMode="auto">
          <a:xfrm>
            <a:off x="6847451"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1" name="Oval 557"/>
          <p:cNvSpPr>
            <a:spLocks noChangeArrowheads="1"/>
          </p:cNvSpPr>
          <p:nvPr userDrawn="1"/>
        </p:nvSpPr>
        <p:spPr bwMode="auto">
          <a:xfrm>
            <a:off x="6940650" y="2602501"/>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2" name="Oval 558"/>
          <p:cNvSpPr>
            <a:spLocks noChangeArrowheads="1"/>
          </p:cNvSpPr>
          <p:nvPr userDrawn="1"/>
        </p:nvSpPr>
        <p:spPr bwMode="auto">
          <a:xfrm>
            <a:off x="7026680"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3" name="Oval 559"/>
          <p:cNvSpPr>
            <a:spLocks noChangeArrowheads="1"/>
          </p:cNvSpPr>
          <p:nvPr userDrawn="1"/>
        </p:nvSpPr>
        <p:spPr bwMode="auto">
          <a:xfrm>
            <a:off x="7118086"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4" name="Oval 560"/>
          <p:cNvSpPr>
            <a:spLocks noChangeArrowheads="1"/>
          </p:cNvSpPr>
          <p:nvPr userDrawn="1"/>
        </p:nvSpPr>
        <p:spPr bwMode="auto">
          <a:xfrm>
            <a:off x="7209493" y="2602501"/>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5" name="Oval 561"/>
          <p:cNvSpPr>
            <a:spLocks noChangeArrowheads="1"/>
          </p:cNvSpPr>
          <p:nvPr userDrawn="1"/>
        </p:nvSpPr>
        <p:spPr bwMode="auto">
          <a:xfrm>
            <a:off x="7299108" y="2602501"/>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6" name="Oval 562"/>
          <p:cNvSpPr>
            <a:spLocks noChangeArrowheads="1"/>
          </p:cNvSpPr>
          <p:nvPr userDrawn="1"/>
        </p:nvSpPr>
        <p:spPr bwMode="auto">
          <a:xfrm>
            <a:off x="7390514"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7" name="Oval 563"/>
          <p:cNvSpPr>
            <a:spLocks noChangeArrowheads="1"/>
          </p:cNvSpPr>
          <p:nvPr userDrawn="1"/>
        </p:nvSpPr>
        <p:spPr bwMode="auto">
          <a:xfrm>
            <a:off x="7481921"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8" name="Oval 564"/>
          <p:cNvSpPr>
            <a:spLocks noChangeArrowheads="1"/>
          </p:cNvSpPr>
          <p:nvPr userDrawn="1"/>
        </p:nvSpPr>
        <p:spPr bwMode="auto">
          <a:xfrm>
            <a:off x="7573328" y="2602501"/>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09" name="Oval 565"/>
          <p:cNvSpPr>
            <a:spLocks noChangeArrowheads="1"/>
          </p:cNvSpPr>
          <p:nvPr userDrawn="1"/>
        </p:nvSpPr>
        <p:spPr bwMode="auto">
          <a:xfrm>
            <a:off x="7659358"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0" name="Oval 566"/>
          <p:cNvSpPr>
            <a:spLocks noChangeArrowheads="1"/>
          </p:cNvSpPr>
          <p:nvPr userDrawn="1"/>
        </p:nvSpPr>
        <p:spPr bwMode="auto">
          <a:xfrm>
            <a:off x="7752557"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1" name="Oval 567"/>
          <p:cNvSpPr>
            <a:spLocks noChangeArrowheads="1"/>
          </p:cNvSpPr>
          <p:nvPr userDrawn="1"/>
        </p:nvSpPr>
        <p:spPr bwMode="auto">
          <a:xfrm>
            <a:off x="7845756" y="2602501"/>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2" name="Oval 568"/>
          <p:cNvSpPr>
            <a:spLocks noChangeArrowheads="1"/>
          </p:cNvSpPr>
          <p:nvPr userDrawn="1"/>
        </p:nvSpPr>
        <p:spPr bwMode="auto">
          <a:xfrm>
            <a:off x="7931786" y="2602501"/>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3" name="Oval 569"/>
          <p:cNvSpPr>
            <a:spLocks noChangeArrowheads="1"/>
          </p:cNvSpPr>
          <p:nvPr userDrawn="1"/>
        </p:nvSpPr>
        <p:spPr bwMode="auto">
          <a:xfrm>
            <a:off x="5494272"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4" name="Oval 570"/>
          <p:cNvSpPr>
            <a:spLocks noChangeArrowheads="1"/>
          </p:cNvSpPr>
          <p:nvPr userDrawn="1"/>
        </p:nvSpPr>
        <p:spPr bwMode="auto">
          <a:xfrm>
            <a:off x="5585679"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5" name="Oval 571"/>
          <p:cNvSpPr>
            <a:spLocks noChangeArrowheads="1"/>
          </p:cNvSpPr>
          <p:nvPr userDrawn="1"/>
        </p:nvSpPr>
        <p:spPr bwMode="auto">
          <a:xfrm>
            <a:off x="5673501"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6" name="Oval 572"/>
          <p:cNvSpPr>
            <a:spLocks noChangeArrowheads="1"/>
          </p:cNvSpPr>
          <p:nvPr userDrawn="1"/>
        </p:nvSpPr>
        <p:spPr bwMode="auto">
          <a:xfrm>
            <a:off x="5764908"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7" name="Oval 573"/>
          <p:cNvSpPr>
            <a:spLocks noChangeArrowheads="1"/>
          </p:cNvSpPr>
          <p:nvPr userDrawn="1"/>
        </p:nvSpPr>
        <p:spPr bwMode="auto">
          <a:xfrm>
            <a:off x="5858107" y="2695700"/>
            <a:ext cx="75276"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8" name="Oval 574"/>
          <p:cNvSpPr>
            <a:spLocks noChangeArrowheads="1"/>
          </p:cNvSpPr>
          <p:nvPr userDrawn="1"/>
        </p:nvSpPr>
        <p:spPr bwMode="auto">
          <a:xfrm>
            <a:off x="5944137" y="2695700"/>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19" name="Oval 575"/>
          <p:cNvSpPr>
            <a:spLocks noChangeArrowheads="1"/>
          </p:cNvSpPr>
          <p:nvPr userDrawn="1"/>
        </p:nvSpPr>
        <p:spPr bwMode="auto">
          <a:xfrm>
            <a:off x="6035543" y="2695700"/>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0" name="Oval 576"/>
          <p:cNvSpPr>
            <a:spLocks noChangeArrowheads="1"/>
          </p:cNvSpPr>
          <p:nvPr userDrawn="1"/>
        </p:nvSpPr>
        <p:spPr bwMode="auto">
          <a:xfrm>
            <a:off x="6126950"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1" name="Oval 577"/>
          <p:cNvSpPr>
            <a:spLocks noChangeArrowheads="1"/>
          </p:cNvSpPr>
          <p:nvPr userDrawn="1"/>
        </p:nvSpPr>
        <p:spPr bwMode="auto">
          <a:xfrm>
            <a:off x="6212980" y="2695700"/>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2" name="Oval 578"/>
          <p:cNvSpPr>
            <a:spLocks noChangeArrowheads="1"/>
          </p:cNvSpPr>
          <p:nvPr userDrawn="1"/>
        </p:nvSpPr>
        <p:spPr bwMode="auto">
          <a:xfrm>
            <a:off x="6306179"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3" name="Oval 579"/>
          <p:cNvSpPr>
            <a:spLocks noChangeArrowheads="1"/>
          </p:cNvSpPr>
          <p:nvPr userDrawn="1"/>
        </p:nvSpPr>
        <p:spPr bwMode="auto">
          <a:xfrm>
            <a:off x="6397586"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4" name="Oval 580"/>
          <p:cNvSpPr>
            <a:spLocks noChangeArrowheads="1"/>
          </p:cNvSpPr>
          <p:nvPr userDrawn="1"/>
        </p:nvSpPr>
        <p:spPr bwMode="auto">
          <a:xfrm>
            <a:off x="6485408" y="2695700"/>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5" name="Oval 581"/>
          <p:cNvSpPr>
            <a:spLocks noChangeArrowheads="1"/>
          </p:cNvSpPr>
          <p:nvPr userDrawn="1"/>
        </p:nvSpPr>
        <p:spPr bwMode="auto">
          <a:xfrm>
            <a:off x="6576815"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6" name="Oval 582"/>
          <p:cNvSpPr>
            <a:spLocks noChangeArrowheads="1"/>
          </p:cNvSpPr>
          <p:nvPr userDrawn="1"/>
        </p:nvSpPr>
        <p:spPr bwMode="auto">
          <a:xfrm>
            <a:off x="6668222" y="2695700"/>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7" name="Oval 583"/>
          <p:cNvSpPr>
            <a:spLocks noChangeArrowheads="1"/>
          </p:cNvSpPr>
          <p:nvPr userDrawn="1"/>
        </p:nvSpPr>
        <p:spPr bwMode="auto">
          <a:xfrm>
            <a:off x="6754252" y="2695700"/>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8" name="Oval 584"/>
          <p:cNvSpPr>
            <a:spLocks noChangeArrowheads="1"/>
          </p:cNvSpPr>
          <p:nvPr userDrawn="1"/>
        </p:nvSpPr>
        <p:spPr bwMode="auto">
          <a:xfrm>
            <a:off x="6847451"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29" name="Oval 585"/>
          <p:cNvSpPr>
            <a:spLocks noChangeArrowheads="1"/>
          </p:cNvSpPr>
          <p:nvPr userDrawn="1"/>
        </p:nvSpPr>
        <p:spPr bwMode="auto">
          <a:xfrm>
            <a:off x="6940650"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0" name="Oval 586"/>
          <p:cNvSpPr>
            <a:spLocks noChangeArrowheads="1"/>
          </p:cNvSpPr>
          <p:nvPr userDrawn="1"/>
        </p:nvSpPr>
        <p:spPr bwMode="auto">
          <a:xfrm>
            <a:off x="7026680"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1" name="Oval 587"/>
          <p:cNvSpPr>
            <a:spLocks noChangeArrowheads="1"/>
          </p:cNvSpPr>
          <p:nvPr userDrawn="1"/>
        </p:nvSpPr>
        <p:spPr bwMode="auto">
          <a:xfrm>
            <a:off x="7118086"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2" name="Oval 588"/>
          <p:cNvSpPr>
            <a:spLocks noChangeArrowheads="1"/>
          </p:cNvSpPr>
          <p:nvPr userDrawn="1"/>
        </p:nvSpPr>
        <p:spPr bwMode="auto">
          <a:xfrm>
            <a:off x="7209493" y="2695700"/>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3" name="Oval 589"/>
          <p:cNvSpPr>
            <a:spLocks noChangeArrowheads="1"/>
          </p:cNvSpPr>
          <p:nvPr userDrawn="1"/>
        </p:nvSpPr>
        <p:spPr bwMode="auto">
          <a:xfrm>
            <a:off x="7299108" y="2695700"/>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4" name="Oval 590"/>
          <p:cNvSpPr>
            <a:spLocks noChangeArrowheads="1"/>
          </p:cNvSpPr>
          <p:nvPr userDrawn="1"/>
        </p:nvSpPr>
        <p:spPr bwMode="auto">
          <a:xfrm>
            <a:off x="7390514"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5" name="Oval 591"/>
          <p:cNvSpPr>
            <a:spLocks noChangeArrowheads="1"/>
          </p:cNvSpPr>
          <p:nvPr userDrawn="1"/>
        </p:nvSpPr>
        <p:spPr bwMode="auto">
          <a:xfrm>
            <a:off x="7481921"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6" name="Oval 592"/>
          <p:cNvSpPr>
            <a:spLocks noChangeArrowheads="1"/>
          </p:cNvSpPr>
          <p:nvPr userDrawn="1"/>
        </p:nvSpPr>
        <p:spPr bwMode="auto">
          <a:xfrm>
            <a:off x="7573328"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7" name="Oval 593"/>
          <p:cNvSpPr>
            <a:spLocks noChangeArrowheads="1"/>
          </p:cNvSpPr>
          <p:nvPr userDrawn="1"/>
        </p:nvSpPr>
        <p:spPr bwMode="auto">
          <a:xfrm>
            <a:off x="7659358"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8" name="Oval 594"/>
          <p:cNvSpPr>
            <a:spLocks noChangeArrowheads="1"/>
          </p:cNvSpPr>
          <p:nvPr userDrawn="1"/>
        </p:nvSpPr>
        <p:spPr bwMode="auto">
          <a:xfrm>
            <a:off x="7752557"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39" name="Oval 595"/>
          <p:cNvSpPr>
            <a:spLocks noChangeArrowheads="1"/>
          </p:cNvSpPr>
          <p:nvPr userDrawn="1"/>
        </p:nvSpPr>
        <p:spPr bwMode="auto">
          <a:xfrm>
            <a:off x="7845756"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0" name="Oval 596"/>
          <p:cNvSpPr>
            <a:spLocks noChangeArrowheads="1"/>
          </p:cNvSpPr>
          <p:nvPr userDrawn="1"/>
        </p:nvSpPr>
        <p:spPr bwMode="auto">
          <a:xfrm>
            <a:off x="7931786"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1" name="Oval 597"/>
          <p:cNvSpPr>
            <a:spLocks noChangeArrowheads="1"/>
          </p:cNvSpPr>
          <p:nvPr userDrawn="1"/>
        </p:nvSpPr>
        <p:spPr bwMode="auto">
          <a:xfrm>
            <a:off x="8023193" y="2695700"/>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2" name="Oval 598"/>
          <p:cNvSpPr>
            <a:spLocks noChangeArrowheads="1"/>
          </p:cNvSpPr>
          <p:nvPr userDrawn="1"/>
        </p:nvSpPr>
        <p:spPr bwMode="auto">
          <a:xfrm>
            <a:off x="8114600" y="2695700"/>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3" name="Oval 599"/>
          <p:cNvSpPr>
            <a:spLocks noChangeArrowheads="1"/>
          </p:cNvSpPr>
          <p:nvPr userDrawn="1"/>
        </p:nvSpPr>
        <p:spPr bwMode="auto">
          <a:xfrm>
            <a:off x="5494272"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4" name="Oval 600"/>
          <p:cNvSpPr>
            <a:spLocks noChangeArrowheads="1"/>
          </p:cNvSpPr>
          <p:nvPr userDrawn="1"/>
        </p:nvSpPr>
        <p:spPr bwMode="auto">
          <a:xfrm>
            <a:off x="5585679"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5" name="Oval 601"/>
          <p:cNvSpPr>
            <a:spLocks noChangeArrowheads="1"/>
          </p:cNvSpPr>
          <p:nvPr userDrawn="1"/>
        </p:nvSpPr>
        <p:spPr bwMode="auto">
          <a:xfrm>
            <a:off x="5673501"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6" name="Oval 602"/>
          <p:cNvSpPr>
            <a:spLocks noChangeArrowheads="1"/>
          </p:cNvSpPr>
          <p:nvPr userDrawn="1"/>
        </p:nvSpPr>
        <p:spPr bwMode="auto">
          <a:xfrm>
            <a:off x="5764908"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7" name="Oval 603"/>
          <p:cNvSpPr>
            <a:spLocks noChangeArrowheads="1"/>
          </p:cNvSpPr>
          <p:nvPr userDrawn="1"/>
        </p:nvSpPr>
        <p:spPr bwMode="auto">
          <a:xfrm>
            <a:off x="5858107" y="2781730"/>
            <a:ext cx="75276"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8" name="Oval 604"/>
          <p:cNvSpPr>
            <a:spLocks noChangeArrowheads="1"/>
          </p:cNvSpPr>
          <p:nvPr userDrawn="1"/>
        </p:nvSpPr>
        <p:spPr bwMode="auto">
          <a:xfrm>
            <a:off x="5944137" y="278173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49" name="Oval 605"/>
          <p:cNvSpPr>
            <a:spLocks noChangeArrowheads="1"/>
          </p:cNvSpPr>
          <p:nvPr userDrawn="1"/>
        </p:nvSpPr>
        <p:spPr bwMode="auto">
          <a:xfrm>
            <a:off x="6035543" y="278173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0" name="Oval 606"/>
          <p:cNvSpPr>
            <a:spLocks noChangeArrowheads="1"/>
          </p:cNvSpPr>
          <p:nvPr userDrawn="1"/>
        </p:nvSpPr>
        <p:spPr bwMode="auto">
          <a:xfrm>
            <a:off x="6126950"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1" name="Oval 607"/>
          <p:cNvSpPr>
            <a:spLocks noChangeArrowheads="1"/>
          </p:cNvSpPr>
          <p:nvPr userDrawn="1"/>
        </p:nvSpPr>
        <p:spPr bwMode="auto">
          <a:xfrm>
            <a:off x="6212980" y="278173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2" name="Oval 609"/>
          <p:cNvSpPr>
            <a:spLocks noChangeArrowheads="1"/>
          </p:cNvSpPr>
          <p:nvPr userDrawn="1"/>
        </p:nvSpPr>
        <p:spPr bwMode="auto">
          <a:xfrm>
            <a:off x="6306179"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3" name="Oval 610"/>
          <p:cNvSpPr>
            <a:spLocks noChangeArrowheads="1"/>
          </p:cNvSpPr>
          <p:nvPr userDrawn="1"/>
        </p:nvSpPr>
        <p:spPr bwMode="auto">
          <a:xfrm>
            <a:off x="6397586"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4" name="Oval 611"/>
          <p:cNvSpPr>
            <a:spLocks noChangeArrowheads="1"/>
          </p:cNvSpPr>
          <p:nvPr userDrawn="1"/>
        </p:nvSpPr>
        <p:spPr bwMode="auto">
          <a:xfrm>
            <a:off x="6485408" y="278173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5" name="Oval 612"/>
          <p:cNvSpPr>
            <a:spLocks noChangeArrowheads="1"/>
          </p:cNvSpPr>
          <p:nvPr userDrawn="1"/>
        </p:nvSpPr>
        <p:spPr bwMode="auto">
          <a:xfrm>
            <a:off x="6576815"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6" name="Oval 613"/>
          <p:cNvSpPr>
            <a:spLocks noChangeArrowheads="1"/>
          </p:cNvSpPr>
          <p:nvPr userDrawn="1"/>
        </p:nvSpPr>
        <p:spPr bwMode="auto">
          <a:xfrm>
            <a:off x="6668221" y="2781730"/>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7" name="Oval 614"/>
          <p:cNvSpPr>
            <a:spLocks noChangeArrowheads="1"/>
          </p:cNvSpPr>
          <p:nvPr userDrawn="1"/>
        </p:nvSpPr>
        <p:spPr bwMode="auto">
          <a:xfrm>
            <a:off x="6754251" y="278173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8" name="Oval 615"/>
          <p:cNvSpPr>
            <a:spLocks noChangeArrowheads="1"/>
          </p:cNvSpPr>
          <p:nvPr userDrawn="1"/>
        </p:nvSpPr>
        <p:spPr bwMode="auto">
          <a:xfrm>
            <a:off x="6847450"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59" name="Oval 616"/>
          <p:cNvSpPr>
            <a:spLocks noChangeArrowheads="1"/>
          </p:cNvSpPr>
          <p:nvPr userDrawn="1"/>
        </p:nvSpPr>
        <p:spPr bwMode="auto">
          <a:xfrm>
            <a:off x="6940649"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0" name="Oval 617"/>
          <p:cNvSpPr>
            <a:spLocks noChangeArrowheads="1"/>
          </p:cNvSpPr>
          <p:nvPr userDrawn="1"/>
        </p:nvSpPr>
        <p:spPr bwMode="auto">
          <a:xfrm>
            <a:off x="7026679"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1" name="Oval 618"/>
          <p:cNvSpPr>
            <a:spLocks noChangeArrowheads="1"/>
          </p:cNvSpPr>
          <p:nvPr userDrawn="1"/>
        </p:nvSpPr>
        <p:spPr bwMode="auto">
          <a:xfrm>
            <a:off x="7118086"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2" name="Oval 619"/>
          <p:cNvSpPr>
            <a:spLocks noChangeArrowheads="1"/>
          </p:cNvSpPr>
          <p:nvPr userDrawn="1"/>
        </p:nvSpPr>
        <p:spPr bwMode="auto">
          <a:xfrm>
            <a:off x="7209493" y="2781730"/>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3" name="Oval 620"/>
          <p:cNvSpPr>
            <a:spLocks noChangeArrowheads="1"/>
          </p:cNvSpPr>
          <p:nvPr userDrawn="1"/>
        </p:nvSpPr>
        <p:spPr bwMode="auto">
          <a:xfrm>
            <a:off x="7299107" y="278173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4" name="Oval 621"/>
          <p:cNvSpPr>
            <a:spLocks noChangeArrowheads="1"/>
          </p:cNvSpPr>
          <p:nvPr userDrawn="1"/>
        </p:nvSpPr>
        <p:spPr bwMode="auto">
          <a:xfrm>
            <a:off x="7390514"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5" name="Oval 622"/>
          <p:cNvSpPr>
            <a:spLocks noChangeArrowheads="1"/>
          </p:cNvSpPr>
          <p:nvPr userDrawn="1"/>
        </p:nvSpPr>
        <p:spPr bwMode="auto">
          <a:xfrm>
            <a:off x="7481921"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6" name="Oval 623"/>
          <p:cNvSpPr>
            <a:spLocks noChangeArrowheads="1"/>
          </p:cNvSpPr>
          <p:nvPr userDrawn="1"/>
        </p:nvSpPr>
        <p:spPr bwMode="auto">
          <a:xfrm>
            <a:off x="7573328"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7" name="Oval 624"/>
          <p:cNvSpPr>
            <a:spLocks noChangeArrowheads="1"/>
          </p:cNvSpPr>
          <p:nvPr userDrawn="1"/>
        </p:nvSpPr>
        <p:spPr bwMode="auto">
          <a:xfrm>
            <a:off x="7659358"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8" name="Oval 625"/>
          <p:cNvSpPr>
            <a:spLocks noChangeArrowheads="1"/>
          </p:cNvSpPr>
          <p:nvPr userDrawn="1"/>
        </p:nvSpPr>
        <p:spPr bwMode="auto">
          <a:xfrm>
            <a:off x="7752557"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69" name="Oval 626"/>
          <p:cNvSpPr>
            <a:spLocks noChangeArrowheads="1"/>
          </p:cNvSpPr>
          <p:nvPr userDrawn="1"/>
        </p:nvSpPr>
        <p:spPr bwMode="auto">
          <a:xfrm>
            <a:off x="7845756"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0" name="Oval 627"/>
          <p:cNvSpPr>
            <a:spLocks noChangeArrowheads="1"/>
          </p:cNvSpPr>
          <p:nvPr userDrawn="1"/>
        </p:nvSpPr>
        <p:spPr bwMode="auto">
          <a:xfrm>
            <a:off x="7931786"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1" name="Oval 628"/>
          <p:cNvSpPr>
            <a:spLocks noChangeArrowheads="1"/>
          </p:cNvSpPr>
          <p:nvPr userDrawn="1"/>
        </p:nvSpPr>
        <p:spPr bwMode="auto">
          <a:xfrm>
            <a:off x="8023192"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2" name="Oval 629"/>
          <p:cNvSpPr>
            <a:spLocks noChangeArrowheads="1"/>
          </p:cNvSpPr>
          <p:nvPr userDrawn="1"/>
        </p:nvSpPr>
        <p:spPr bwMode="auto">
          <a:xfrm>
            <a:off x="8114599" y="278173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3" name="Oval 630"/>
          <p:cNvSpPr>
            <a:spLocks noChangeArrowheads="1"/>
          </p:cNvSpPr>
          <p:nvPr userDrawn="1"/>
        </p:nvSpPr>
        <p:spPr bwMode="auto">
          <a:xfrm>
            <a:off x="8202421" y="278173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4" name="Oval 631"/>
          <p:cNvSpPr>
            <a:spLocks noChangeArrowheads="1"/>
          </p:cNvSpPr>
          <p:nvPr userDrawn="1"/>
        </p:nvSpPr>
        <p:spPr bwMode="auto">
          <a:xfrm>
            <a:off x="8293828" y="278173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5" name="Oval 632"/>
          <p:cNvSpPr>
            <a:spLocks noChangeArrowheads="1"/>
          </p:cNvSpPr>
          <p:nvPr userDrawn="1"/>
        </p:nvSpPr>
        <p:spPr bwMode="auto">
          <a:xfrm>
            <a:off x="5494272"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6" name="Oval 633"/>
          <p:cNvSpPr>
            <a:spLocks noChangeArrowheads="1"/>
          </p:cNvSpPr>
          <p:nvPr userDrawn="1"/>
        </p:nvSpPr>
        <p:spPr bwMode="auto">
          <a:xfrm>
            <a:off x="5585678"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7" name="Oval 634"/>
          <p:cNvSpPr>
            <a:spLocks noChangeArrowheads="1"/>
          </p:cNvSpPr>
          <p:nvPr userDrawn="1"/>
        </p:nvSpPr>
        <p:spPr bwMode="auto">
          <a:xfrm>
            <a:off x="5673501"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8" name="Oval 635"/>
          <p:cNvSpPr>
            <a:spLocks noChangeArrowheads="1"/>
          </p:cNvSpPr>
          <p:nvPr userDrawn="1"/>
        </p:nvSpPr>
        <p:spPr bwMode="auto">
          <a:xfrm>
            <a:off x="5764907"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79" name="Oval 636"/>
          <p:cNvSpPr>
            <a:spLocks noChangeArrowheads="1"/>
          </p:cNvSpPr>
          <p:nvPr userDrawn="1"/>
        </p:nvSpPr>
        <p:spPr bwMode="auto">
          <a:xfrm>
            <a:off x="5858107" y="2873137"/>
            <a:ext cx="75276"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0" name="Oval 637"/>
          <p:cNvSpPr>
            <a:spLocks noChangeArrowheads="1"/>
          </p:cNvSpPr>
          <p:nvPr userDrawn="1"/>
        </p:nvSpPr>
        <p:spPr bwMode="auto">
          <a:xfrm>
            <a:off x="5944136" y="2873137"/>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1" name="Oval 638"/>
          <p:cNvSpPr>
            <a:spLocks noChangeArrowheads="1"/>
          </p:cNvSpPr>
          <p:nvPr userDrawn="1"/>
        </p:nvSpPr>
        <p:spPr bwMode="auto">
          <a:xfrm>
            <a:off x="6035543" y="2873137"/>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2" name="Oval 639"/>
          <p:cNvSpPr>
            <a:spLocks noChangeArrowheads="1"/>
          </p:cNvSpPr>
          <p:nvPr userDrawn="1"/>
        </p:nvSpPr>
        <p:spPr bwMode="auto">
          <a:xfrm>
            <a:off x="6126950"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3" name="Oval 640"/>
          <p:cNvSpPr>
            <a:spLocks noChangeArrowheads="1"/>
          </p:cNvSpPr>
          <p:nvPr userDrawn="1"/>
        </p:nvSpPr>
        <p:spPr bwMode="auto">
          <a:xfrm>
            <a:off x="6212980" y="2873137"/>
            <a:ext cx="8423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4" name="Oval 641"/>
          <p:cNvSpPr>
            <a:spLocks noChangeArrowheads="1"/>
          </p:cNvSpPr>
          <p:nvPr userDrawn="1"/>
        </p:nvSpPr>
        <p:spPr bwMode="auto">
          <a:xfrm>
            <a:off x="6306179"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5" name="Oval 642"/>
          <p:cNvSpPr>
            <a:spLocks noChangeArrowheads="1"/>
          </p:cNvSpPr>
          <p:nvPr userDrawn="1"/>
        </p:nvSpPr>
        <p:spPr bwMode="auto">
          <a:xfrm>
            <a:off x="6397586"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6" name="Oval 643"/>
          <p:cNvSpPr>
            <a:spLocks noChangeArrowheads="1"/>
          </p:cNvSpPr>
          <p:nvPr userDrawn="1"/>
        </p:nvSpPr>
        <p:spPr bwMode="auto">
          <a:xfrm>
            <a:off x="6485408" y="2873137"/>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7" name="Oval 644"/>
          <p:cNvSpPr>
            <a:spLocks noChangeArrowheads="1"/>
          </p:cNvSpPr>
          <p:nvPr userDrawn="1"/>
        </p:nvSpPr>
        <p:spPr bwMode="auto">
          <a:xfrm>
            <a:off x="6576815"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8" name="Oval 645"/>
          <p:cNvSpPr>
            <a:spLocks noChangeArrowheads="1"/>
          </p:cNvSpPr>
          <p:nvPr userDrawn="1"/>
        </p:nvSpPr>
        <p:spPr bwMode="auto">
          <a:xfrm>
            <a:off x="6668221" y="2873137"/>
            <a:ext cx="78861"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89" name="Oval 646"/>
          <p:cNvSpPr>
            <a:spLocks noChangeArrowheads="1"/>
          </p:cNvSpPr>
          <p:nvPr userDrawn="1"/>
        </p:nvSpPr>
        <p:spPr bwMode="auto">
          <a:xfrm>
            <a:off x="6754251" y="2873137"/>
            <a:ext cx="8423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0" name="Oval 647"/>
          <p:cNvSpPr>
            <a:spLocks noChangeArrowheads="1"/>
          </p:cNvSpPr>
          <p:nvPr userDrawn="1"/>
        </p:nvSpPr>
        <p:spPr bwMode="auto">
          <a:xfrm>
            <a:off x="6847450"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1" name="Oval 648"/>
          <p:cNvSpPr>
            <a:spLocks noChangeArrowheads="1"/>
          </p:cNvSpPr>
          <p:nvPr userDrawn="1"/>
        </p:nvSpPr>
        <p:spPr bwMode="auto">
          <a:xfrm>
            <a:off x="6940649"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2" name="Oval 649"/>
          <p:cNvSpPr>
            <a:spLocks noChangeArrowheads="1"/>
          </p:cNvSpPr>
          <p:nvPr userDrawn="1"/>
        </p:nvSpPr>
        <p:spPr bwMode="auto">
          <a:xfrm>
            <a:off x="7026679"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3" name="Oval 650"/>
          <p:cNvSpPr>
            <a:spLocks noChangeArrowheads="1"/>
          </p:cNvSpPr>
          <p:nvPr userDrawn="1"/>
        </p:nvSpPr>
        <p:spPr bwMode="auto">
          <a:xfrm>
            <a:off x="7118086"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4" name="Oval 651"/>
          <p:cNvSpPr>
            <a:spLocks noChangeArrowheads="1"/>
          </p:cNvSpPr>
          <p:nvPr userDrawn="1"/>
        </p:nvSpPr>
        <p:spPr bwMode="auto">
          <a:xfrm>
            <a:off x="7209493" y="2873137"/>
            <a:ext cx="78861"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5" name="Oval 652"/>
          <p:cNvSpPr>
            <a:spLocks noChangeArrowheads="1"/>
          </p:cNvSpPr>
          <p:nvPr userDrawn="1"/>
        </p:nvSpPr>
        <p:spPr bwMode="auto">
          <a:xfrm>
            <a:off x="7299107" y="2873137"/>
            <a:ext cx="80653"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6" name="Oval 653"/>
          <p:cNvSpPr>
            <a:spLocks noChangeArrowheads="1"/>
          </p:cNvSpPr>
          <p:nvPr userDrawn="1"/>
        </p:nvSpPr>
        <p:spPr bwMode="auto">
          <a:xfrm>
            <a:off x="7390514"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7" name="Oval 654"/>
          <p:cNvSpPr>
            <a:spLocks noChangeArrowheads="1"/>
          </p:cNvSpPr>
          <p:nvPr userDrawn="1"/>
        </p:nvSpPr>
        <p:spPr bwMode="auto">
          <a:xfrm>
            <a:off x="7481921"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8" name="Oval 655"/>
          <p:cNvSpPr>
            <a:spLocks noChangeArrowheads="1"/>
          </p:cNvSpPr>
          <p:nvPr userDrawn="1"/>
        </p:nvSpPr>
        <p:spPr bwMode="auto">
          <a:xfrm>
            <a:off x="7573328"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199" name="Oval 656"/>
          <p:cNvSpPr>
            <a:spLocks noChangeArrowheads="1"/>
          </p:cNvSpPr>
          <p:nvPr userDrawn="1"/>
        </p:nvSpPr>
        <p:spPr bwMode="auto">
          <a:xfrm>
            <a:off x="7659358"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0" name="Oval 657"/>
          <p:cNvSpPr>
            <a:spLocks noChangeArrowheads="1"/>
          </p:cNvSpPr>
          <p:nvPr userDrawn="1"/>
        </p:nvSpPr>
        <p:spPr bwMode="auto">
          <a:xfrm>
            <a:off x="7752557"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1" name="Oval 658"/>
          <p:cNvSpPr>
            <a:spLocks noChangeArrowheads="1"/>
          </p:cNvSpPr>
          <p:nvPr userDrawn="1"/>
        </p:nvSpPr>
        <p:spPr bwMode="auto">
          <a:xfrm>
            <a:off x="7845756"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2" name="Oval 659"/>
          <p:cNvSpPr>
            <a:spLocks noChangeArrowheads="1"/>
          </p:cNvSpPr>
          <p:nvPr userDrawn="1"/>
        </p:nvSpPr>
        <p:spPr bwMode="auto">
          <a:xfrm>
            <a:off x="7931786"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3" name="Oval 660"/>
          <p:cNvSpPr>
            <a:spLocks noChangeArrowheads="1"/>
          </p:cNvSpPr>
          <p:nvPr userDrawn="1"/>
        </p:nvSpPr>
        <p:spPr bwMode="auto">
          <a:xfrm>
            <a:off x="8023192"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4" name="Oval 661"/>
          <p:cNvSpPr>
            <a:spLocks noChangeArrowheads="1"/>
          </p:cNvSpPr>
          <p:nvPr userDrawn="1"/>
        </p:nvSpPr>
        <p:spPr bwMode="auto">
          <a:xfrm>
            <a:off x="8114599" y="2873137"/>
            <a:ext cx="7706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5" name="Oval 662"/>
          <p:cNvSpPr>
            <a:spLocks noChangeArrowheads="1"/>
          </p:cNvSpPr>
          <p:nvPr userDrawn="1"/>
        </p:nvSpPr>
        <p:spPr bwMode="auto">
          <a:xfrm>
            <a:off x="8202421" y="2873137"/>
            <a:ext cx="82445"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6" name="Oval 663"/>
          <p:cNvSpPr>
            <a:spLocks noChangeArrowheads="1"/>
          </p:cNvSpPr>
          <p:nvPr userDrawn="1"/>
        </p:nvSpPr>
        <p:spPr bwMode="auto">
          <a:xfrm>
            <a:off x="8293828" y="2873137"/>
            <a:ext cx="84238" cy="8423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7" name="Oval 664"/>
          <p:cNvSpPr>
            <a:spLocks noChangeArrowheads="1"/>
          </p:cNvSpPr>
          <p:nvPr userDrawn="1"/>
        </p:nvSpPr>
        <p:spPr bwMode="auto">
          <a:xfrm>
            <a:off x="5402865"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8" name="Oval 665"/>
          <p:cNvSpPr>
            <a:spLocks noChangeArrowheads="1"/>
          </p:cNvSpPr>
          <p:nvPr userDrawn="1"/>
        </p:nvSpPr>
        <p:spPr bwMode="auto">
          <a:xfrm>
            <a:off x="5494272"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09" name="Oval 666"/>
          <p:cNvSpPr>
            <a:spLocks noChangeArrowheads="1"/>
          </p:cNvSpPr>
          <p:nvPr userDrawn="1"/>
        </p:nvSpPr>
        <p:spPr bwMode="auto">
          <a:xfrm>
            <a:off x="5585678"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0" name="Oval 667"/>
          <p:cNvSpPr>
            <a:spLocks noChangeArrowheads="1"/>
          </p:cNvSpPr>
          <p:nvPr userDrawn="1"/>
        </p:nvSpPr>
        <p:spPr bwMode="auto">
          <a:xfrm>
            <a:off x="5673501"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1" name="Oval 668"/>
          <p:cNvSpPr>
            <a:spLocks noChangeArrowheads="1"/>
          </p:cNvSpPr>
          <p:nvPr userDrawn="1"/>
        </p:nvSpPr>
        <p:spPr bwMode="auto">
          <a:xfrm>
            <a:off x="5764907"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2" name="Oval 669"/>
          <p:cNvSpPr>
            <a:spLocks noChangeArrowheads="1"/>
          </p:cNvSpPr>
          <p:nvPr userDrawn="1"/>
        </p:nvSpPr>
        <p:spPr bwMode="auto">
          <a:xfrm>
            <a:off x="5858107" y="2966336"/>
            <a:ext cx="75276"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3" name="Oval 670"/>
          <p:cNvSpPr>
            <a:spLocks noChangeArrowheads="1"/>
          </p:cNvSpPr>
          <p:nvPr userDrawn="1"/>
        </p:nvSpPr>
        <p:spPr bwMode="auto">
          <a:xfrm>
            <a:off x="5944136" y="29663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4" name="Oval 671"/>
          <p:cNvSpPr>
            <a:spLocks noChangeArrowheads="1"/>
          </p:cNvSpPr>
          <p:nvPr userDrawn="1"/>
        </p:nvSpPr>
        <p:spPr bwMode="auto">
          <a:xfrm>
            <a:off x="6035543" y="29663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5" name="Oval 672"/>
          <p:cNvSpPr>
            <a:spLocks noChangeArrowheads="1"/>
          </p:cNvSpPr>
          <p:nvPr userDrawn="1"/>
        </p:nvSpPr>
        <p:spPr bwMode="auto">
          <a:xfrm>
            <a:off x="6126950"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6" name="Oval 673"/>
          <p:cNvSpPr>
            <a:spLocks noChangeArrowheads="1"/>
          </p:cNvSpPr>
          <p:nvPr userDrawn="1"/>
        </p:nvSpPr>
        <p:spPr bwMode="auto">
          <a:xfrm>
            <a:off x="6212980" y="2966336"/>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7" name="Oval 674"/>
          <p:cNvSpPr>
            <a:spLocks noChangeArrowheads="1"/>
          </p:cNvSpPr>
          <p:nvPr userDrawn="1"/>
        </p:nvSpPr>
        <p:spPr bwMode="auto">
          <a:xfrm>
            <a:off x="6306179"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8" name="Oval 675"/>
          <p:cNvSpPr>
            <a:spLocks noChangeArrowheads="1"/>
          </p:cNvSpPr>
          <p:nvPr userDrawn="1"/>
        </p:nvSpPr>
        <p:spPr bwMode="auto">
          <a:xfrm>
            <a:off x="6397586"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19" name="Oval 676"/>
          <p:cNvSpPr>
            <a:spLocks noChangeArrowheads="1"/>
          </p:cNvSpPr>
          <p:nvPr userDrawn="1"/>
        </p:nvSpPr>
        <p:spPr bwMode="auto">
          <a:xfrm>
            <a:off x="6485408" y="29663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0" name="Oval 677"/>
          <p:cNvSpPr>
            <a:spLocks noChangeArrowheads="1"/>
          </p:cNvSpPr>
          <p:nvPr userDrawn="1"/>
        </p:nvSpPr>
        <p:spPr bwMode="auto">
          <a:xfrm>
            <a:off x="6576815"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1" name="Oval 678"/>
          <p:cNvSpPr>
            <a:spLocks noChangeArrowheads="1"/>
          </p:cNvSpPr>
          <p:nvPr userDrawn="1"/>
        </p:nvSpPr>
        <p:spPr bwMode="auto">
          <a:xfrm>
            <a:off x="6668221" y="2966336"/>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2" name="Oval 679"/>
          <p:cNvSpPr>
            <a:spLocks noChangeArrowheads="1"/>
          </p:cNvSpPr>
          <p:nvPr userDrawn="1"/>
        </p:nvSpPr>
        <p:spPr bwMode="auto">
          <a:xfrm>
            <a:off x="6754251" y="2966336"/>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3" name="Oval 680"/>
          <p:cNvSpPr>
            <a:spLocks noChangeArrowheads="1"/>
          </p:cNvSpPr>
          <p:nvPr userDrawn="1"/>
        </p:nvSpPr>
        <p:spPr bwMode="auto">
          <a:xfrm>
            <a:off x="6847450"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4" name="Oval 681"/>
          <p:cNvSpPr>
            <a:spLocks noChangeArrowheads="1"/>
          </p:cNvSpPr>
          <p:nvPr userDrawn="1"/>
        </p:nvSpPr>
        <p:spPr bwMode="auto">
          <a:xfrm>
            <a:off x="6940649"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5" name="Oval 682"/>
          <p:cNvSpPr>
            <a:spLocks noChangeArrowheads="1"/>
          </p:cNvSpPr>
          <p:nvPr userDrawn="1"/>
        </p:nvSpPr>
        <p:spPr bwMode="auto">
          <a:xfrm>
            <a:off x="7026679"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6" name="Oval 683"/>
          <p:cNvSpPr>
            <a:spLocks noChangeArrowheads="1"/>
          </p:cNvSpPr>
          <p:nvPr userDrawn="1"/>
        </p:nvSpPr>
        <p:spPr bwMode="auto">
          <a:xfrm>
            <a:off x="7118086"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7" name="Oval 684"/>
          <p:cNvSpPr>
            <a:spLocks noChangeArrowheads="1"/>
          </p:cNvSpPr>
          <p:nvPr userDrawn="1"/>
        </p:nvSpPr>
        <p:spPr bwMode="auto">
          <a:xfrm>
            <a:off x="7209493" y="2966336"/>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8" name="Oval 685"/>
          <p:cNvSpPr>
            <a:spLocks noChangeArrowheads="1"/>
          </p:cNvSpPr>
          <p:nvPr userDrawn="1"/>
        </p:nvSpPr>
        <p:spPr bwMode="auto">
          <a:xfrm>
            <a:off x="7299107" y="2966336"/>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29" name="Oval 686"/>
          <p:cNvSpPr>
            <a:spLocks noChangeArrowheads="1"/>
          </p:cNvSpPr>
          <p:nvPr userDrawn="1"/>
        </p:nvSpPr>
        <p:spPr bwMode="auto">
          <a:xfrm>
            <a:off x="7390514"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0" name="Oval 687"/>
          <p:cNvSpPr>
            <a:spLocks noChangeArrowheads="1"/>
          </p:cNvSpPr>
          <p:nvPr userDrawn="1"/>
        </p:nvSpPr>
        <p:spPr bwMode="auto">
          <a:xfrm>
            <a:off x="7481921"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1" name="Oval 688"/>
          <p:cNvSpPr>
            <a:spLocks noChangeArrowheads="1"/>
          </p:cNvSpPr>
          <p:nvPr userDrawn="1"/>
        </p:nvSpPr>
        <p:spPr bwMode="auto">
          <a:xfrm>
            <a:off x="7573328"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2" name="Oval 689"/>
          <p:cNvSpPr>
            <a:spLocks noChangeArrowheads="1"/>
          </p:cNvSpPr>
          <p:nvPr userDrawn="1"/>
        </p:nvSpPr>
        <p:spPr bwMode="auto">
          <a:xfrm>
            <a:off x="7659358"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3" name="Oval 690"/>
          <p:cNvSpPr>
            <a:spLocks noChangeArrowheads="1"/>
          </p:cNvSpPr>
          <p:nvPr userDrawn="1"/>
        </p:nvSpPr>
        <p:spPr bwMode="auto">
          <a:xfrm>
            <a:off x="7752557"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4" name="Oval 691"/>
          <p:cNvSpPr>
            <a:spLocks noChangeArrowheads="1"/>
          </p:cNvSpPr>
          <p:nvPr userDrawn="1"/>
        </p:nvSpPr>
        <p:spPr bwMode="auto">
          <a:xfrm>
            <a:off x="7845756"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5" name="Oval 692"/>
          <p:cNvSpPr>
            <a:spLocks noChangeArrowheads="1"/>
          </p:cNvSpPr>
          <p:nvPr userDrawn="1"/>
        </p:nvSpPr>
        <p:spPr bwMode="auto">
          <a:xfrm>
            <a:off x="7931786"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6" name="Oval 693"/>
          <p:cNvSpPr>
            <a:spLocks noChangeArrowheads="1"/>
          </p:cNvSpPr>
          <p:nvPr userDrawn="1"/>
        </p:nvSpPr>
        <p:spPr bwMode="auto">
          <a:xfrm>
            <a:off x="8023192"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7" name="Oval 694"/>
          <p:cNvSpPr>
            <a:spLocks noChangeArrowheads="1"/>
          </p:cNvSpPr>
          <p:nvPr userDrawn="1"/>
        </p:nvSpPr>
        <p:spPr bwMode="auto">
          <a:xfrm>
            <a:off x="8114599"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8" name="Oval 695"/>
          <p:cNvSpPr>
            <a:spLocks noChangeArrowheads="1"/>
          </p:cNvSpPr>
          <p:nvPr userDrawn="1"/>
        </p:nvSpPr>
        <p:spPr bwMode="auto">
          <a:xfrm>
            <a:off x="8202421"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39" name="Oval 696"/>
          <p:cNvSpPr>
            <a:spLocks noChangeArrowheads="1"/>
          </p:cNvSpPr>
          <p:nvPr userDrawn="1"/>
        </p:nvSpPr>
        <p:spPr bwMode="auto">
          <a:xfrm>
            <a:off x="8293828" y="2966336"/>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0" name="Oval 697"/>
          <p:cNvSpPr>
            <a:spLocks noChangeArrowheads="1"/>
          </p:cNvSpPr>
          <p:nvPr userDrawn="1"/>
        </p:nvSpPr>
        <p:spPr bwMode="auto">
          <a:xfrm>
            <a:off x="8387027" y="2966336"/>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1" name="Oval 698"/>
          <p:cNvSpPr>
            <a:spLocks noChangeArrowheads="1"/>
          </p:cNvSpPr>
          <p:nvPr userDrawn="1"/>
        </p:nvSpPr>
        <p:spPr bwMode="auto">
          <a:xfrm>
            <a:off x="8473057"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2" name="Oval 699"/>
          <p:cNvSpPr>
            <a:spLocks noChangeArrowheads="1"/>
          </p:cNvSpPr>
          <p:nvPr userDrawn="1"/>
        </p:nvSpPr>
        <p:spPr bwMode="auto">
          <a:xfrm>
            <a:off x="8566256" y="2966336"/>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3" name="Oval 700"/>
          <p:cNvSpPr>
            <a:spLocks noChangeArrowheads="1"/>
          </p:cNvSpPr>
          <p:nvPr userDrawn="1"/>
        </p:nvSpPr>
        <p:spPr bwMode="auto">
          <a:xfrm>
            <a:off x="8657663" y="2966336"/>
            <a:ext cx="75276"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4" name="Oval 701"/>
          <p:cNvSpPr>
            <a:spLocks noChangeArrowheads="1"/>
          </p:cNvSpPr>
          <p:nvPr userDrawn="1"/>
        </p:nvSpPr>
        <p:spPr bwMode="auto">
          <a:xfrm>
            <a:off x="8743693" y="2966336"/>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5" name="Oval 702"/>
          <p:cNvSpPr>
            <a:spLocks noChangeArrowheads="1"/>
          </p:cNvSpPr>
          <p:nvPr userDrawn="1"/>
        </p:nvSpPr>
        <p:spPr bwMode="auto">
          <a:xfrm>
            <a:off x="5402865"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6" name="Oval 703"/>
          <p:cNvSpPr>
            <a:spLocks noChangeArrowheads="1"/>
          </p:cNvSpPr>
          <p:nvPr userDrawn="1"/>
        </p:nvSpPr>
        <p:spPr bwMode="auto">
          <a:xfrm>
            <a:off x="5494272"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7" name="Oval 704"/>
          <p:cNvSpPr>
            <a:spLocks noChangeArrowheads="1"/>
          </p:cNvSpPr>
          <p:nvPr userDrawn="1"/>
        </p:nvSpPr>
        <p:spPr bwMode="auto">
          <a:xfrm>
            <a:off x="5585678"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8" name="Oval 705"/>
          <p:cNvSpPr>
            <a:spLocks noChangeArrowheads="1"/>
          </p:cNvSpPr>
          <p:nvPr userDrawn="1"/>
        </p:nvSpPr>
        <p:spPr bwMode="auto">
          <a:xfrm>
            <a:off x="5673501"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49" name="Oval 706"/>
          <p:cNvSpPr>
            <a:spLocks noChangeArrowheads="1"/>
          </p:cNvSpPr>
          <p:nvPr userDrawn="1"/>
        </p:nvSpPr>
        <p:spPr bwMode="auto">
          <a:xfrm>
            <a:off x="5764907"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0" name="Oval 707"/>
          <p:cNvSpPr>
            <a:spLocks noChangeArrowheads="1"/>
          </p:cNvSpPr>
          <p:nvPr userDrawn="1"/>
        </p:nvSpPr>
        <p:spPr bwMode="auto">
          <a:xfrm>
            <a:off x="5858107" y="3054158"/>
            <a:ext cx="75276"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1" name="Oval 708"/>
          <p:cNvSpPr>
            <a:spLocks noChangeArrowheads="1"/>
          </p:cNvSpPr>
          <p:nvPr userDrawn="1"/>
        </p:nvSpPr>
        <p:spPr bwMode="auto">
          <a:xfrm>
            <a:off x="5944136" y="3054158"/>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2" name="Oval 709"/>
          <p:cNvSpPr>
            <a:spLocks noChangeArrowheads="1"/>
          </p:cNvSpPr>
          <p:nvPr userDrawn="1"/>
        </p:nvSpPr>
        <p:spPr bwMode="auto">
          <a:xfrm>
            <a:off x="6035543" y="3054158"/>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3" name="Oval 710"/>
          <p:cNvSpPr>
            <a:spLocks noChangeArrowheads="1"/>
          </p:cNvSpPr>
          <p:nvPr userDrawn="1"/>
        </p:nvSpPr>
        <p:spPr bwMode="auto">
          <a:xfrm>
            <a:off x="6126950"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4" name="Oval 711"/>
          <p:cNvSpPr>
            <a:spLocks noChangeArrowheads="1"/>
          </p:cNvSpPr>
          <p:nvPr userDrawn="1"/>
        </p:nvSpPr>
        <p:spPr bwMode="auto">
          <a:xfrm>
            <a:off x="6212980" y="3054158"/>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5" name="Oval 712"/>
          <p:cNvSpPr>
            <a:spLocks noChangeArrowheads="1"/>
          </p:cNvSpPr>
          <p:nvPr userDrawn="1"/>
        </p:nvSpPr>
        <p:spPr bwMode="auto">
          <a:xfrm>
            <a:off x="6306179"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6" name="Oval 713"/>
          <p:cNvSpPr>
            <a:spLocks noChangeArrowheads="1"/>
          </p:cNvSpPr>
          <p:nvPr userDrawn="1"/>
        </p:nvSpPr>
        <p:spPr bwMode="auto">
          <a:xfrm>
            <a:off x="6397586"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7" name="Oval 714"/>
          <p:cNvSpPr>
            <a:spLocks noChangeArrowheads="1"/>
          </p:cNvSpPr>
          <p:nvPr userDrawn="1"/>
        </p:nvSpPr>
        <p:spPr bwMode="auto">
          <a:xfrm>
            <a:off x="6485408" y="3054158"/>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8" name="Oval 715"/>
          <p:cNvSpPr>
            <a:spLocks noChangeArrowheads="1"/>
          </p:cNvSpPr>
          <p:nvPr userDrawn="1"/>
        </p:nvSpPr>
        <p:spPr bwMode="auto">
          <a:xfrm>
            <a:off x="6576815"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59" name="Oval 716"/>
          <p:cNvSpPr>
            <a:spLocks noChangeArrowheads="1"/>
          </p:cNvSpPr>
          <p:nvPr userDrawn="1"/>
        </p:nvSpPr>
        <p:spPr bwMode="auto">
          <a:xfrm>
            <a:off x="6668221" y="3054158"/>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0" name="Oval 717"/>
          <p:cNvSpPr>
            <a:spLocks noChangeArrowheads="1"/>
          </p:cNvSpPr>
          <p:nvPr userDrawn="1"/>
        </p:nvSpPr>
        <p:spPr bwMode="auto">
          <a:xfrm>
            <a:off x="6754251" y="3054158"/>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1" name="Oval 718"/>
          <p:cNvSpPr>
            <a:spLocks noChangeArrowheads="1"/>
          </p:cNvSpPr>
          <p:nvPr userDrawn="1"/>
        </p:nvSpPr>
        <p:spPr bwMode="auto">
          <a:xfrm>
            <a:off x="6847450"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2" name="Oval 719"/>
          <p:cNvSpPr>
            <a:spLocks noChangeArrowheads="1"/>
          </p:cNvSpPr>
          <p:nvPr userDrawn="1"/>
        </p:nvSpPr>
        <p:spPr bwMode="auto">
          <a:xfrm>
            <a:off x="6940649"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3" name="Oval 720"/>
          <p:cNvSpPr>
            <a:spLocks noChangeArrowheads="1"/>
          </p:cNvSpPr>
          <p:nvPr userDrawn="1"/>
        </p:nvSpPr>
        <p:spPr bwMode="auto">
          <a:xfrm>
            <a:off x="7026679"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4" name="Oval 721"/>
          <p:cNvSpPr>
            <a:spLocks noChangeArrowheads="1"/>
          </p:cNvSpPr>
          <p:nvPr userDrawn="1"/>
        </p:nvSpPr>
        <p:spPr bwMode="auto">
          <a:xfrm>
            <a:off x="7118086"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5" name="Oval 722"/>
          <p:cNvSpPr>
            <a:spLocks noChangeArrowheads="1"/>
          </p:cNvSpPr>
          <p:nvPr userDrawn="1"/>
        </p:nvSpPr>
        <p:spPr bwMode="auto">
          <a:xfrm>
            <a:off x="7209493" y="3054158"/>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6" name="Oval 723"/>
          <p:cNvSpPr>
            <a:spLocks noChangeArrowheads="1"/>
          </p:cNvSpPr>
          <p:nvPr userDrawn="1"/>
        </p:nvSpPr>
        <p:spPr bwMode="auto">
          <a:xfrm>
            <a:off x="7299107" y="3054158"/>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7" name="Oval 724"/>
          <p:cNvSpPr>
            <a:spLocks noChangeArrowheads="1"/>
          </p:cNvSpPr>
          <p:nvPr userDrawn="1"/>
        </p:nvSpPr>
        <p:spPr bwMode="auto">
          <a:xfrm>
            <a:off x="7390514"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8" name="Oval 725"/>
          <p:cNvSpPr>
            <a:spLocks noChangeArrowheads="1"/>
          </p:cNvSpPr>
          <p:nvPr userDrawn="1"/>
        </p:nvSpPr>
        <p:spPr bwMode="auto">
          <a:xfrm>
            <a:off x="7481921"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69" name="Oval 726"/>
          <p:cNvSpPr>
            <a:spLocks noChangeArrowheads="1"/>
          </p:cNvSpPr>
          <p:nvPr userDrawn="1"/>
        </p:nvSpPr>
        <p:spPr bwMode="auto">
          <a:xfrm>
            <a:off x="7573328"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0" name="Oval 727"/>
          <p:cNvSpPr>
            <a:spLocks noChangeArrowheads="1"/>
          </p:cNvSpPr>
          <p:nvPr userDrawn="1"/>
        </p:nvSpPr>
        <p:spPr bwMode="auto">
          <a:xfrm>
            <a:off x="7659358"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1" name="Oval 728"/>
          <p:cNvSpPr>
            <a:spLocks noChangeArrowheads="1"/>
          </p:cNvSpPr>
          <p:nvPr userDrawn="1"/>
        </p:nvSpPr>
        <p:spPr bwMode="auto">
          <a:xfrm>
            <a:off x="7752557"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2" name="Oval 729"/>
          <p:cNvSpPr>
            <a:spLocks noChangeArrowheads="1"/>
          </p:cNvSpPr>
          <p:nvPr userDrawn="1"/>
        </p:nvSpPr>
        <p:spPr bwMode="auto">
          <a:xfrm>
            <a:off x="7845756"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3" name="Oval 730"/>
          <p:cNvSpPr>
            <a:spLocks noChangeArrowheads="1"/>
          </p:cNvSpPr>
          <p:nvPr userDrawn="1"/>
        </p:nvSpPr>
        <p:spPr bwMode="auto">
          <a:xfrm>
            <a:off x="7931786"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4" name="Oval 731"/>
          <p:cNvSpPr>
            <a:spLocks noChangeArrowheads="1"/>
          </p:cNvSpPr>
          <p:nvPr userDrawn="1"/>
        </p:nvSpPr>
        <p:spPr bwMode="auto">
          <a:xfrm>
            <a:off x="8023192"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5" name="Oval 732"/>
          <p:cNvSpPr>
            <a:spLocks noChangeArrowheads="1"/>
          </p:cNvSpPr>
          <p:nvPr userDrawn="1"/>
        </p:nvSpPr>
        <p:spPr bwMode="auto">
          <a:xfrm>
            <a:off x="8114599"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6" name="Oval 733"/>
          <p:cNvSpPr>
            <a:spLocks noChangeArrowheads="1"/>
          </p:cNvSpPr>
          <p:nvPr userDrawn="1"/>
        </p:nvSpPr>
        <p:spPr bwMode="auto">
          <a:xfrm>
            <a:off x="8202421"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7" name="Oval 734"/>
          <p:cNvSpPr>
            <a:spLocks noChangeArrowheads="1"/>
          </p:cNvSpPr>
          <p:nvPr userDrawn="1"/>
        </p:nvSpPr>
        <p:spPr bwMode="auto">
          <a:xfrm>
            <a:off x="8293828" y="3054158"/>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8" name="Oval 735"/>
          <p:cNvSpPr>
            <a:spLocks noChangeArrowheads="1"/>
          </p:cNvSpPr>
          <p:nvPr userDrawn="1"/>
        </p:nvSpPr>
        <p:spPr bwMode="auto">
          <a:xfrm>
            <a:off x="8387027"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79" name="Oval 736"/>
          <p:cNvSpPr>
            <a:spLocks noChangeArrowheads="1"/>
          </p:cNvSpPr>
          <p:nvPr userDrawn="1"/>
        </p:nvSpPr>
        <p:spPr bwMode="auto">
          <a:xfrm>
            <a:off x="8473057"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80" name="Oval 737"/>
          <p:cNvSpPr>
            <a:spLocks noChangeArrowheads="1"/>
          </p:cNvSpPr>
          <p:nvPr userDrawn="1"/>
        </p:nvSpPr>
        <p:spPr bwMode="auto">
          <a:xfrm>
            <a:off x="8566256" y="3054158"/>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81" name="Oval 738"/>
          <p:cNvSpPr>
            <a:spLocks noChangeArrowheads="1"/>
          </p:cNvSpPr>
          <p:nvPr userDrawn="1"/>
        </p:nvSpPr>
        <p:spPr bwMode="auto">
          <a:xfrm>
            <a:off x="8657663" y="3054158"/>
            <a:ext cx="75276"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82" name="Oval 739"/>
          <p:cNvSpPr>
            <a:spLocks noChangeArrowheads="1"/>
          </p:cNvSpPr>
          <p:nvPr userDrawn="1"/>
        </p:nvSpPr>
        <p:spPr bwMode="auto">
          <a:xfrm>
            <a:off x="8743693" y="3054158"/>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83" name="Oval 740"/>
          <p:cNvSpPr>
            <a:spLocks noChangeArrowheads="1"/>
          </p:cNvSpPr>
          <p:nvPr userDrawn="1"/>
        </p:nvSpPr>
        <p:spPr bwMode="auto">
          <a:xfrm>
            <a:off x="8836892" y="3054158"/>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84" name="Oval 741"/>
          <p:cNvSpPr>
            <a:spLocks noChangeArrowheads="1"/>
          </p:cNvSpPr>
          <p:nvPr userDrawn="1"/>
        </p:nvSpPr>
        <p:spPr bwMode="auto">
          <a:xfrm>
            <a:off x="5221844" y="3145565"/>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85" name="Oval 742"/>
          <p:cNvSpPr>
            <a:spLocks noChangeArrowheads="1"/>
          </p:cNvSpPr>
          <p:nvPr userDrawn="1"/>
        </p:nvSpPr>
        <p:spPr bwMode="auto">
          <a:xfrm>
            <a:off x="5130437" y="3145565"/>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86" name="Oval 743"/>
          <p:cNvSpPr>
            <a:spLocks noChangeArrowheads="1"/>
          </p:cNvSpPr>
          <p:nvPr userDrawn="1"/>
        </p:nvSpPr>
        <p:spPr bwMode="auto">
          <a:xfrm>
            <a:off x="5315043"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87" name="Oval 744"/>
          <p:cNvSpPr>
            <a:spLocks noChangeArrowheads="1"/>
          </p:cNvSpPr>
          <p:nvPr userDrawn="1"/>
        </p:nvSpPr>
        <p:spPr bwMode="auto">
          <a:xfrm>
            <a:off x="5315043"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88" name="Oval 745"/>
          <p:cNvSpPr>
            <a:spLocks noChangeArrowheads="1"/>
          </p:cNvSpPr>
          <p:nvPr userDrawn="1"/>
        </p:nvSpPr>
        <p:spPr bwMode="auto">
          <a:xfrm>
            <a:off x="5221844" y="3054158"/>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89" name="Oval 746"/>
          <p:cNvSpPr>
            <a:spLocks noChangeArrowheads="1"/>
          </p:cNvSpPr>
          <p:nvPr userDrawn="1"/>
        </p:nvSpPr>
        <p:spPr bwMode="auto">
          <a:xfrm>
            <a:off x="5402865"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0" name="Oval 747"/>
          <p:cNvSpPr>
            <a:spLocks noChangeArrowheads="1"/>
          </p:cNvSpPr>
          <p:nvPr userDrawn="1"/>
        </p:nvSpPr>
        <p:spPr bwMode="auto">
          <a:xfrm>
            <a:off x="5494272"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1" name="Oval 748"/>
          <p:cNvSpPr>
            <a:spLocks noChangeArrowheads="1"/>
          </p:cNvSpPr>
          <p:nvPr userDrawn="1"/>
        </p:nvSpPr>
        <p:spPr bwMode="auto">
          <a:xfrm>
            <a:off x="5585678"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2" name="Oval 749"/>
          <p:cNvSpPr>
            <a:spLocks noChangeArrowheads="1"/>
          </p:cNvSpPr>
          <p:nvPr userDrawn="1"/>
        </p:nvSpPr>
        <p:spPr bwMode="auto">
          <a:xfrm>
            <a:off x="5673501"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3" name="Oval 750"/>
          <p:cNvSpPr>
            <a:spLocks noChangeArrowheads="1"/>
          </p:cNvSpPr>
          <p:nvPr userDrawn="1"/>
        </p:nvSpPr>
        <p:spPr bwMode="auto">
          <a:xfrm>
            <a:off x="5764907"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4" name="Oval 751"/>
          <p:cNvSpPr>
            <a:spLocks noChangeArrowheads="1"/>
          </p:cNvSpPr>
          <p:nvPr userDrawn="1"/>
        </p:nvSpPr>
        <p:spPr bwMode="auto">
          <a:xfrm>
            <a:off x="5858107" y="3145565"/>
            <a:ext cx="75276"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5" name="Oval 752"/>
          <p:cNvSpPr>
            <a:spLocks noChangeArrowheads="1"/>
          </p:cNvSpPr>
          <p:nvPr userDrawn="1"/>
        </p:nvSpPr>
        <p:spPr bwMode="auto">
          <a:xfrm>
            <a:off x="5944136" y="31455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6" name="Oval 753"/>
          <p:cNvSpPr>
            <a:spLocks noChangeArrowheads="1"/>
          </p:cNvSpPr>
          <p:nvPr userDrawn="1"/>
        </p:nvSpPr>
        <p:spPr bwMode="auto">
          <a:xfrm>
            <a:off x="6035543" y="31455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7" name="Oval 754"/>
          <p:cNvSpPr>
            <a:spLocks noChangeArrowheads="1"/>
          </p:cNvSpPr>
          <p:nvPr userDrawn="1"/>
        </p:nvSpPr>
        <p:spPr bwMode="auto">
          <a:xfrm>
            <a:off x="6126950"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8" name="Oval 755"/>
          <p:cNvSpPr>
            <a:spLocks noChangeArrowheads="1"/>
          </p:cNvSpPr>
          <p:nvPr userDrawn="1"/>
        </p:nvSpPr>
        <p:spPr bwMode="auto">
          <a:xfrm>
            <a:off x="6212980" y="3145565"/>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299" name="Oval 756"/>
          <p:cNvSpPr>
            <a:spLocks noChangeArrowheads="1"/>
          </p:cNvSpPr>
          <p:nvPr userDrawn="1"/>
        </p:nvSpPr>
        <p:spPr bwMode="auto">
          <a:xfrm>
            <a:off x="6306179"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0" name="Oval 757"/>
          <p:cNvSpPr>
            <a:spLocks noChangeArrowheads="1"/>
          </p:cNvSpPr>
          <p:nvPr userDrawn="1"/>
        </p:nvSpPr>
        <p:spPr bwMode="auto">
          <a:xfrm>
            <a:off x="6397586"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1" name="Oval 758"/>
          <p:cNvSpPr>
            <a:spLocks noChangeArrowheads="1"/>
          </p:cNvSpPr>
          <p:nvPr userDrawn="1"/>
        </p:nvSpPr>
        <p:spPr bwMode="auto">
          <a:xfrm>
            <a:off x="6485408" y="31455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2" name="Oval 759"/>
          <p:cNvSpPr>
            <a:spLocks noChangeArrowheads="1"/>
          </p:cNvSpPr>
          <p:nvPr userDrawn="1"/>
        </p:nvSpPr>
        <p:spPr bwMode="auto">
          <a:xfrm>
            <a:off x="6576815"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3" name="Oval 760"/>
          <p:cNvSpPr>
            <a:spLocks noChangeArrowheads="1"/>
          </p:cNvSpPr>
          <p:nvPr userDrawn="1"/>
        </p:nvSpPr>
        <p:spPr bwMode="auto">
          <a:xfrm>
            <a:off x="6668221" y="3145565"/>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4" name="Oval 761"/>
          <p:cNvSpPr>
            <a:spLocks noChangeArrowheads="1"/>
          </p:cNvSpPr>
          <p:nvPr userDrawn="1"/>
        </p:nvSpPr>
        <p:spPr bwMode="auto">
          <a:xfrm>
            <a:off x="6754251" y="3145565"/>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5" name="Oval 762"/>
          <p:cNvSpPr>
            <a:spLocks noChangeArrowheads="1"/>
          </p:cNvSpPr>
          <p:nvPr userDrawn="1"/>
        </p:nvSpPr>
        <p:spPr bwMode="auto">
          <a:xfrm>
            <a:off x="6847450"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6" name="Oval 763"/>
          <p:cNvSpPr>
            <a:spLocks noChangeArrowheads="1"/>
          </p:cNvSpPr>
          <p:nvPr userDrawn="1"/>
        </p:nvSpPr>
        <p:spPr bwMode="auto">
          <a:xfrm>
            <a:off x="6940649"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7" name="Oval 764"/>
          <p:cNvSpPr>
            <a:spLocks noChangeArrowheads="1"/>
          </p:cNvSpPr>
          <p:nvPr userDrawn="1"/>
        </p:nvSpPr>
        <p:spPr bwMode="auto">
          <a:xfrm>
            <a:off x="7026679"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8" name="Oval 765"/>
          <p:cNvSpPr>
            <a:spLocks noChangeArrowheads="1"/>
          </p:cNvSpPr>
          <p:nvPr userDrawn="1"/>
        </p:nvSpPr>
        <p:spPr bwMode="auto">
          <a:xfrm>
            <a:off x="7118086"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09" name="Oval 766"/>
          <p:cNvSpPr>
            <a:spLocks noChangeArrowheads="1"/>
          </p:cNvSpPr>
          <p:nvPr userDrawn="1"/>
        </p:nvSpPr>
        <p:spPr bwMode="auto">
          <a:xfrm>
            <a:off x="7209493" y="3145565"/>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0" name="Oval 767"/>
          <p:cNvSpPr>
            <a:spLocks noChangeArrowheads="1"/>
          </p:cNvSpPr>
          <p:nvPr userDrawn="1"/>
        </p:nvSpPr>
        <p:spPr bwMode="auto">
          <a:xfrm>
            <a:off x="7299107" y="31455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1" name="Oval 768"/>
          <p:cNvSpPr>
            <a:spLocks noChangeArrowheads="1"/>
          </p:cNvSpPr>
          <p:nvPr userDrawn="1"/>
        </p:nvSpPr>
        <p:spPr bwMode="auto">
          <a:xfrm>
            <a:off x="7390514"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2" name="Oval 769"/>
          <p:cNvSpPr>
            <a:spLocks noChangeArrowheads="1"/>
          </p:cNvSpPr>
          <p:nvPr userDrawn="1"/>
        </p:nvSpPr>
        <p:spPr bwMode="auto">
          <a:xfrm>
            <a:off x="7481921"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3" name="Oval 770"/>
          <p:cNvSpPr>
            <a:spLocks noChangeArrowheads="1"/>
          </p:cNvSpPr>
          <p:nvPr userDrawn="1"/>
        </p:nvSpPr>
        <p:spPr bwMode="auto">
          <a:xfrm>
            <a:off x="7573328"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4" name="Oval 771"/>
          <p:cNvSpPr>
            <a:spLocks noChangeArrowheads="1"/>
          </p:cNvSpPr>
          <p:nvPr userDrawn="1"/>
        </p:nvSpPr>
        <p:spPr bwMode="auto">
          <a:xfrm>
            <a:off x="7659358"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5" name="Oval 772"/>
          <p:cNvSpPr>
            <a:spLocks noChangeArrowheads="1"/>
          </p:cNvSpPr>
          <p:nvPr userDrawn="1"/>
        </p:nvSpPr>
        <p:spPr bwMode="auto">
          <a:xfrm>
            <a:off x="7752557"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6" name="Oval 773"/>
          <p:cNvSpPr>
            <a:spLocks noChangeArrowheads="1"/>
          </p:cNvSpPr>
          <p:nvPr userDrawn="1"/>
        </p:nvSpPr>
        <p:spPr bwMode="auto">
          <a:xfrm>
            <a:off x="7845756"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7" name="Oval 774"/>
          <p:cNvSpPr>
            <a:spLocks noChangeArrowheads="1"/>
          </p:cNvSpPr>
          <p:nvPr userDrawn="1"/>
        </p:nvSpPr>
        <p:spPr bwMode="auto">
          <a:xfrm>
            <a:off x="7931786"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8" name="Oval 775"/>
          <p:cNvSpPr>
            <a:spLocks noChangeArrowheads="1"/>
          </p:cNvSpPr>
          <p:nvPr userDrawn="1"/>
        </p:nvSpPr>
        <p:spPr bwMode="auto">
          <a:xfrm>
            <a:off x="8023192"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19" name="Oval 776"/>
          <p:cNvSpPr>
            <a:spLocks noChangeArrowheads="1"/>
          </p:cNvSpPr>
          <p:nvPr userDrawn="1"/>
        </p:nvSpPr>
        <p:spPr bwMode="auto">
          <a:xfrm>
            <a:off x="8114599"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0" name="Oval 777"/>
          <p:cNvSpPr>
            <a:spLocks noChangeArrowheads="1"/>
          </p:cNvSpPr>
          <p:nvPr userDrawn="1"/>
        </p:nvSpPr>
        <p:spPr bwMode="auto">
          <a:xfrm>
            <a:off x="8202421"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1" name="Oval 778"/>
          <p:cNvSpPr>
            <a:spLocks noChangeArrowheads="1"/>
          </p:cNvSpPr>
          <p:nvPr userDrawn="1"/>
        </p:nvSpPr>
        <p:spPr bwMode="auto">
          <a:xfrm>
            <a:off x="8293828" y="3145565"/>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2" name="Oval 779"/>
          <p:cNvSpPr>
            <a:spLocks noChangeArrowheads="1"/>
          </p:cNvSpPr>
          <p:nvPr userDrawn="1"/>
        </p:nvSpPr>
        <p:spPr bwMode="auto">
          <a:xfrm>
            <a:off x="8387027"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3" name="Oval 780"/>
          <p:cNvSpPr>
            <a:spLocks noChangeArrowheads="1"/>
          </p:cNvSpPr>
          <p:nvPr userDrawn="1"/>
        </p:nvSpPr>
        <p:spPr bwMode="auto">
          <a:xfrm>
            <a:off x="8473057"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4" name="Oval 781"/>
          <p:cNvSpPr>
            <a:spLocks noChangeArrowheads="1"/>
          </p:cNvSpPr>
          <p:nvPr userDrawn="1"/>
        </p:nvSpPr>
        <p:spPr bwMode="auto">
          <a:xfrm>
            <a:off x="8566256" y="3145565"/>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5" name="Oval 782"/>
          <p:cNvSpPr>
            <a:spLocks noChangeArrowheads="1"/>
          </p:cNvSpPr>
          <p:nvPr userDrawn="1"/>
        </p:nvSpPr>
        <p:spPr bwMode="auto">
          <a:xfrm>
            <a:off x="8657663" y="3145565"/>
            <a:ext cx="75276"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6" name="Oval 783"/>
          <p:cNvSpPr>
            <a:spLocks noChangeArrowheads="1"/>
          </p:cNvSpPr>
          <p:nvPr userDrawn="1"/>
        </p:nvSpPr>
        <p:spPr bwMode="auto">
          <a:xfrm>
            <a:off x="8743693"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7" name="Oval 784"/>
          <p:cNvSpPr>
            <a:spLocks noChangeArrowheads="1"/>
          </p:cNvSpPr>
          <p:nvPr userDrawn="1"/>
        </p:nvSpPr>
        <p:spPr bwMode="auto">
          <a:xfrm>
            <a:off x="8836892" y="3145565"/>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8" name="Oval 785"/>
          <p:cNvSpPr>
            <a:spLocks noChangeArrowheads="1"/>
          </p:cNvSpPr>
          <p:nvPr userDrawn="1"/>
        </p:nvSpPr>
        <p:spPr bwMode="auto">
          <a:xfrm>
            <a:off x="8928299" y="3145565"/>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29" name="Oval 786"/>
          <p:cNvSpPr>
            <a:spLocks noChangeArrowheads="1"/>
          </p:cNvSpPr>
          <p:nvPr userDrawn="1"/>
        </p:nvSpPr>
        <p:spPr bwMode="auto">
          <a:xfrm>
            <a:off x="8928299" y="3054158"/>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0" name="Oval 787"/>
          <p:cNvSpPr>
            <a:spLocks noChangeArrowheads="1"/>
          </p:cNvSpPr>
          <p:nvPr userDrawn="1"/>
        </p:nvSpPr>
        <p:spPr bwMode="auto">
          <a:xfrm>
            <a:off x="9014329" y="3145565"/>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1" name="Oval 788"/>
          <p:cNvSpPr>
            <a:spLocks noChangeArrowheads="1"/>
          </p:cNvSpPr>
          <p:nvPr userDrawn="1"/>
        </p:nvSpPr>
        <p:spPr bwMode="auto">
          <a:xfrm>
            <a:off x="5044407" y="3236972"/>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2" name="Oval 789"/>
          <p:cNvSpPr>
            <a:spLocks noChangeArrowheads="1"/>
          </p:cNvSpPr>
          <p:nvPr userDrawn="1"/>
        </p:nvSpPr>
        <p:spPr bwMode="auto">
          <a:xfrm>
            <a:off x="5130437" y="3236972"/>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3" name="Oval 790"/>
          <p:cNvSpPr>
            <a:spLocks noChangeArrowheads="1"/>
          </p:cNvSpPr>
          <p:nvPr userDrawn="1"/>
        </p:nvSpPr>
        <p:spPr bwMode="auto">
          <a:xfrm>
            <a:off x="5221844" y="3236972"/>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4" name="Oval 791"/>
          <p:cNvSpPr>
            <a:spLocks noChangeArrowheads="1"/>
          </p:cNvSpPr>
          <p:nvPr userDrawn="1"/>
        </p:nvSpPr>
        <p:spPr bwMode="auto">
          <a:xfrm>
            <a:off x="5315043" y="3236972"/>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5" name="Oval 792"/>
          <p:cNvSpPr>
            <a:spLocks noChangeArrowheads="1"/>
          </p:cNvSpPr>
          <p:nvPr userDrawn="1"/>
        </p:nvSpPr>
        <p:spPr bwMode="auto">
          <a:xfrm>
            <a:off x="5402865"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6" name="Oval 793"/>
          <p:cNvSpPr>
            <a:spLocks noChangeArrowheads="1"/>
          </p:cNvSpPr>
          <p:nvPr userDrawn="1"/>
        </p:nvSpPr>
        <p:spPr bwMode="auto">
          <a:xfrm>
            <a:off x="5494272"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7" name="Oval 794"/>
          <p:cNvSpPr>
            <a:spLocks noChangeArrowheads="1"/>
          </p:cNvSpPr>
          <p:nvPr userDrawn="1"/>
        </p:nvSpPr>
        <p:spPr bwMode="auto">
          <a:xfrm>
            <a:off x="5585678" y="3236972"/>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8" name="Oval 795"/>
          <p:cNvSpPr>
            <a:spLocks noChangeArrowheads="1"/>
          </p:cNvSpPr>
          <p:nvPr userDrawn="1"/>
        </p:nvSpPr>
        <p:spPr bwMode="auto">
          <a:xfrm>
            <a:off x="5673501"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39" name="Oval 796"/>
          <p:cNvSpPr>
            <a:spLocks noChangeArrowheads="1"/>
          </p:cNvSpPr>
          <p:nvPr userDrawn="1"/>
        </p:nvSpPr>
        <p:spPr bwMode="auto">
          <a:xfrm>
            <a:off x="5764907"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0" name="Oval 797"/>
          <p:cNvSpPr>
            <a:spLocks noChangeArrowheads="1"/>
          </p:cNvSpPr>
          <p:nvPr userDrawn="1"/>
        </p:nvSpPr>
        <p:spPr bwMode="auto">
          <a:xfrm>
            <a:off x="5858107" y="3236972"/>
            <a:ext cx="75276"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1" name="Oval 798"/>
          <p:cNvSpPr>
            <a:spLocks noChangeArrowheads="1"/>
          </p:cNvSpPr>
          <p:nvPr userDrawn="1"/>
        </p:nvSpPr>
        <p:spPr bwMode="auto">
          <a:xfrm>
            <a:off x="5944136" y="3236972"/>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2" name="Oval 799"/>
          <p:cNvSpPr>
            <a:spLocks noChangeArrowheads="1"/>
          </p:cNvSpPr>
          <p:nvPr userDrawn="1"/>
        </p:nvSpPr>
        <p:spPr bwMode="auto">
          <a:xfrm>
            <a:off x="6035543" y="3236972"/>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3" name="Oval 800"/>
          <p:cNvSpPr>
            <a:spLocks noChangeArrowheads="1"/>
          </p:cNvSpPr>
          <p:nvPr userDrawn="1"/>
        </p:nvSpPr>
        <p:spPr bwMode="auto">
          <a:xfrm>
            <a:off x="6126950" y="3236972"/>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4" name="Oval 801"/>
          <p:cNvSpPr>
            <a:spLocks noChangeArrowheads="1"/>
          </p:cNvSpPr>
          <p:nvPr userDrawn="1"/>
        </p:nvSpPr>
        <p:spPr bwMode="auto">
          <a:xfrm>
            <a:off x="6212980" y="3236972"/>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5" name="Oval 802"/>
          <p:cNvSpPr>
            <a:spLocks noChangeArrowheads="1"/>
          </p:cNvSpPr>
          <p:nvPr userDrawn="1"/>
        </p:nvSpPr>
        <p:spPr bwMode="auto">
          <a:xfrm>
            <a:off x="6306179"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6" name="Oval 803"/>
          <p:cNvSpPr>
            <a:spLocks noChangeArrowheads="1"/>
          </p:cNvSpPr>
          <p:nvPr userDrawn="1"/>
        </p:nvSpPr>
        <p:spPr bwMode="auto">
          <a:xfrm>
            <a:off x="6397586" y="3236972"/>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7" name="Oval 804"/>
          <p:cNvSpPr>
            <a:spLocks noChangeArrowheads="1"/>
          </p:cNvSpPr>
          <p:nvPr userDrawn="1"/>
        </p:nvSpPr>
        <p:spPr bwMode="auto">
          <a:xfrm>
            <a:off x="6485408" y="3236972"/>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8" name="Oval 805"/>
          <p:cNvSpPr>
            <a:spLocks noChangeArrowheads="1"/>
          </p:cNvSpPr>
          <p:nvPr userDrawn="1"/>
        </p:nvSpPr>
        <p:spPr bwMode="auto">
          <a:xfrm>
            <a:off x="6576815"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49" name="Oval 806"/>
          <p:cNvSpPr>
            <a:spLocks noChangeArrowheads="1"/>
          </p:cNvSpPr>
          <p:nvPr userDrawn="1"/>
        </p:nvSpPr>
        <p:spPr bwMode="auto">
          <a:xfrm>
            <a:off x="6668221" y="3236972"/>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0" name="Oval 807"/>
          <p:cNvSpPr>
            <a:spLocks noChangeArrowheads="1"/>
          </p:cNvSpPr>
          <p:nvPr userDrawn="1"/>
        </p:nvSpPr>
        <p:spPr bwMode="auto">
          <a:xfrm>
            <a:off x="6754251" y="3236972"/>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1" name="Oval 808"/>
          <p:cNvSpPr>
            <a:spLocks noChangeArrowheads="1"/>
          </p:cNvSpPr>
          <p:nvPr userDrawn="1"/>
        </p:nvSpPr>
        <p:spPr bwMode="auto">
          <a:xfrm>
            <a:off x="6847450" y="3236972"/>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2" name="Oval 810"/>
          <p:cNvSpPr>
            <a:spLocks noChangeArrowheads="1"/>
          </p:cNvSpPr>
          <p:nvPr userDrawn="1"/>
        </p:nvSpPr>
        <p:spPr bwMode="auto">
          <a:xfrm>
            <a:off x="6940649" y="3236971"/>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3" name="Oval 811"/>
          <p:cNvSpPr>
            <a:spLocks noChangeArrowheads="1"/>
          </p:cNvSpPr>
          <p:nvPr userDrawn="1"/>
        </p:nvSpPr>
        <p:spPr bwMode="auto">
          <a:xfrm>
            <a:off x="7026679"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4" name="Oval 812"/>
          <p:cNvSpPr>
            <a:spLocks noChangeArrowheads="1"/>
          </p:cNvSpPr>
          <p:nvPr userDrawn="1"/>
        </p:nvSpPr>
        <p:spPr bwMode="auto">
          <a:xfrm>
            <a:off x="7118086"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5" name="Oval 813"/>
          <p:cNvSpPr>
            <a:spLocks noChangeArrowheads="1"/>
          </p:cNvSpPr>
          <p:nvPr userDrawn="1"/>
        </p:nvSpPr>
        <p:spPr bwMode="auto">
          <a:xfrm>
            <a:off x="7209493" y="3236971"/>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6" name="Oval 814"/>
          <p:cNvSpPr>
            <a:spLocks noChangeArrowheads="1"/>
          </p:cNvSpPr>
          <p:nvPr userDrawn="1"/>
        </p:nvSpPr>
        <p:spPr bwMode="auto">
          <a:xfrm>
            <a:off x="7299107" y="3236971"/>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7" name="Oval 815"/>
          <p:cNvSpPr>
            <a:spLocks noChangeArrowheads="1"/>
          </p:cNvSpPr>
          <p:nvPr userDrawn="1"/>
        </p:nvSpPr>
        <p:spPr bwMode="auto">
          <a:xfrm>
            <a:off x="7390514"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8" name="Oval 816"/>
          <p:cNvSpPr>
            <a:spLocks noChangeArrowheads="1"/>
          </p:cNvSpPr>
          <p:nvPr userDrawn="1"/>
        </p:nvSpPr>
        <p:spPr bwMode="auto">
          <a:xfrm>
            <a:off x="7481921"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59" name="Oval 817"/>
          <p:cNvSpPr>
            <a:spLocks noChangeArrowheads="1"/>
          </p:cNvSpPr>
          <p:nvPr userDrawn="1"/>
        </p:nvSpPr>
        <p:spPr bwMode="auto">
          <a:xfrm>
            <a:off x="7573327" y="3236971"/>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0" name="Oval 818"/>
          <p:cNvSpPr>
            <a:spLocks noChangeArrowheads="1"/>
          </p:cNvSpPr>
          <p:nvPr userDrawn="1"/>
        </p:nvSpPr>
        <p:spPr bwMode="auto">
          <a:xfrm>
            <a:off x="7659357"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1" name="Oval 819"/>
          <p:cNvSpPr>
            <a:spLocks noChangeArrowheads="1"/>
          </p:cNvSpPr>
          <p:nvPr userDrawn="1"/>
        </p:nvSpPr>
        <p:spPr bwMode="auto">
          <a:xfrm>
            <a:off x="7752556"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2" name="Oval 820"/>
          <p:cNvSpPr>
            <a:spLocks noChangeArrowheads="1"/>
          </p:cNvSpPr>
          <p:nvPr userDrawn="1"/>
        </p:nvSpPr>
        <p:spPr bwMode="auto">
          <a:xfrm>
            <a:off x="7845755" y="3236971"/>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3" name="Oval 821"/>
          <p:cNvSpPr>
            <a:spLocks noChangeArrowheads="1"/>
          </p:cNvSpPr>
          <p:nvPr userDrawn="1"/>
        </p:nvSpPr>
        <p:spPr bwMode="auto">
          <a:xfrm>
            <a:off x="7931785"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4" name="Oval 822"/>
          <p:cNvSpPr>
            <a:spLocks noChangeArrowheads="1"/>
          </p:cNvSpPr>
          <p:nvPr userDrawn="1"/>
        </p:nvSpPr>
        <p:spPr bwMode="auto">
          <a:xfrm>
            <a:off x="8023192"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5" name="Oval 823"/>
          <p:cNvSpPr>
            <a:spLocks noChangeArrowheads="1"/>
          </p:cNvSpPr>
          <p:nvPr userDrawn="1"/>
        </p:nvSpPr>
        <p:spPr bwMode="auto">
          <a:xfrm>
            <a:off x="8114599" y="3236971"/>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6" name="Oval 824"/>
          <p:cNvSpPr>
            <a:spLocks noChangeArrowheads="1"/>
          </p:cNvSpPr>
          <p:nvPr userDrawn="1"/>
        </p:nvSpPr>
        <p:spPr bwMode="auto">
          <a:xfrm>
            <a:off x="8202421"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7" name="Oval 825"/>
          <p:cNvSpPr>
            <a:spLocks noChangeArrowheads="1"/>
          </p:cNvSpPr>
          <p:nvPr userDrawn="1"/>
        </p:nvSpPr>
        <p:spPr bwMode="auto">
          <a:xfrm>
            <a:off x="8293828" y="3236971"/>
            <a:ext cx="8423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8" name="Oval 826"/>
          <p:cNvSpPr>
            <a:spLocks noChangeArrowheads="1"/>
          </p:cNvSpPr>
          <p:nvPr userDrawn="1"/>
        </p:nvSpPr>
        <p:spPr bwMode="auto">
          <a:xfrm>
            <a:off x="8387027" y="3236971"/>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69" name="Oval 827"/>
          <p:cNvSpPr>
            <a:spLocks noChangeArrowheads="1"/>
          </p:cNvSpPr>
          <p:nvPr userDrawn="1"/>
        </p:nvSpPr>
        <p:spPr bwMode="auto">
          <a:xfrm>
            <a:off x="8473057"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0" name="Oval 828"/>
          <p:cNvSpPr>
            <a:spLocks noChangeArrowheads="1"/>
          </p:cNvSpPr>
          <p:nvPr userDrawn="1"/>
        </p:nvSpPr>
        <p:spPr bwMode="auto">
          <a:xfrm>
            <a:off x="8566256" y="3236971"/>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1" name="Oval 829"/>
          <p:cNvSpPr>
            <a:spLocks noChangeArrowheads="1"/>
          </p:cNvSpPr>
          <p:nvPr userDrawn="1"/>
        </p:nvSpPr>
        <p:spPr bwMode="auto">
          <a:xfrm>
            <a:off x="8657663" y="3236971"/>
            <a:ext cx="75276"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2" name="Oval 830"/>
          <p:cNvSpPr>
            <a:spLocks noChangeArrowheads="1"/>
          </p:cNvSpPr>
          <p:nvPr userDrawn="1"/>
        </p:nvSpPr>
        <p:spPr bwMode="auto">
          <a:xfrm>
            <a:off x="8743692"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3" name="Oval 831"/>
          <p:cNvSpPr>
            <a:spLocks noChangeArrowheads="1"/>
          </p:cNvSpPr>
          <p:nvPr userDrawn="1"/>
        </p:nvSpPr>
        <p:spPr bwMode="auto">
          <a:xfrm>
            <a:off x="8836892" y="3236971"/>
            <a:ext cx="80653"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4" name="Oval 832"/>
          <p:cNvSpPr>
            <a:spLocks noChangeArrowheads="1"/>
          </p:cNvSpPr>
          <p:nvPr userDrawn="1"/>
        </p:nvSpPr>
        <p:spPr bwMode="auto">
          <a:xfrm>
            <a:off x="8928298" y="3236971"/>
            <a:ext cx="77068"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5" name="Oval 833"/>
          <p:cNvSpPr>
            <a:spLocks noChangeArrowheads="1"/>
          </p:cNvSpPr>
          <p:nvPr userDrawn="1"/>
        </p:nvSpPr>
        <p:spPr bwMode="auto">
          <a:xfrm>
            <a:off x="9014328"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6" name="Oval 834"/>
          <p:cNvSpPr>
            <a:spLocks noChangeArrowheads="1"/>
          </p:cNvSpPr>
          <p:nvPr userDrawn="1"/>
        </p:nvSpPr>
        <p:spPr bwMode="auto">
          <a:xfrm>
            <a:off x="9105735"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7" name="Oval 835"/>
          <p:cNvSpPr>
            <a:spLocks noChangeArrowheads="1"/>
          </p:cNvSpPr>
          <p:nvPr userDrawn="1"/>
        </p:nvSpPr>
        <p:spPr bwMode="auto">
          <a:xfrm>
            <a:off x="9197142" y="3236971"/>
            <a:ext cx="78861"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8" name="Oval 836"/>
          <p:cNvSpPr>
            <a:spLocks noChangeArrowheads="1"/>
          </p:cNvSpPr>
          <p:nvPr userDrawn="1"/>
        </p:nvSpPr>
        <p:spPr bwMode="auto">
          <a:xfrm>
            <a:off x="9284964" y="3236971"/>
            <a:ext cx="82445" cy="77068"/>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79" name="Oval 837"/>
          <p:cNvSpPr>
            <a:spLocks noChangeArrowheads="1"/>
          </p:cNvSpPr>
          <p:nvPr userDrawn="1"/>
        </p:nvSpPr>
        <p:spPr bwMode="auto">
          <a:xfrm>
            <a:off x="5044407"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0" name="Oval 838"/>
          <p:cNvSpPr>
            <a:spLocks noChangeArrowheads="1"/>
          </p:cNvSpPr>
          <p:nvPr userDrawn="1"/>
        </p:nvSpPr>
        <p:spPr bwMode="auto">
          <a:xfrm>
            <a:off x="5130437" y="3324793"/>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1" name="Oval 839"/>
          <p:cNvSpPr>
            <a:spLocks noChangeArrowheads="1"/>
          </p:cNvSpPr>
          <p:nvPr userDrawn="1"/>
        </p:nvSpPr>
        <p:spPr bwMode="auto">
          <a:xfrm>
            <a:off x="5221843" y="3324793"/>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2" name="Oval 840"/>
          <p:cNvSpPr>
            <a:spLocks noChangeArrowheads="1"/>
          </p:cNvSpPr>
          <p:nvPr userDrawn="1"/>
        </p:nvSpPr>
        <p:spPr bwMode="auto">
          <a:xfrm>
            <a:off x="5315042"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3" name="Oval 841"/>
          <p:cNvSpPr>
            <a:spLocks noChangeArrowheads="1"/>
          </p:cNvSpPr>
          <p:nvPr userDrawn="1"/>
        </p:nvSpPr>
        <p:spPr bwMode="auto">
          <a:xfrm>
            <a:off x="5402865"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4" name="Oval 842"/>
          <p:cNvSpPr>
            <a:spLocks noChangeArrowheads="1"/>
          </p:cNvSpPr>
          <p:nvPr userDrawn="1"/>
        </p:nvSpPr>
        <p:spPr bwMode="auto">
          <a:xfrm>
            <a:off x="5494271"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5" name="Oval 843"/>
          <p:cNvSpPr>
            <a:spLocks noChangeArrowheads="1"/>
          </p:cNvSpPr>
          <p:nvPr userDrawn="1"/>
        </p:nvSpPr>
        <p:spPr bwMode="auto">
          <a:xfrm>
            <a:off x="5585678"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6" name="Oval 844"/>
          <p:cNvSpPr>
            <a:spLocks noChangeArrowheads="1"/>
          </p:cNvSpPr>
          <p:nvPr userDrawn="1"/>
        </p:nvSpPr>
        <p:spPr bwMode="auto">
          <a:xfrm>
            <a:off x="5673500"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7" name="Oval 845"/>
          <p:cNvSpPr>
            <a:spLocks noChangeArrowheads="1"/>
          </p:cNvSpPr>
          <p:nvPr userDrawn="1"/>
        </p:nvSpPr>
        <p:spPr bwMode="auto">
          <a:xfrm>
            <a:off x="5764907"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8" name="Oval 846"/>
          <p:cNvSpPr>
            <a:spLocks noChangeArrowheads="1"/>
          </p:cNvSpPr>
          <p:nvPr userDrawn="1"/>
        </p:nvSpPr>
        <p:spPr bwMode="auto">
          <a:xfrm>
            <a:off x="5858106" y="3324793"/>
            <a:ext cx="75276"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89" name="Oval 847"/>
          <p:cNvSpPr>
            <a:spLocks noChangeArrowheads="1"/>
          </p:cNvSpPr>
          <p:nvPr userDrawn="1"/>
        </p:nvSpPr>
        <p:spPr bwMode="auto">
          <a:xfrm>
            <a:off x="5944136" y="3324793"/>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0" name="Oval 848"/>
          <p:cNvSpPr>
            <a:spLocks noChangeArrowheads="1"/>
          </p:cNvSpPr>
          <p:nvPr userDrawn="1"/>
        </p:nvSpPr>
        <p:spPr bwMode="auto">
          <a:xfrm>
            <a:off x="6035543" y="3324793"/>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1" name="Oval 849"/>
          <p:cNvSpPr>
            <a:spLocks noChangeArrowheads="1"/>
          </p:cNvSpPr>
          <p:nvPr userDrawn="1"/>
        </p:nvSpPr>
        <p:spPr bwMode="auto">
          <a:xfrm>
            <a:off x="6126950"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2" name="Oval 850"/>
          <p:cNvSpPr>
            <a:spLocks noChangeArrowheads="1"/>
          </p:cNvSpPr>
          <p:nvPr userDrawn="1"/>
        </p:nvSpPr>
        <p:spPr bwMode="auto">
          <a:xfrm>
            <a:off x="6212980" y="3324793"/>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3" name="Oval 851"/>
          <p:cNvSpPr>
            <a:spLocks noChangeArrowheads="1"/>
          </p:cNvSpPr>
          <p:nvPr userDrawn="1"/>
        </p:nvSpPr>
        <p:spPr bwMode="auto">
          <a:xfrm>
            <a:off x="6306179"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4" name="Oval 852"/>
          <p:cNvSpPr>
            <a:spLocks noChangeArrowheads="1"/>
          </p:cNvSpPr>
          <p:nvPr userDrawn="1"/>
        </p:nvSpPr>
        <p:spPr bwMode="auto">
          <a:xfrm>
            <a:off x="6397585"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5" name="Oval 853"/>
          <p:cNvSpPr>
            <a:spLocks noChangeArrowheads="1"/>
          </p:cNvSpPr>
          <p:nvPr userDrawn="1"/>
        </p:nvSpPr>
        <p:spPr bwMode="auto">
          <a:xfrm>
            <a:off x="6485408" y="3324793"/>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6" name="Oval 854"/>
          <p:cNvSpPr>
            <a:spLocks noChangeArrowheads="1"/>
          </p:cNvSpPr>
          <p:nvPr userDrawn="1"/>
        </p:nvSpPr>
        <p:spPr bwMode="auto">
          <a:xfrm>
            <a:off x="6576814"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7" name="Oval 855"/>
          <p:cNvSpPr>
            <a:spLocks noChangeArrowheads="1"/>
          </p:cNvSpPr>
          <p:nvPr userDrawn="1"/>
        </p:nvSpPr>
        <p:spPr bwMode="auto">
          <a:xfrm>
            <a:off x="6668221" y="3324793"/>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8" name="Oval 856"/>
          <p:cNvSpPr>
            <a:spLocks noChangeArrowheads="1"/>
          </p:cNvSpPr>
          <p:nvPr userDrawn="1"/>
        </p:nvSpPr>
        <p:spPr bwMode="auto">
          <a:xfrm>
            <a:off x="6754251" y="3324793"/>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399" name="Oval 857"/>
          <p:cNvSpPr>
            <a:spLocks noChangeArrowheads="1"/>
          </p:cNvSpPr>
          <p:nvPr userDrawn="1"/>
        </p:nvSpPr>
        <p:spPr bwMode="auto">
          <a:xfrm>
            <a:off x="6847450"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0" name="Oval 858"/>
          <p:cNvSpPr>
            <a:spLocks noChangeArrowheads="1"/>
          </p:cNvSpPr>
          <p:nvPr userDrawn="1"/>
        </p:nvSpPr>
        <p:spPr bwMode="auto">
          <a:xfrm>
            <a:off x="6940649"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1" name="Oval 859"/>
          <p:cNvSpPr>
            <a:spLocks noChangeArrowheads="1"/>
          </p:cNvSpPr>
          <p:nvPr userDrawn="1"/>
        </p:nvSpPr>
        <p:spPr bwMode="auto">
          <a:xfrm>
            <a:off x="7026679"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2" name="Oval 860"/>
          <p:cNvSpPr>
            <a:spLocks noChangeArrowheads="1"/>
          </p:cNvSpPr>
          <p:nvPr userDrawn="1"/>
        </p:nvSpPr>
        <p:spPr bwMode="auto">
          <a:xfrm>
            <a:off x="7118086"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3" name="Oval 861"/>
          <p:cNvSpPr>
            <a:spLocks noChangeArrowheads="1"/>
          </p:cNvSpPr>
          <p:nvPr userDrawn="1"/>
        </p:nvSpPr>
        <p:spPr bwMode="auto">
          <a:xfrm>
            <a:off x="7209493" y="3324793"/>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4" name="Oval 862"/>
          <p:cNvSpPr>
            <a:spLocks noChangeArrowheads="1"/>
          </p:cNvSpPr>
          <p:nvPr userDrawn="1"/>
        </p:nvSpPr>
        <p:spPr bwMode="auto">
          <a:xfrm>
            <a:off x="7299107" y="3324793"/>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5" name="Oval 863"/>
          <p:cNvSpPr>
            <a:spLocks noChangeArrowheads="1"/>
          </p:cNvSpPr>
          <p:nvPr userDrawn="1"/>
        </p:nvSpPr>
        <p:spPr bwMode="auto">
          <a:xfrm>
            <a:off x="7390514"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6" name="Oval 864"/>
          <p:cNvSpPr>
            <a:spLocks noChangeArrowheads="1"/>
          </p:cNvSpPr>
          <p:nvPr userDrawn="1"/>
        </p:nvSpPr>
        <p:spPr bwMode="auto">
          <a:xfrm>
            <a:off x="7481921"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7" name="Oval 865"/>
          <p:cNvSpPr>
            <a:spLocks noChangeArrowheads="1"/>
          </p:cNvSpPr>
          <p:nvPr userDrawn="1"/>
        </p:nvSpPr>
        <p:spPr bwMode="auto">
          <a:xfrm>
            <a:off x="7573327"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8" name="Oval 866"/>
          <p:cNvSpPr>
            <a:spLocks noChangeArrowheads="1"/>
          </p:cNvSpPr>
          <p:nvPr userDrawn="1"/>
        </p:nvSpPr>
        <p:spPr bwMode="auto">
          <a:xfrm>
            <a:off x="7659357"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09" name="Oval 867"/>
          <p:cNvSpPr>
            <a:spLocks noChangeArrowheads="1"/>
          </p:cNvSpPr>
          <p:nvPr userDrawn="1"/>
        </p:nvSpPr>
        <p:spPr bwMode="auto">
          <a:xfrm>
            <a:off x="7752556"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0" name="Oval 868"/>
          <p:cNvSpPr>
            <a:spLocks noChangeArrowheads="1"/>
          </p:cNvSpPr>
          <p:nvPr userDrawn="1"/>
        </p:nvSpPr>
        <p:spPr bwMode="auto">
          <a:xfrm>
            <a:off x="7845755"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1" name="Oval 869"/>
          <p:cNvSpPr>
            <a:spLocks noChangeArrowheads="1"/>
          </p:cNvSpPr>
          <p:nvPr userDrawn="1"/>
        </p:nvSpPr>
        <p:spPr bwMode="auto">
          <a:xfrm>
            <a:off x="7931785"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2" name="Oval 870"/>
          <p:cNvSpPr>
            <a:spLocks noChangeArrowheads="1"/>
          </p:cNvSpPr>
          <p:nvPr userDrawn="1"/>
        </p:nvSpPr>
        <p:spPr bwMode="auto">
          <a:xfrm>
            <a:off x="8023192"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3" name="Oval 871"/>
          <p:cNvSpPr>
            <a:spLocks noChangeArrowheads="1"/>
          </p:cNvSpPr>
          <p:nvPr userDrawn="1"/>
        </p:nvSpPr>
        <p:spPr bwMode="auto">
          <a:xfrm>
            <a:off x="8114599"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4" name="Oval 872"/>
          <p:cNvSpPr>
            <a:spLocks noChangeArrowheads="1"/>
          </p:cNvSpPr>
          <p:nvPr userDrawn="1"/>
        </p:nvSpPr>
        <p:spPr bwMode="auto">
          <a:xfrm>
            <a:off x="8202421"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5" name="Oval 873"/>
          <p:cNvSpPr>
            <a:spLocks noChangeArrowheads="1"/>
          </p:cNvSpPr>
          <p:nvPr userDrawn="1"/>
        </p:nvSpPr>
        <p:spPr bwMode="auto">
          <a:xfrm>
            <a:off x="8293828" y="3324793"/>
            <a:ext cx="8423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6" name="Oval 874"/>
          <p:cNvSpPr>
            <a:spLocks noChangeArrowheads="1"/>
          </p:cNvSpPr>
          <p:nvPr userDrawn="1"/>
        </p:nvSpPr>
        <p:spPr bwMode="auto">
          <a:xfrm>
            <a:off x="8387027"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7" name="Oval 875"/>
          <p:cNvSpPr>
            <a:spLocks noChangeArrowheads="1"/>
          </p:cNvSpPr>
          <p:nvPr userDrawn="1"/>
        </p:nvSpPr>
        <p:spPr bwMode="auto">
          <a:xfrm>
            <a:off x="8473057"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8" name="Oval 876"/>
          <p:cNvSpPr>
            <a:spLocks noChangeArrowheads="1"/>
          </p:cNvSpPr>
          <p:nvPr userDrawn="1"/>
        </p:nvSpPr>
        <p:spPr bwMode="auto">
          <a:xfrm>
            <a:off x="8566256" y="3324793"/>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19" name="Oval 877"/>
          <p:cNvSpPr>
            <a:spLocks noChangeArrowheads="1"/>
          </p:cNvSpPr>
          <p:nvPr userDrawn="1"/>
        </p:nvSpPr>
        <p:spPr bwMode="auto">
          <a:xfrm>
            <a:off x="8657663" y="3324793"/>
            <a:ext cx="75276"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20" name="Oval 878"/>
          <p:cNvSpPr>
            <a:spLocks noChangeArrowheads="1"/>
          </p:cNvSpPr>
          <p:nvPr userDrawn="1"/>
        </p:nvSpPr>
        <p:spPr bwMode="auto">
          <a:xfrm>
            <a:off x="8743692"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21" name="Oval 879"/>
          <p:cNvSpPr>
            <a:spLocks noChangeArrowheads="1"/>
          </p:cNvSpPr>
          <p:nvPr userDrawn="1"/>
        </p:nvSpPr>
        <p:spPr bwMode="auto">
          <a:xfrm>
            <a:off x="8836892" y="3324793"/>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22" name="Oval 880"/>
          <p:cNvSpPr>
            <a:spLocks noChangeArrowheads="1"/>
          </p:cNvSpPr>
          <p:nvPr userDrawn="1"/>
        </p:nvSpPr>
        <p:spPr bwMode="auto">
          <a:xfrm>
            <a:off x="8928298" y="3324793"/>
            <a:ext cx="77068"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23" name="Oval 881"/>
          <p:cNvSpPr>
            <a:spLocks noChangeArrowheads="1"/>
          </p:cNvSpPr>
          <p:nvPr userDrawn="1"/>
        </p:nvSpPr>
        <p:spPr bwMode="auto">
          <a:xfrm>
            <a:off x="9014328"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24" name="Oval 882"/>
          <p:cNvSpPr>
            <a:spLocks noChangeArrowheads="1"/>
          </p:cNvSpPr>
          <p:nvPr userDrawn="1"/>
        </p:nvSpPr>
        <p:spPr bwMode="auto">
          <a:xfrm>
            <a:off x="9105735"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425" name="Oval 883"/>
          <p:cNvSpPr>
            <a:spLocks noChangeArrowheads="1"/>
          </p:cNvSpPr>
          <p:nvPr userDrawn="1"/>
        </p:nvSpPr>
        <p:spPr bwMode="auto">
          <a:xfrm>
            <a:off x="9197142" y="3324793"/>
            <a:ext cx="78861"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1" name="Oval 884"/>
          <p:cNvSpPr>
            <a:spLocks noChangeArrowheads="1"/>
          </p:cNvSpPr>
          <p:nvPr userDrawn="1"/>
        </p:nvSpPr>
        <p:spPr bwMode="auto">
          <a:xfrm>
            <a:off x="9284964" y="3324793"/>
            <a:ext cx="82445"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2" name="Oval 885"/>
          <p:cNvSpPr>
            <a:spLocks noChangeArrowheads="1"/>
          </p:cNvSpPr>
          <p:nvPr userDrawn="1"/>
        </p:nvSpPr>
        <p:spPr bwMode="auto">
          <a:xfrm>
            <a:off x="9378163" y="3324793"/>
            <a:ext cx="80653" cy="80653"/>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3" name="Oval 886"/>
          <p:cNvSpPr>
            <a:spLocks noChangeArrowheads="1"/>
          </p:cNvSpPr>
          <p:nvPr userDrawn="1"/>
        </p:nvSpPr>
        <p:spPr bwMode="auto">
          <a:xfrm>
            <a:off x="4953000"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714" name="Oval 887"/>
          <p:cNvSpPr>
            <a:spLocks noChangeArrowheads="1"/>
          </p:cNvSpPr>
          <p:nvPr userDrawn="1"/>
        </p:nvSpPr>
        <p:spPr bwMode="auto">
          <a:xfrm>
            <a:off x="5044407"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715" name="Oval 888"/>
          <p:cNvSpPr>
            <a:spLocks noChangeArrowheads="1"/>
          </p:cNvSpPr>
          <p:nvPr userDrawn="1"/>
        </p:nvSpPr>
        <p:spPr bwMode="auto">
          <a:xfrm>
            <a:off x="5130437" y="341620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6" name="Oval 889"/>
          <p:cNvSpPr>
            <a:spLocks noChangeArrowheads="1"/>
          </p:cNvSpPr>
          <p:nvPr userDrawn="1"/>
        </p:nvSpPr>
        <p:spPr bwMode="auto">
          <a:xfrm>
            <a:off x="5221843" y="341620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7" name="Oval 890"/>
          <p:cNvSpPr>
            <a:spLocks noChangeArrowheads="1"/>
          </p:cNvSpPr>
          <p:nvPr userDrawn="1"/>
        </p:nvSpPr>
        <p:spPr bwMode="auto">
          <a:xfrm>
            <a:off x="5315042"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8" name="Oval 891"/>
          <p:cNvSpPr>
            <a:spLocks noChangeArrowheads="1"/>
          </p:cNvSpPr>
          <p:nvPr userDrawn="1"/>
        </p:nvSpPr>
        <p:spPr bwMode="auto">
          <a:xfrm>
            <a:off x="5402865"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19" name="Oval 892"/>
          <p:cNvSpPr>
            <a:spLocks noChangeArrowheads="1"/>
          </p:cNvSpPr>
          <p:nvPr userDrawn="1"/>
        </p:nvSpPr>
        <p:spPr bwMode="auto">
          <a:xfrm>
            <a:off x="5494271"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0" name="Oval 893"/>
          <p:cNvSpPr>
            <a:spLocks noChangeArrowheads="1"/>
          </p:cNvSpPr>
          <p:nvPr userDrawn="1"/>
        </p:nvSpPr>
        <p:spPr bwMode="auto">
          <a:xfrm>
            <a:off x="5585678"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1" name="Oval 894"/>
          <p:cNvSpPr>
            <a:spLocks noChangeArrowheads="1"/>
          </p:cNvSpPr>
          <p:nvPr userDrawn="1"/>
        </p:nvSpPr>
        <p:spPr bwMode="auto">
          <a:xfrm>
            <a:off x="5673500"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2" name="Oval 895"/>
          <p:cNvSpPr>
            <a:spLocks noChangeArrowheads="1"/>
          </p:cNvSpPr>
          <p:nvPr userDrawn="1"/>
        </p:nvSpPr>
        <p:spPr bwMode="auto">
          <a:xfrm>
            <a:off x="5764907"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3" name="Oval 896"/>
          <p:cNvSpPr>
            <a:spLocks noChangeArrowheads="1"/>
          </p:cNvSpPr>
          <p:nvPr userDrawn="1"/>
        </p:nvSpPr>
        <p:spPr bwMode="auto">
          <a:xfrm>
            <a:off x="5858106" y="3416200"/>
            <a:ext cx="75276"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4" name="Oval 897"/>
          <p:cNvSpPr>
            <a:spLocks noChangeArrowheads="1"/>
          </p:cNvSpPr>
          <p:nvPr userDrawn="1"/>
        </p:nvSpPr>
        <p:spPr bwMode="auto">
          <a:xfrm>
            <a:off x="5944136"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5" name="Oval 898"/>
          <p:cNvSpPr>
            <a:spLocks noChangeArrowheads="1"/>
          </p:cNvSpPr>
          <p:nvPr userDrawn="1"/>
        </p:nvSpPr>
        <p:spPr bwMode="auto">
          <a:xfrm>
            <a:off x="6035543"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6" name="Oval 899"/>
          <p:cNvSpPr>
            <a:spLocks noChangeArrowheads="1"/>
          </p:cNvSpPr>
          <p:nvPr userDrawn="1"/>
        </p:nvSpPr>
        <p:spPr bwMode="auto">
          <a:xfrm>
            <a:off x="6126950"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7" name="Oval 900"/>
          <p:cNvSpPr>
            <a:spLocks noChangeArrowheads="1"/>
          </p:cNvSpPr>
          <p:nvPr userDrawn="1"/>
        </p:nvSpPr>
        <p:spPr bwMode="auto">
          <a:xfrm>
            <a:off x="6212980" y="341620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8" name="Oval 901"/>
          <p:cNvSpPr>
            <a:spLocks noChangeArrowheads="1"/>
          </p:cNvSpPr>
          <p:nvPr userDrawn="1"/>
        </p:nvSpPr>
        <p:spPr bwMode="auto">
          <a:xfrm>
            <a:off x="6306179"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29" name="Oval 902"/>
          <p:cNvSpPr>
            <a:spLocks noChangeArrowheads="1"/>
          </p:cNvSpPr>
          <p:nvPr userDrawn="1"/>
        </p:nvSpPr>
        <p:spPr bwMode="auto">
          <a:xfrm>
            <a:off x="6397585"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0" name="Oval 903"/>
          <p:cNvSpPr>
            <a:spLocks noChangeArrowheads="1"/>
          </p:cNvSpPr>
          <p:nvPr userDrawn="1"/>
        </p:nvSpPr>
        <p:spPr bwMode="auto">
          <a:xfrm>
            <a:off x="6485408"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1" name="Oval 904"/>
          <p:cNvSpPr>
            <a:spLocks noChangeArrowheads="1"/>
          </p:cNvSpPr>
          <p:nvPr userDrawn="1"/>
        </p:nvSpPr>
        <p:spPr bwMode="auto">
          <a:xfrm>
            <a:off x="6576814"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2" name="Oval 905"/>
          <p:cNvSpPr>
            <a:spLocks noChangeArrowheads="1"/>
          </p:cNvSpPr>
          <p:nvPr userDrawn="1"/>
        </p:nvSpPr>
        <p:spPr bwMode="auto">
          <a:xfrm>
            <a:off x="6668221" y="3416200"/>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3" name="Oval 906"/>
          <p:cNvSpPr>
            <a:spLocks noChangeArrowheads="1"/>
          </p:cNvSpPr>
          <p:nvPr userDrawn="1"/>
        </p:nvSpPr>
        <p:spPr bwMode="auto">
          <a:xfrm>
            <a:off x="6754251" y="341620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4" name="Oval 907"/>
          <p:cNvSpPr>
            <a:spLocks noChangeArrowheads="1"/>
          </p:cNvSpPr>
          <p:nvPr userDrawn="1"/>
        </p:nvSpPr>
        <p:spPr bwMode="auto">
          <a:xfrm>
            <a:off x="6847450"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5" name="Oval 908"/>
          <p:cNvSpPr>
            <a:spLocks noChangeArrowheads="1"/>
          </p:cNvSpPr>
          <p:nvPr userDrawn="1"/>
        </p:nvSpPr>
        <p:spPr bwMode="auto">
          <a:xfrm>
            <a:off x="6940649"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6" name="Oval 909"/>
          <p:cNvSpPr>
            <a:spLocks noChangeArrowheads="1"/>
          </p:cNvSpPr>
          <p:nvPr userDrawn="1"/>
        </p:nvSpPr>
        <p:spPr bwMode="auto">
          <a:xfrm>
            <a:off x="7026679"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7" name="Oval 910"/>
          <p:cNvSpPr>
            <a:spLocks noChangeArrowheads="1"/>
          </p:cNvSpPr>
          <p:nvPr userDrawn="1"/>
        </p:nvSpPr>
        <p:spPr bwMode="auto">
          <a:xfrm>
            <a:off x="7118086"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8" name="Oval 911"/>
          <p:cNvSpPr>
            <a:spLocks noChangeArrowheads="1"/>
          </p:cNvSpPr>
          <p:nvPr userDrawn="1"/>
        </p:nvSpPr>
        <p:spPr bwMode="auto">
          <a:xfrm>
            <a:off x="7209493" y="3416200"/>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39" name="Oval 912"/>
          <p:cNvSpPr>
            <a:spLocks noChangeArrowheads="1"/>
          </p:cNvSpPr>
          <p:nvPr userDrawn="1"/>
        </p:nvSpPr>
        <p:spPr bwMode="auto">
          <a:xfrm>
            <a:off x="7299107"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0" name="Oval 913"/>
          <p:cNvSpPr>
            <a:spLocks noChangeArrowheads="1"/>
          </p:cNvSpPr>
          <p:nvPr userDrawn="1"/>
        </p:nvSpPr>
        <p:spPr bwMode="auto">
          <a:xfrm>
            <a:off x="7390514"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1" name="Oval 914"/>
          <p:cNvSpPr>
            <a:spLocks noChangeArrowheads="1"/>
          </p:cNvSpPr>
          <p:nvPr userDrawn="1"/>
        </p:nvSpPr>
        <p:spPr bwMode="auto">
          <a:xfrm>
            <a:off x="7481921"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2" name="Oval 915"/>
          <p:cNvSpPr>
            <a:spLocks noChangeArrowheads="1"/>
          </p:cNvSpPr>
          <p:nvPr userDrawn="1"/>
        </p:nvSpPr>
        <p:spPr bwMode="auto">
          <a:xfrm>
            <a:off x="7573327"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3" name="Oval 916"/>
          <p:cNvSpPr>
            <a:spLocks noChangeArrowheads="1"/>
          </p:cNvSpPr>
          <p:nvPr userDrawn="1"/>
        </p:nvSpPr>
        <p:spPr bwMode="auto">
          <a:xfrm>
            <a:off x="7659357"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4" name="Oval 917"/>
          <p:cNvSpPr>
            <a:spLocks noChangeArrowheads="1"/>
          </p:cNvSpPr>
          <p:nvPr userDrawn="1"/>
        </p:nvSpPr>
        <p:spPr bwMode="auto">
          <a:xfrm>
            <a:off x="7752556"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5" name="Oval 918"/>
          <p:cNvSpPr>
            <a:spLocks noChangeArrowheads="1"/>
          </p:cNvSpPr>
          <p:nvPr userDrawn="1"/>
        </p:nvSpPr>
        <p:spPr bwMode="auto">
          <a:xfrm>
            <a:off x="7845755"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6" name="Oval 919"/>
          <p:cNvSpPr>
            <a:spLocks noChangeArrowheads="1"/>
          </p:cNvSpPr>
          <p:nvPr userDrawn="1"/>
        </p:nvSpPr>
        <p:spPr bwMode="auto">
          <a:xfrm>
            <a:off x="7931785"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7" name="Oval 920"/>
          <p:cNvSpPr>
            <a:spLocks noChangeArrowheads="1"/>
          </p:cNvSpPr>
          <p:nvPr userDrawn="1"/>
        </p:nvSpPr>
        <p:spPr bwMode="auto">
          <a:xfrm>
            <a:off x="8023192"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8" name="Oval 921"/>
          <p:cNvSpPr>
            <a:spLocks noChangeArrowheads="1"/>
          </p:cNvSpPr>
          <p:nvPr userDrawn="1"/>
        </p:nvSpPr>
        <p:spPr bwMode="auto">
          <a:xfrm>
            <a:off x="8114599"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49" name="Oval 922"/>
          <p:cNvSpPr>
            <a:spLocks noChangeArrowheads="1"/>
          </p:cNvSpPr>
          <p:nvPr userDrawn="1"/>
        </p:nvSpPr>
        <p:spPr bwMode="auto">
          <a:xfrm>
            <a:off x="8202421"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0" name="Oval 923"/>
          <p:cNvSpPr>
            <a:spLocks noChangeArrowheads="1"/>
          </p:cNvSpPr>
          <p:nvPr userDrawn="1"/>
        </p:nvSpPr>
        <p:spPr bwMode="auto">
          <a:xfrm>
            <a:off x="8293828" y="3416200"/>
            <a:ext cx="8423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1" name="Oval 924"/>
          <p:cNvSpPr>
            <a:spLocks noChangeArrowheads="1"/>
          </p:cNvSpPr>
          <p:nvPr userDrawn="1"/>
        </p:nvSpPr>
        <p:spPr bwMode="auto">
          <a:xfrm>
            <a:off x="8387027"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2" name="Oval 925"/>
          <p:cNvSpPr>
            <a:spLocks noChangeArrowheads="1"/>
          </p:cNvSpPr>
          <p:nvPr userDrawn="1"/>
        </p:nvSpPr>
        <p:spPr bwMode="auto">
          <a:xfrm>
            <a:off x="8473057"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3" name="Oval 926"/>
          <p:cNvSpPr>
            <a:spLocks noChangeArrowheads="1"/>
          </p:cNvSpPr>
          <p:nvPr userDrawn="1"/>
        </p:nvSpPr>
        <p:spPr bwMode="auto">
          <a:xfrm>
            <a:off x="8566256" y="3416200"/>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4" name="Oval 927"/>
          <p:cNvSpPr>
            <a:spLocks noChangeArrowheads="1"/>
          </p:cNvSpPr>
          <p:nvPr userDrawn="1"/>
        </p:nvSpPr>
        <p:spPr bwMode="auto">
          <a:xfrm>
            <a:off x="8657663" y="3416200"/>
            <a:ext cx="75276"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5" name="Oval 928"/>
          <p:cNvSpPr>
            <a:spLocks noChangeArrowheads="1"/>
          </p:cNvSpPr>
          <p:nvPr userDrawn="1"/>
        </p:nvSpPr>
        <p:spPr bwMode="auto">
          <a:xfrm>
            <a:off x="8743692"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6" name="Oval 929"/>
          <p:cNvSpPr>
            <a:spLocks noChangeArrowheads="1"/>
          </p:cNvSpPr>
          <p:nvPr userDrawn="1"/>
        </p:nvSpPr>
        <p:spPr bwMode="auto">
          <a:xfrm>
            <a:off x="8836892"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7" name="Oval 930"/>
          <p:cNvSpPr>
            <a:spLocks noChangeArrowheads="1"/>
          </p:cNvSpPr>
          <p:nvPr userDrawn="1"/>
        </p:nvSpPr>
        <p:spPr bwMode="auto">
          <a:xfrm>
            <a:off x="8928298" y="3416200"/>
            <a:ext cx="77068"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8" name="Oval 931"/>
          <p:cNvSpPr>
            <a:spLocks noChangeArrowheads="1"/>
          </p:cNvSpPr>
          <p:nvPr userDrawn="1"/>
        </p:nvSpPr>
        <p:spPr bwMode="auto">
          <a:xfrm>
            <a:off x="9014328"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59" name="Oval 932"/>
          <p:cNvSpPr>
            <a:spLocks noChangeArrowheads="1"/>
          </p:cNvSpPr>
          <p:nvPr userDrawn="1"/>
        </p:nvSpPr>
        <p:spPr bwMode="auto">
          <a:xfrm>
            <a:off x="9105735"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0" name="Oval 933"/>
          <p:cNvSpPr>
            <a:spLocks noChangeArrowheads="1"/>
          </p:cNvSpPr>
          <p:nvPr userDrawn="1"/>
        </p:nvSpPr>
        <p:spPr bwMode="auto">
          <a:xfrm>
            <a:off x="9197142" y="3416200"/>
            <a:ext cx="78861"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1" name="Oval 934"/>
          <p:cNvSpPr>
            <a:spLocks noChangeArrowheads="1"/>
          </p:cNvSpPr>
          <p:nvPr userDrawn="1"/>
        </p:nvSpPr>
        <p:spPr bwMode="auto">
          <a:xfrm>
            <a:off x="9284964" y="3416200"/>
            <a:ext cx="82445"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2" name="Oval 935"/>
          <p:cNvSpPr>
            <a:spLocks noChangeArrowheads="1"/>
          </p:cNvSpPr>
          <p:nvPr userDrawn="1"/>
        </p:nvSpPr>
        <p:spPr bwMode="auto">
          <a:xfrm>
            <a:off x="9378163" y="3416200"/>
            <a:ext cx="80653" cy="82445"/>
          </a:xfrm>
          <a:prstGeom prst="ellipse">
            <a:avLst/>
          </a:prstGeom>
          <a:solidFill>
            <a:srgbClr val="5F8AC3"/>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3" name="Oval 936"/>
          <p:cNvSpPr>
            <a:spLocks noChangeArrowheads="1"/>
          </p:cNvSpPr>
          <p:nvPr userDrawn="1"/>
        </p:nvSpPr>
        <p:spPr bwMode="auto">
          <a:xfrm>
            <a:off x="4953000"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4" name="Oval 937"/>
          <p:cNvSpPr>
            <a:spLocks noChangeArrowheads="1"/>
          </p:cNvSpPr>
          <p:nvPr userDrawn="1"/>
        </p:nvSpPr>
        <p:spPr bwMode="auto">
          <a:xfrm>
            <a:off x="5044407"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5" name="Oval 938"/>
          <p:cNvSpPr>
            <a:spLocks noChangeArrowheads="1"/>
          </p:cNvSpPr>
          <p:nvPr userDrawn="1"/>
        </p:nvSpPr>
        <p:spPr bwMode="auto">
          <a:xfrm>
            <a:off x="5130437" y="3507607"/>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6" name="Oval 939"/>
          <p:cNvSpPr>
            <a:spLocks noChangeArrowheads="1"/>
          </p:cNvSpPr>
          <p:nvPr userDrawn="1"/>
        </p:nvSpPr>
        <p:spPr bwMode="auto">
          <a:xfrm>
            <a:off x="5221843" y="3507607"/>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7" name="Oval 940"/>
          <p:cNvSpPr>
            <a:spLocks noChangeArrowheads="1"/>
          </p:cNvSpPr>
          <p:nvPr userDrawn="1"/>
        </p:nvSpPr>
        <p:spPr bwMode="auto">
          <a:xfrm>
            <a:off x="5315042"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8" name="Oval 941"/>
          <p:cNvSpPr>
            <a:spLocks noChangeArrowheads="1"/>
          </p:cNvSpPr>
          <p:nvPr userDrawn="1"/>
        </p:nvSpPr>
        <p:spPr bwMode="auto">
          <a:xfrm>
            <a:off x="5402865"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69" name="Oval 942"/>
          <p:cNvSpPr>
            <a:spLocks noChangeArrowheads="1"/>
          </p:cNvSpPr>
          <p:nvPr userDrawn="1"/>
        </p:nvSpPr>
        <p:spPr bwMode="auto">
          <a:xfrm>
            <a:off x="5494271"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0" name="Oval 943"/>
          <p:cNvSpPr>
            <a:spLocks noChangeArrowheads="1"/>
          </p:cNvSpPr>
          <p:nvPr userDrawn="1"/>
        </p:nvSpPr>
        <p:spPr bwMode="auto">
          <a:xfrm>
            <a:off x="5585678"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1" name="Oval 944"/>
          <p:cNvSpPr>
            <a:spLocks noChangeArrowheads="1"/>
          </p:cNvSpPr>
          <p:nvPr userDrawn="1"/>
        </p:nvSpPr>
        <p:spPr bwMode="auto">
          <a:xfrm>
            <a:off x="5673500"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2" name="Oval 945"/>
          <p:cNvSpPr>
            <a:spLocks noChangeArrowheads="1"/>
          </p:cNvSpPr>
          <p:nvPr userDrawn="1"/>
        </p:nvSpPr>
        <p:spPr bwMode="auto">
          <a:xfrm>
            <a:off x="5764907"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3" name="Oval 946"/>
          <p:cNvSpPr>
            <a:spLocks noChangeArrowheads="1"/>
          </p:cNvSpPr>
          <p:nvPr userDrawn="1"/>
        </p:nvSpPr>
        <p:spPr bwMode="auto">
          <a:xfrm>
            <a:off x="5858106" y="3507607"/>
            <a:ext cx="75276"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4" name="Oval 947"/>
          <p:cNvSpPr>
            <a:spLocks noChangeArrowheads="1"/>
          </p:cNvSpPr>
          <p:nvPr userDrawn="1"/>
        </p:nvSpPr>
        <p:spPr bwMode="auto">
          <a:xfrm>
            <a:off x="5944136"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5" name="Oval 948"/>
          <p:cNvSpPr>
            <a:spLocks noChangeArrowheads="1"/>
          </p:cNvSpPr>
          <p:nvPr userDrawn="1"/>
        </p:nvSpPr>
        <p:spPr bwMode="auto">
          <a:xfrm>
            <a:off x="6035543"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6" name="Oval 949"/>
          <p:cNvSpPr>
            <a:spLocks noChangeArrowheads="1"/>
          </p:cNvSpPr>
          <p:nvPr userDrawn="1"/>
        </p:nvSpPr>
        <p:spPr bwMode="auto">
          <a:xfrm>
            <a:off x="6126950"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7" name="Oval 950"/>
          <p:cNvSpPr>
            <a:spLocks noChangeArrowheads="1"/>
          </p:cNvSpPr>
          <p:nvPr userDrawn="1"/>
        </p:nvSpPr>
        <p:spPr bwMode="auto">
          <a:xfrm>
            <a:off x="6212980" y="3507607"/>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8" name="Oval 951"/>
          <p:cNvSpPr>
            <a:spLocks noChangeArrowheads="1"/>
          </p:cNvSpPr>
          <p:nvPr userDrawn="1"/>
        </p:nvSpPr>
        <p:spPr bwMode="auto">
          <a:xfrm>
            <a:off x="6306179"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79" name="Oval 952"/>
          <p:cNvSpPr>
            <a:spLocks noChangeArrowheads="1"/>
          </p:cNvSpPr>
          <p:nvPr userDrawn="1"/>
        </p:nvSpPr>
        <p:spPr bwMode="auto">
          <a:xfrm>
            <a:off x="6397585"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0" name="Oval 953"/>
          <p:cNvSpPr>
            <a:spLocks noChangeArrowheads="1"/>
          </p:cNvSpPr>
          <p:nvPr userDrawn="1"/>
        </p:nvSpPr>
        <p:spPr bwMode="auto">
          <a:xfrm>
            <a:off x="6485408"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1" name="Oval 954"/>
          <p:cNvSpPr>
            <a:spLocks noChangeArrowheads="1"/>
          </p:cNvSpPr>
          <p:nvPr userDrawn="1"/>
        </p:nvSpPr>
        <p:spPr bwMode="auto">
          <a:xfrm>
            <a:off x="6576814"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2" name="Oval 955"/>
          <p:cNvSpPr>
            <a:spLocks noChangeArrowheads="1"/>
          </p:cNvSpPr>
          <p:nvPr userDrawn="1"/>
        </p:nvSpPr>
        <p:spPr bwMode="auto">
          <a:xfrm>
            <a:off x="6668221" y="3507607"/>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3" name="Oval 956"/>
          <p:cNvSpPr>
            <a:spLocks noChangeArrowheads="1"/>
          </p:cNvSpPr>
          <p:nvPr userDrawn="1"/>
        </p:nvSpPr>
        <p:spPr bwMode="auto">
          <a:xfrm>
            <a:off x="6754251" y="3507607"/>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4" name="Oval 957"/>
          <p:cNvSpPr>
            <a:spLocks noChangeArrowheads="1"/>
          </p:cNvSpPr>
          <p:nvPr userDrawn="1"/>
        </p:nvSpPr>
        <p:spPr bwMode="auto">
          <a:xfrm>
            <a:off x="6847450"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5" name="Oval 958"/>
          <p:cNvSpPr>
            <a:spLocks noChangeArrowheads="1"/>
          </p:cNvSpPr>
          <p:nvPr userDrawn="1"/>
        </p:nvSpPr>
        <p:spPr bwMode="auto">
          <a:xfrm>
            <a:off x="6940649"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6" name="Oval 959"/>
          <p:cNvSpPr>
            <a:spLocks noChangeArrowheads="1"/>
          </p:cNvSpPr>
          <p:nvPr userDrawn="1"/>
        </p:nvSpPr>
        <p:spPr bwMode="auto">
          <a:xfrm>
            <a:off x="7026679"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7" name="Oval 960"/>
          <p:cNvSpPr>
            <a:spLocks noChangeArrowheads="1"/>
          </p:cNvSpPr>
          <p:nvPr userDrawn="1"/>
        </p:nvSpPr>
        <p:spPr bwMode="auto">
          <a:xfrm>
            <a:off x="7118086"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8" name="Oval 961"/>
          <p:cNvSpPr>
            <a:spLocks noChangeArrowheads="1"/>
          </p:cNvSpPr>
          <p:nvPr userDrawn="1"/>
        </p:nvSpPr>
        <p:spPr bwMode="auto">
          <a:xfrm>
            <a:off x="7209493" y="3507607"/>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89" name="Oval 962"/>
          <p:cNvSpPr>
            <a:spLocks noChangeArrowheads="1"/>
          </p:cNvSpPr>
          <p:nvPr userDrawn="1"/>
        </p:nvSpPr>
        <p:spPr bwMode="auto">
          <a:xfrm>
            <a:off x="7299107"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0" name="Oval 963"/>
          <p:cNvSpPr>
            <a:spLocks noChangeArrowheads="1"/>
          </p:cNvSpPr>
          <p:nvPr userDrawn="1"/>
        </p:nvSpPr>
        <p:spPr bwMode="auto">
          <a:xfrm>
            <a:off x="7390514"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1" name="Oval 964"/>
          <p:cNvSpPr>
            <a:spLocks noChangeArrowheads="1"/>
          </p:cNvSpPr>
          <p:nvPr userDrawn="1"/>
        </p:nvSpPr>
        <p:spPr bwMode="auto">
          <a:xfrm>
            <a:off x="7481921"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2" name="Oval 965"/>
          <p:cNvSpPr>
            <a:spLocks noChangeArrowheads="1"/>
          </p:cNvSpPr>
          <p:nvPr userDrawn="1"/>
        </p:nvSpPr>
        <p:spPr bwMode="auto">
          <a:xfrm>
            <a:off x="7573327"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3" name="Oval 966"/>
          <p:cNvSpPr>
            <a:spLocks noChangeArrowheads="1"/>
          </p:cNvSpPr>
          <p:nvPr userDrawn="1"/>
        </p:nvSpPr>
        <p:spPr bwMode="auto">
          <a:xfrm>
            <a:off x="7659357"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4" name="Oval 967"/>
          <p:cNvSpPr>
            <a:spLocks noChangeArrowheads="1"/>
          </p:cNvSpPr>
          <p:nvPr userDrawn="1"/>
        </p:nvSpPr>
        <p:spPr bwMode="auto">
          <a:xfrm>
            <a:off x="7752556"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5" name="Oval 968"/>
          <p:cNvSpPr>
            <a:spLocks noChangeArrowheads="1"/>
          </p:cNvSpPr>
          <p:nvPr userDrawn="1"/>
        </p:nvSpPr>
        <p:spPr bwMode="auto">
          <a:xfrm>
            <a:off x="7845755"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6" name="Oval 969"/>
          <p:cNvSpPr>
            <a:spLocks noChangeArrowheads="1"/>
          </p:cNvSpPr>
          <p:nvPr userDrawn="1"/>
        </p:nvSpPr>
        <p:spPr bwMode="auto">
          <a:xfrm>
            <a:off x="7931785"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7" name="Oval 970"/>
          <p:cNvSpPr>
            <a:spLocks noChangeArrowheads="1"/>
          </p:cNvSpPr>
          <p:nvPr userDrawn="1"/>
        </p:nvSpPr>
        <p:spPr bwMode="auto">
          <a:xfrm>
            <a:off x="8023192"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8" name="Oval 971"/>
          <p:cNvSpPr>
            <a:spLocks noChangeArrowheads="1"/>
          </p:cNvSpPr>
          <p:nvPr userDrawn="1"/>
        </p:nvSpPr>
        <p:spPr bwMode="auto">
          <a:xfrm>
            <a:off x="8114599"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799" name="Oval 972"/>
          <p:cNvSpPr>
            <a:spLocks noChangeArrowheads="1"/>
          </p:cNvSpPr>
          <p:nvPr userDrawn="1"/>
        </p:nvSpPr>
        <p:spPr bwMode="auto">
          <a:xfrm>
            <a:off x="8202421"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0" name="Oval 973"/>
          <p:cNvSpPr>
            <a:spLocks noChangeArrowheads="1"/>
          </p:cNvSpPr>
          <p:nvPr userDrawn="1"/>
        </p:nvSpPr>
        <p:spPr bwMode="auto">
          <a:xfrm>
            <a:off x="8293828" y="3507607"/>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1" name="Oval 974"/>
          <p:cNvSpPr>
            <a:spLocks noChangeArrowheads="1"/>
          </p:cNvSpPr>
          <p:nvPr userDrawn="1"/>
        </p:nvSpPr>
        <p:spPr bwMode="auto">
          <a:xfrm>
            <a:off x="8387027"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2" name="Oval 975"/>
          <p:cNvSpPr>
            <a:spLocks noChangeArrowheads="1"/>
          </p:cNvSpPr>
          <p:nvPr userDrawn="1"/>
        </p:nvSpPr>
        <p:spPr bwMode="auto">
          <a:xfrm>
            <a:off x="8473057"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3" name="Oval 976"/>
          <p:cNvSpPr>
            <a:spLocks noChangeArrowheads="1"/>
          </p:cNvSpPr>
          <p:nvPr userDrawn="1"/>
        </p:nvSpPr>
        <p:spPr bwMode="auto">
          <a:xfrm>
            <a:off x="8566256" y="3507607"/>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4" name="Oval 977"/>
          <p:cNvSpPr>
            <a:spLocks noChangeArrowheads="1"/>
          </p:cNvSpPr>
          <p:nvPr userDrawn="1"/>
        </p:nvSpPr>
        <p:spPr bwMode="auto">
          <a:xfrm>
            <a:off x="8657663" y="3507607"/>
            <a:ext cx="75276"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5" name="Oval 978"/>
          <p:cNvSpPr>
            <a:spLocks noChangeArrowheads="1"/>
          </p:cNvSpPr>
          <p:nvPr userDrawn="1"/>
        </p:nvSpPr>
        <p:spPr bwMode="auto">
          <a:xfrm>
            <a:off x="8743692"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6" name="Oval 979"/>
          <p:cNvSpPr>
            <a:spLocks noChangeArrowheads="1"/>
          </p:cNvSpPr>
          <p:nvPr userDrawn="1"/>
        </p:nvSpPr>
        <p:spPr bwMode="auto">
          <a:xfrm>
            <a:off x="8836892"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7" name="Oval 980"/>
          <p:cNvSpPr>
            <a:spLocks noChangeArrowheads="1"/>
          </p:cNvSpPr>
          <p:nvPr userDrawn="1"/>
        </p:nvSpPr>
        <p:spPr bwMode="auto">
          <a:xfrm>
            <a:off x="8928298" y="3507607"/>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8" name="Oval 981"/>
          <p:cNvSpPr>
            <a:spLocks noChangeArrowheads="1"/>
          </p:cNvSpPr>
          <p:nvPr userDrawn="1"/>
        </p:nvSpPr>
        <p:spPr bwMode="auto">
          <a:xfrm>
            <a:off x="9014328"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09" name="Oval 982"/>
          <p:cNvSpPr>
            <a:spLocks noChangeArrowheads="1"/>
          </p:cNvSpPr>
          <p:nvPr userDrawn="1"/>
        </p:nvSpPr>
        <p:spPr bwMode="auto">
          <a:xfrm>
            <a:off x="9105735"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0" name="Oval 983"/>
          <p:cNvSpPr>
            <a:spLocks noChangeArrowheads="1"/>
          </p:cNvSpPr>
          <p:nvPr userDrawn="1"/>
        </p:nvSpPr>
        <p:spPr bwMode="auto">
          <a:xfrm>
            <a:off x="9197142" y="3507607"/>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1" name="Oval 984"/>
          <p:cNvSpPr>
            <a:spLocks noChangeArrowheads="1"/>
          </p:cNvSpPr>
          <p:nvPr userDrawn="1"/>
        </p:nvSpPr>
        <p:spPr bwMode="auto">
          <a:xfrm>
            <a:off x="9284964" y="3507607"/>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2" name="Oval 985"/>
          <p:cNvSpPr>
            <a:spLocks noChangeArrowheads="1"/>
          </p:cNvSpPr>
          <p:nvPr userDrawn="1"/>
        </p:nvSpPr>
        <p:spPr bwMode="auto">
          <a:xfrm>
            <a:off x="9378163" y="3507607"/>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3" name="Oval 986"/>
          <p:cNvSpPr>
            <a:spLocks noChangeArrowheads="1"/>
          </p:cNvSpPr>
          <p:nvPr userDrawn="1"/>
        </p:nvSpPr>
        <p:spPr bwMode="auto">
          <a:xfrm>
            <a:off x="4953000"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4" name="Oval 987"/>
          <p:cNvSpPr>
            <a:spLocks noChangeArrowheads="1"/>
          </p:cNvSpPr>
          <p:nvPr userDrawn="1"/>
        </p:nvSpPr>
        <p:spPr bwMode="auto">
          <a:xfrm>
            <a:off x="5044407"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5" name="Oval 988"/>
          <p:cNvSpPr>
            <a:spLocks noChangeArrowheads="1"/>
          </p:cNvSpPr>
          <p:nvPr userDrawn="1"/>
        </p:nvSpPr>
        <p:spPr bwMode="auto">
          <a:xfrm>
            <a:off x="5130437" y="3595429"/>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6" name="Oval 989"/>
          <p:cNvSpPr>
            <a:spLocks noChangeArrowheads="1"/>
          </p:cNvSpPr>
          <p:nvPr userDrawn="1"/>
        </p:nvSpPr>
        <p:spPr bwMode="auto">
          <a:xfrm>
            <a:off x="5221843" y="3595429"/>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7" name="Oval 990"/>
          <p:cNvSpPr>
            <a:spLocks noChangeArrowheads="1"/>
          </p:cNvSpPr>
          <p:nvPr userDrawn="1"/>
        </p:nvSpPr>
        <p:spPr bwMode="auto">
          <a:xfrm>
            <a:off x="5315042"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8" name="Oval 991"/>
          <p:cNvSpPr>
            <a:spLocks noChangeArrowheads="1"/>
          </p:cNvSpPr>
          <p:nvPr userDrawn="1"/>
        </p:nvSpPr>
        <p:spPr bwMode="auto">
          <a:xfrm>
            <a:off x="5402865"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19" name="Oval 992"/>
          <p:cNvSpPr>
            <a:spLocks noChangeArrowheads="1"/>
          </p:cNvSpPr>
          <p:nvPr userDrawn="1"/>
        </p:nvSpPr>
        <p:spPr bwMode="auto">
          <a:xfrm>
            <a:off x="5494271"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0" name="Oval 993"/>
          <p:cNvSpPr>
            <a:spLocks noChangeArrowheads="1"/>
          </p:cNvSpPr>
          <p:nvPr userDrawn="1"/>
        </p:nvSpPr>
        <p:spPr bwMode="auto">
          <a:xfrm>
            <a:off x="5585678"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1" name="Oval 994"/>
          <p:cNvSpPr>
            <a:spLocks noChangeArrowheads="1"/>
          </p:cNvSpPr>
          <p:nvPr userDrawn="1"/>
        </p:nvSpPr>
        <p:spPr bwMode="auto">
          <a:xfrm>
            <a:off x="5673500"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2" name="Oval 995"/>
          <p:cNvSpPr>
            <a:spLocks noChangeArrowheads="1"/>
          </p:cNvSpPr>
          <p:nvPr userDrawn="1"/>
        </p:nvSpPr>
        <p:spPr bwMode="auto">
          <a:xfrm>
            <a:off x="5764907"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3" name="Oval 996"/>
          <p:cNvSpPr>
            <a:spLocks noChangeArrowheads="1"/>
          </p:cNvSpPr>
          <p:nvPr userDrawn="1"/>
        </p:nvSpPr>
        <p:spPr bwMode="auto">
          <a:xfrm>
            <a:off x="5858106" y="3595429"/>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4" name="Oval 997"/>
          <p:cNvSpPr>
            <a:spLocks noChangeArrowheads="1"/>
          </p:cNvSpPr>
          <p:nvPr userDrawn="1"/>
        </p:nvSpPr>
        <p:spPr bwMode="auto">
          <a:xfrm>
            <a:off x="5944136"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5" name="Oval 998"/>
          <p:cNvSpPr>
            <a:spLocks noChangeArrowheads="1"/>
          </p:cNvSpPr>
          <p:nvPr userDrawn="1"/>
        </p:nvSpPr>
        <p:spPr bwMode="auto">
          <a:xfrm>
            <a:off x="6035543"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6" name="Oval 999"/>
          <p:cNvSpPr>
            <a:spLocks noChangeArrowheads="1"/>
          </p:cNvSpPr>
          <p:nvPr userDrawn="1"/>
        </p:nvSpPr>
        <p:spPr bwMode="auto">
          <a:xfrm>
            <a:off x="6126950"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7" name="Oval 1000"/>
          <p:cNvSpPr>
            <a:spLocks noChangeArrowheads="1"/>
          </p:cNvSpPr>
          <p:nvPr userDrawn="1"/>
        </p:nvSpPr>
        <p:spPr bwMode="auto">
          <a:xfrm>
            <a:off x="6212980" y="3595429"/>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8" name="Oval 1001"/>
          <p:cNvSpPr>
            <a:spLocks noChangeArrowheads="1"/>
          </p:cNvSpPr>
          <p:nvPr userDrawn="1"/>
        </p:nvSpPr>
        <p:spPr bwMode="auto">
          <a:xfrm>
            <a:off x="6306179"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29" name="Oval 1002"/>
          <p:cNvSpPr>
            <a:spLocks noChangeArrowheads="1"/>
          </p:cNvSpPr>
          <p:nvPr userDrawn="1"/>
        </p:nvSpPr>
        <p:spPr bwMode="auto">
          <a:xfrm>
            <a:off x="6397585"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0" name="Oval 1003"/>
          <p:cNvSpPr>
            <a:spLocks noChangeArrowheads="1"/>
          </p:cNvSpPr>
          <p:nvPr userDrawn="1"/>
        </p:nvSpPr>
        <p:spPr bwMode="auto">
          <a:xfrm>
            <a:off x="6485408"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1" name="Oval 1004"/>
          <p:cNvSpPr>
            <a:spLocks noChangeArrowheads="1"/>
          </p:cNvSpPr>
          <p:nvPr userDrawn="1"/>
        </p:nvSpPr>
        <p:spPr bwMode="auto">
          <a:xfrm>
            <a:off x="6576814"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2" name="Oval 1005"/>
          <p:cNvSpPr>
            <a:spLocks noChangeArrowheads="1"/>
          </p:cNvSpPr>
          <p:nvPr userDrawn="1"/>
        </p:nvSpPr>
        <p:spPr bwMode="auto">
          <a:xfrm>
            <a:off x="6668221" y="3595429"/>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3" name="Oval 1006"/>
          <p:cNvSpPr>
            <a:spLocks noChangeArrowheads="1"/>
          </p:cNvSpPr>
          <p:nvPr userDrawn="1"/>
        </p:nvSpPr>
        <p:spPr bwMode="auto">
          <a:xfrm>
            <a:off x="6754251" y="3595429"/>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4" name="Oval 1007"/>
          <p:cNvSpPr>
            <a:spLocks noChangeArrowheads="1"/>
          </p:cNvSpPr>
          <p:nvPr userDrawn="1"/>
        </p:nvSpPr>
        <p:spPr bwMode="auto">
          <a:xfrm>
            <a:off x="6847450"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5" name="Oval 1008"/>
          <p:cNvSpPr>
            <a:spLocks noChangeArrowheads="1"/>
          </p:cNvSpPr>
          <p:nvPr userDrawn="1"/>
        </p:nvSpPr>
        <p:spPr bwMode="auto">
          <a:xfrm>
            <a:off x="6940649"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6" name="Oval 1009"/>
          <p:cNvSpPr>
            <a:spLocks noChangeArrowheads="1"/>
          </p:cNvSpPr>
          <p:nvPr userDrawn="1"/>
        </p:nvSpPr>
        <p:spPr bwMode="auto">
          <a:xfrm>
            <a:off x="7026679"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7" name="Oval 1011"/>
          <p:cNvSpPr>
            <a:spLocks noChangeArrowheads="1"/>
          </p:cNvSpPr>
          <p:nvPr userDrawn="1"/>
        </p:nvSpPr>
        <p:spPr bwMode="auto">
          <a:xfrm>
            <a:off x="7118086"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8" name="Oval 1012"/>
          <p:cNvSpPr>
            <a:spLocks noChangeArrowheads="1"/>
          </p:cNvSpPr>
          <p:nvPr userDrawn="1"/>
        </p:nvSpPr>
        <p:spPr bwMode="auto">
          <a:xfrm>
            <a:off x="7209493" y="3595429"/>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39" name="Oval 1013"/>
          <p:cNvSpPr>
            <a:spLocks noChangeArrowheads="1"/>
          </p:cNvSpPr>
          <p:nvPr userDrawn="1"/>
        </p:nvSpPr>
        <p:spPr bwMode="auto">
          <a:xfrm>
            <a:off x="7299107"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0" name="Oval 1014"/>
          <p:cNvSpPr>
            <a:spLocks noChangeArrowheads="1"/>
          </p:cNvSpPr>
          <p:nvPr userDrawn="1"/>
        </p:nvSpPr>
        <p:spPr bwMode="auto">
          <a:xfrm>
            <a:off x="7390514"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1" name="Oval 1015"/>
          <p:cNvSpPr>
            <a:spLocks noChangeArrowheads="1"/>
          </p:cNvSpPr>
          <p:nvPr userDrawn="1"/>
        </p:nvSpPr>
        <p:spPr bwMode="auto">
          <a:xfrm>
            <a:off x="7481921"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2" name="Oval 1016"/>
          <p:cNvSpPr>
            <a:spLocks noChangeArrowheads="1"/>
          </p:cNvSpPr>
          <p:nvPr userDrawn="1"/>
        </p:nvSpPr>
        <p:spPr bwMode="auto">
          <a:xfrm>
            <a:off x="7573327"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3" name="Oval 1017"/>
          <p:cNvSpPr>
            <a:spLocks noChangeArrowheads="1"/>
          </p:cNvSpPr>
          <p:nvPr userDrawn="1"/>
        </p:nvSpPr>
        <p:spPr bwMode="auto">
          <a:xfrm>
            <a:off x="7659357"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4" name="Oval 1018"/>
          <p:cNvSpPr>
            <a:spLocks noChangeArrowheads="1"/>
          </p:cNvSpPr>
          <p:nvPr userDrawn="1"/>
        </p:nvSpPr>
        <p:spPr bwMode="auto">
          <a:xfrm>
            <a:off x="7752556"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5" name="Oval 1019"/>
          <p:cNvSpPr>
            <a:spLocks noChangeArrowheads="1"/>
          </p:cNvSpPr>
          <p:nvPr userDrawn="1"/>
        </p:nvSpPr>
        <p:spPr bwMode="auto">
          <a:xfrm>
            <a:off x="7845755"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6" name="Oval 1020"/>
          <p:cNvSpPr>
            <a:spLocks noChangeArrowheads="1"/>
          </p:cNvSpPr>
          <p:nvPr userDrawn="1"/>
        </p:nvSpPr>
        <p:spPr bwMode="auto">
          <a:xfrm>
            <a:off x="7931785"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7" name="Oval 1021"/>
          <p:cNvSpPr>
            <a:spLocks noChangeArrowheads="1"/>
          </p:cNvSpPr>
          <p:nvPr userDrawn="1"/>
        </p:nvSpPr>
        <p:spPr bwMode="auto">
          <a:xfrm>
            <a:off x="8023192"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8" name="Oval 1022"/>
          <p:cNvSpPr>
            <a:spLocks noChangeArrowheads="1"/>
          </p:cNvSpPr>
          <p:nvPr userDrawn="1"/>
        </p:nvSpPr>
        <p:spPr bwMode="auto">
          <a:xfrm>
            <a:off x="8114599"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49" name="Oval 1023"/>
          <p:cNvSpPr>
            <a:spLocks noChangeArrowheads="1"/>
          </p:cNvSpPr>
          <p:nvPr userDrawn="1"/>
        </p:nvSpPr>
        <p:spPr bwMode="auto">
          <a:xfrm>
            <a:off x="8202421"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0" name="Oval 1024"/>
          <p:cNvSpPr>
            <a:spLocks noChangeArrowheads="1"/>
          </p:cNvSpPr>
          <p:nvPr userDrawn="1"/>
        </p:nvSpPr>
        <p:spPr bwMode="auto">
          <a:xfrm>
            <a:off x="8293828" y="3595429"/>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1" name="Oval 1025"/>
          <p:cNvSpPr>
            <a:spLocks noChangeArrowheads="1"/>
          </p:cNvSpPr>
          <p:nvPr userDrawn="1"/>
        </p:nvSpPr>
        <p:spPr bwMode="auto">
          <a:xfrm>
            <a:off x="8387027"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2" name="Oval 1026"/>
          <p:cNvSpPr>
            <a:spLocks noChangeArrowheads="1"/>
          </p:cNvSpPr>
          <p:nvPr userDrawn="1"/>
        </p:nvSpPr>
        <p:spPr bwMode="auto">
          <a:xfrm>
            <a:off x="8473057"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3" name="Oval 1027"/>
          <p:cNvSpPr>
            <a:spLocks noChangeArrowheads="1"/>
          </p:cNvSpPr>
          <p:nvPr userDrawn="1"/>
        </p:nvSpPr>
        <p:spPr bwMode="auto">
          <a:xfrm>
            <a:off x="8566256" y="3595429"/>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4" name="Oval 1028"/>
          <p:cNvSpPr>
            <a:spLocks noChangeArrowheads="1"/>
          </p:cNvSpPr>
          <p:nvPr userDrawn="1"/>
        </p:nvSpPr>
        <p:spPr bwMode="auto">
          <a:xfrm>
            <a:off x="8657663" y="3595429"/>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5" name="Oval 1029"/>
          <p:cNvSpPr>
            <a:spLocks noChangeArrowheads="1"/>
          </p:cNvSpPr>
          <p:nvPr userDrawn="1"/>
        </p:nvSpPr>
        <p:spPr bwMode="auto">
          <a:xfrm>
            <a:off x="8743692"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6" name="Oval 1030"/>
          <p:cNvSpPr>
            <a:spLocks noChangeArrowheads="1"/>
          </p:cNvSpPr>
          <p:nvPr userDrawn="1"/>
        </p:nvSpPr>
        <p:spPr bwMode="auto">
          <a:xfrm>
            <a:off x="8836892"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7" name="Oval 1031"/>
          <p:cNvSpPr>
            <a:spLocks noChangeArrowheads="1"/>
          </p:cNvSpPr>
          <p:nvPr userDrawn="1"/>
        </p:nvSpPr>
        <p:spPr bwMode="auto">
          <a:xfrm>
            <a:off x="8928298" y="3595429"/>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8" name="Oval 1032"/>
          <p:cNvSpPr>
            <a:spLocks noChangeArrowheads="1"/>
          </p:cNvSpPr>
          <p:nvPr userDrawn="1"/>
        </p:nvSpPr>
        <p:spPr bwMode="auto">
          <a:xfrm>
            <a:off x="9014328"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59" name="Oval 1033"/>
          <p:cNvSpPr>
            <a:spLocks noChangeArrowheads="1"/>
          </p:cNvSpPr>
          <p:nvPr userDrawn="1"/>
        </p:nvSpPr>
        <p:spPr bwMode="auto">
          <a:xfrm>
            <a:off x="9105735"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0" name="Oval 1034"/>
          <p:cNvSpPr>
            <a:spLocks noChangeArrowheads="1"/>
          </p:cNvSpPr>
          <p:nvPr userDrawn="1"/>
        </p:nvSpPr>
        <p:spPr bwMode="auto">
          <a:xfrm>
            <a:off x="9197142" y="3595429"/>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1" name="Oval 1035"/>
          <p:cNvSpPr>
            <a:spLocks noChangeArrowheads="1"/>
          </p:cNvSpPr>
          <p:nvPr userDrawn="1"/>
        </p:nvSpPr>
        <p:spPr bwMode="auto">
          <a:xfrm>
            <a:off x="9284964" y="3595429"/>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2" name="Oval 1036"/>
          <p:cNvSpPr>
            <a:spLocks noChangeArrowheads="1"/>
          </p:cNvSpPr>
          <p:nvPr userDrawn="1"/>
        </p:nvSpPr>
        <p:spPr bwMode="auto">
          <a:xfrm>
            <a:off x="9378163" y="3595429"/>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3" name="Oval 1037"/>
          <p:cNvSpPr>
            <a:spLocks noChangeArrowheads="1"/>
          </p:cNvSpPr>
          <p:nvPr userDrawn="1"/>
        </p:nvSpPr>
        <p:spPr bwMode="auto">
          <a:xfrm>
            <a:off x="5044407"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4" name="Oval 1038"/>
          <p:cNvSpPr>
            <a:spLocks noChangeArrowheads="1"/>
          </p:cNvSpPr>
          <p:nvPr userDrawn="1"/>
        </p:nvSpPr>
        <p:spPr bwMode="auto">
          <a:xfrm>
            <a:off x="5130437" y="3686836"/>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5" name="Oval 1039"/>
          <p:cNvSpPr>
            <a:spLocks noChangeArrowheads="1"/>
          </p:cNvSpPr>
          <p:nvPr userDrawn="1"/>
        </p:nvSpPr>
        <p:spPr bwMode="auto">
          <a:xfrm>
            <a:off x="5221844" y="3686836"/>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6" name="Oval 1040"/>
          <p:cNvSpPr>
            <a:spLocks noChangeArrowheads="1"/>
          </p:cNvSpPr>
          <p:nvPr userDrawn="1"/>
        </p:nvSpPr>
        <p:spPr bwMode="auto">
          <a:xfrm>
            <a:off x="5402865"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7" name="Oval 1041"/>
          <p:cNvSpPr>
            <a:spLocks noChangeArrowheads="1"/>
          </p:cNvSpPr>
          <p:nvPr userDrawn="1"/>
        </p:nvSpPr>
        <p:spPr bwMode="auto">
          <a:xfrm>
            <a:off x="5494272"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8" name="Oval 1042"/>
          <p:cNvSpPr>
            <a:spLocks noChangeArrowheads="1"/>
          </p:cNvSpPr>
          <p:nvPr userDrawn="1"/>
        </p:nvSpPr>
        <p:spPr bwMode="auto">
          <a:xfrm>
            <a:off x="5585678"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69" name="Oval 1043"/>
          <p:cNvSpPr>
            <a:spLocks noChangeArrowheads="1"/>
          </p:cNvSpPr>
          <p:nvPr userDrawn="1"/>
        </p:nvSpPr>
        <p:spPr bwMode="auto">
          <a:xfrm>
            <a:off x="5673501"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0" name="Oval 1044"/>
          <p:cNvSpPr>
            <a:spLocks noChangeArrowheads="1"/>
          </p:cNvSpPr>
          <p:nvPr userDrawn="1"/>
        </p:nvSpPr>
        <p:spPr bwMode="auto">
          <a:xfrm>
            <a:off x="5764907"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1" name="Oval 1045"/>
          <p:cNvSpPr>
            <a:spLocks noChangeArrowheads="1"/>
          </p:cNvSpPr>
          <p:nvPr userDrawn="1"/>
        </p:nvSpPr>
        <p:spPr bwMode="auto">
          <a:xfrm>
            <a:off x="5858106" y="3686836"/>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2" name="Oval 1046"/>
          <p:cNvSpPr>
            <a:spLocks noChangeArrowheads="1"/>
          </p:cNvSpPr>
          <p:nvPr userDrawn="1"/>
        </p:nvSpPr>
        <p:spPr bwMode="auto">
          <a:xfrm>
            <a:off x="5944136" y="3686836"/>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3" name="Oval 1047"/>
          <p:cNvSpPr>
            <a:spLocks noChangeArrowheads="1"/>
          </p:cNvSpPr>
          <p:nvPr userDrawn="1"/>
        </p:nvSpPr>
        <p:spPr bwMode="auto">
          <a:xfrm>
            <a:off x="6035543" y="3686836"/>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4" name="Oval 1048"/>
          <p:cNvSpPr>
            <a:spLocks noChangeArrowheads="1"/>
          </p:cNvSpPr>
          <p:nvPr userDrawn="1"/>
        </p:nvSpPr>
        <p:spPr bwMode="auto">
          <a:xfrm>
            <a:off x="6126950"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5" name="Oval 1049"/>
          <p:cNvSpPr>
            <a:spLocks noChangeArrowheads="1"/>
          </p:cNvSpPr>
          <p:nvPr userDrawn="1"/>
        </p:nvSpPr>
        <p:spPr bwMode="auto">
          <a:xfrm>
            <a:off x="6212980" y="3686836"/>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6" name="Oval 1050"/>
          <p:cNvSpPr>
            <a:spLocks noChangeArrowheads="1"/>
          </p:cNvSpPr>
          <p:nvPr userDrawn="1"/>
        </p:nvSpPr>
        <p:spPr bwMode="auto">
          <a:xfrm>
            <a:off x="6306179"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7" name="Oval 1051"/>
          <p:cNvSpPr>
            <a:spLocks noChangeArrowheads="1"/>
          </p:cNvSpPr>
          <p:nvPr userDrawn="1"/>
        </p:nvSpPr>
        <p:spPr bwMode="auto">
          <a:xfrm>
            <a:off x="6397586"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8" name="Oval 1052"/>
          <p:cNvSpPr>
            <a:spLocks noChangeArrowheads="1"/>
          </p:cNvSpPr>
          <p:nvPr userDrawn="1"/>
        </p:nvSpPr>
        <p:spPr bwMode="auto">
          <a:xfrm>
            <a:off x="6485408" y="3686836"/>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79" name="Oval 1053"/>
          <p:cNvSpPr>
            <a:spLocks noChangeArrowheads="1"/>
          </p:cNvSpPr>
          <p:nvPr userDrawn="1"/>
        </p:nvSpPr>
        <p:spPr bwMode="auto">
          <a:xfrm>
            <a:off x="6576815"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0" name="Oval 1054"/>
          <p:cNvSpPr>
            <a:spLocks noChangeArrowheads="1"/>
          </p:cNvSpPr>
          <p:nvPr userDrawn="1"/>
        </p:nvSpPr>
        <p:spPr bwMode="auto">
          <a:xfrm>
            <a:off x="6668221" y="3686836"/>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1" name="Oval 1055"/>
          <p:cNvSpPr>
            <a:spLocks noChangeArrowheads="1"/>
          </p:cNvSpPr>
          <p:nvPr userDrawn="1"/>
        </p:nvSpPr>
        <p:spPr bwMode="auto">
          <a:xfrm>
            <a:off x="6754251" y="3686836"/>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2" name="Oval 1056"/>
          <p:cNvSpPr>
            <a:spLocks noChangeArrowheads="1"/>
          </p:cNvSpPr>
          <p:nvPr userDrawn="1"/>
        </p:nvSpPr>
        <p:spPr bwMode="auto">
          <a:xfrm>
            <a:off x="6847450"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3" name="Oval 1057"/>
          <p:cNvSpPr>
            <a:spLocks noChangeArrowheads="1"/>
          </p:cNvSpPr>
          <p:nvPr userDrawn="1"/>
        </p:nvSpPr>
        <p:spPr bwMode="auto">
          <a:xfrm>
            <a:off x="6940649"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4" name="Oval 1058"/>
          <p:cNvSpPr>
            <a:spLocks noChangeArrowheads="1"/>
          </p:cNvSpPr>
          <p:nvPr userDrawn="1"/>
        </p:nvSpPr>
        <p:spPr bwMode="auto">
          <a:xfrm>
            <a:off x="7026679"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5" name="Oval 1059"/>
          <p:cNvSpPr>
            <a:spLocks noChangeArrowheads="1"/>
          </p:cNvSpPr>
          <p:nvPr userDrawn="1"/>
        </p:nvSpPr>
        <p:spPr bwMode="auto">
          <a:xfrm>
            <a:off x="7118086"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6" name="Oval 1060"/>
          <p:cNvSpPr>
            <a:spLocks noChangeArrowheads="1"/>
          </p:cNvSpPr>
          <p:nvPr userDrawn="1"/>
        </p:nvSpPr>
        <p:spPr bwMode="auto">
          <a:xfrm>
            <a:off x="7209493" y="3686836"/>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7" name="Oval 1061"/>
          <p:cNvSpPr>
            <a:spLocks noChangeArrowheads="1"/>
          </p:cNvSpPr>
          <p:nvPr userDrawn="1"/>
        </p:nvSpPr>
        <p:spPr bwMode="auto">
          <a:xfrm>
            <a:off x="7299107" y="3686836"/>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8" name="Oval 1062"/>
          <p:cNvSpPr>
            <a:spLocks noChangeArrowheads="1"/>
          </p:cNvSpPr>
          <p:nvPr userDrawn="1"/>
        </p:nvSpPr>
        <p:spPr bwMode="auto">
          <a:xfrm>
            <a:off x="7390514"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89" name="Oval 1063"/>
          <p:cNvSpPr>
            <a:spLocks noChangeArrowheads="1"/>
          </p:cNvSpPr>
          <p:nvPr userDrawn="1"/>
        </p:nvSpPr>
        <p:spPr bwMode="auto">
          <a:xfrm>
            <a:off x="7481921"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0" name="Oval 1064"/>
          <p:cNvSpPr>
            <a:spLocks noChangeArrowheads="1"/>
          </p:cNvSpPr>
          <p:nvPr userDrawn="1"/>
        </p:nvSpPr>
        <p:spPr bwMode="auto">
          <a:xfrm>
            <a:off x="7573327"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1" name="Oval 1065"/>
          <p:cNvSpPr>
            <a:spLocks noChangeArrowheads="1"/>
          </p:cNvSpPr>
          <p:nvPr userDrawn="1"/>
        </p:nvSpPr>
        <p:spPr bwMode="auto">
          <a:xfrm>
            <a:off x="7659357"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2" name="Oval 1066"/>
          <p:cNvSpPr>
            <a:spLocks noChangeArrowheads="1"/>
          </p:cNvSpPr>
          <p:nvPr userDrawn="1"/>
        </p:nvSpPr>
        <p:spPr bwMode="auto">
          <a:xfrm>
            <a:off x="7752556"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3" name="Oval 1067"/>
          <p:cNvSpPr>
            <a:spLocks noChangeArrowheads="1"/>
          </p:cNvSpPr>
          <p:nvPr userDrawn="1"/>
        </p:nvSpPr>
        <p:spPr bwMode="auto">
          <a:xfrm>
            <a:off x="7845755"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4" name="Oval 1068"/>
          <p:cNvSpPr>
            <a:spLocks noChangeArrowheads="1"/>
          </p:cNvSpPr>
          <p:nvPr userDrawn="1"/>
        </p:nvSpPr>
        <p:spPr bwMode="auto">
          <a:xfrm>
            <a:off x="7931785"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5" name="Oval 1069"/>
          <p:cNvSpPr>
            <a:spLocks noChangeArrowheads="1"/>
          </p:cNvSpPr>
          <p:nvPr userDrawn="1"/>
        </p:nvSpPr>
        <p:spPr bwMode="auto">
          <a:xfrm>
            <a:off x="8023192"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6" name="Oval 1070"/>
          <p:cNvSpPr>
            <a:spLocks noChangeArrowheads="1"/>
          </p:cNvSpPr>
          <p:nvPr userDrawn="1"/>
        </p:nvSpPr>
        <p:spPr bwMode="auto">
          <a:xfrm>
            <a:off x="8114599"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7" name="Oval 1071"/>
          <p:cNvSpPr>
            <a:spLocks noChangeArrowheads="1"/>
          </p:cNvSpPr>
          <p:nvPr userDrawn="1"/>
        </p:nvSpPr>
        <p:spPr bwMode="auto">
          <a:xfrm>
            <a:off x="8202421"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8" name="Oval 1072"/>
          <p:cNvSpPr>
            <a:spLocks noChangeArrowheads="1"/>
          </p:cNvSpPr>
          <p:nvPr userDrawn="1"/>
        </p:nvSpPr>
        <p:spPr bwMode="auto">
          <a:xfrm>
            <a:off x="8293828" y="3686836"/>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899" name="Oval 1073"/>
          <p:cNvSpPr>
            <a:spLocks noChangeArrowheads="1"/>
          </p:cNvSpPr>
          <p:nvPr userDrawn="1"/>
        </p:nvSpPr>
        <p:spPr bwMode="auto">
          <a:xfrm>
            <a:off x="8387027"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0" name="Oval 1074"/>
          <p:cNvSpPr>
            <a:spLocks noChangeArrowheads="1"/>
          </p:cNvSpPr>
          <p:nvPr userDrawn="1"/>
        </p:nvSpPr>
        <p:spPr bwMode="auto">
          <a:xfrm>
            <a:off x="8473057"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1" name="Oval 1075"/>
          <p:cNvSpPr>
            <a:spLocks noChangeArrowheads="1"/>
          </p:cNvSpPr>
          <p:nvPr userDrawn="1"/>
        </p:nvSpPr>
        <p:spPr bwMode="auto">
          <a:xfrm>
            <a:off x="8566256" y="3686836"/>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2" name="Oval 1076"/>
          <p:cNvSpPr>
            <a:spLocks noChangeArrowheads="1"/>
          </p:cNvSpPr>
          <p:nvPr userDrawn="1"/>
        </p:nvSpPr>
        <p:spPr bwMode="auto">
          <a:xfrm>
            <a:off x="8657663" y="3686836"/>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3" name="Oval 1077"/>
          <p:cNvSpPr>
            <a:spLocks noChangeArrowheads="1"/>
          </p:cNvSpPr>
          <p:nvPr userDrawn="1"/>
        </p:nvSpPr>
        <p:spPr bwMode="auto">
          <a:xfrm>
            <a:off x="8743692"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4" name="Oval 1078"/>
          <p:cNvSpPr>
            <a:spLocks noChangeArrowheads="1"/>
          </p:cNvSpPr>
          <p:nvPr userDrawn="1"/>
        </p:nvSpPr>
        <p:spPr bwMode="auto">
          <a:xfrm>
            <a:off x="8836892" y="3686836"/>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5" name="Oval 1079"/>
          <p:cNvSpPr>
            <a:spLocks noChangeArrowheads="1"/>
          </p:cNvSpPr>
          <p:nvPr userDrawn="1"/>
        </p:nvSpPr>
        <p:spPr bwMode="auto">
          <a:xfrm>
            <a:off x="8928298" y="3686836"/>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6" name="Oval 1080"/>
          <p:cNvSpPr>
            <a:spLocks noChangeArrowheads="1"/>
          </p:cNvSpPr>
          <p:nvPr userDrawn="1"/>
        </p:nvSpPr>
        <p:spPr bwMode="auto">
          <a:xfrm>
            <a:off x="9014328"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7" name="Oval 1081"/>
          <p:cNvSpPr>
            <a:spLocks noChangeArrowheads="1"/>
          </p:cNvSpPr>
          <p:nvPr userDrawn="1"/>
        </p:nvSpPr>
        <p:spPr bwMode="auto">
          <a:xfrm>
            <a:off x="9105735"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8" name="Oval 1082"/>
          <p:cNvSpPr>
            <a:spLocks noChangeArrowheads="1"/>
          </p:cNvSpPr>
          <p:nvPr userDrawn="1"/>
        </p:nvSpPr>
        <p:spPr bwMode="auto">
          <a:xfrm>
            <a:off x="9197142" y="3686836"/>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09" name="Oval 1083"/>
          <p:cNvSpPr>
            <a:spLocks noChangeArrowheads="1"/>
          </p:cNvSpPr>
          <p:nvPr userDrawn="1"/>
        </p:nvSpPr>
        <p:spPr bwMode="auto">
          <a:xfrm>
            <a:off x="9284964" y="3686836"/>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0" name="Oval 1084"/>
          <p:cNvSpPr>
            <a:spLocks noChangeArrowheads="1"/>
          </p:cNvSpPr>
          <p:nvPr userDrawn="1"/>
        </p:nvSpPr>
        <p:spPr bwMode="auto">
          <a:xfrm>
            <a:off x="9378163" y="3686836"/>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1" name="Oval 1085"/>
          <p:cNvSpPr>
            <a:spLocks noChangeArrowheads="1"/>
          </p:cNvSpPr>
          <p:nvPr userDrawn="1"/>
        </p:nvSpPr>
        <p:spPr bwMode="auto">
          <a:xfrm>
            <a:off x="5494272"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2" name="Oval 1086"/>
          <p:cNvSpPr>
            <a:spLocks noChangeArrowheads="1"/>
          </p:cNvSpPr>
          <p:nvPr userDrawn="1"/>
        </p:nvSpPr>
        <p:spPr bwMode="auto">
          <a:xfrm>
            <a:off x="5402865"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3" name="Oval 1087"/>
          <p:cNvSpPr>
            <a:spLocks noChangeArrowheads="1"/>
          </p:cNvSpPr>
          <p:nvPr userDrawn="1"/>
        </p:nvSpPr>
        <p:spPr bwMode="auto">
          <a:xfrm>
            <a:off x="5585678"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4" name="Oval 1088"/>
          <p:cNvSpPr>
            <a:spLocks noChangeArrowheads="1"/>
          </p:cNvSpPr>
          <p:nvPr userDrawn="1"/>
        </p:nvSpPr>
        <p:spPr bwMode="auto">
          <a:xfrm>
            <a:off x="5673501"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5" name="Oval 1089"/>
          <p:cNvSpPr>
            <a:spLocks noChangeArrowheads="1"/>
          </p:cNvSpPr>
          <p:nvPr userDrawn="1"/>
        </p:nvSpPr>
        <p:spPr bwMode="auto">
          <a:xfrm>
            <a:off x="5944136" y="3780035"/>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6" name="Oval 1090"/>
          <p:cNvSpPr>
            <a:spLocks noChangeArrowheads="1"/>
          </p:cNvSpPr>
          <p:nvPr userDrawn="1"/>
        </p:nvSpPr>
        <p:spPr bwMode="auto">
          <a:xfrm>
            <a:off x="6035543" y="3780035"/>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7" name="Oval 1091"/>
          <p:cNvSpPr>
            <a:spLocks noChangeArrowheads="1"/>
          </p:cNvSpPr>
          <p:nvPr userDrawn="1"/>
        </p:nvSpPr>
        <p:spPr bwMode="auto">
          <a:xfrm>
            <a:off x="6126950"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8" name="Oval 1092"/>
          <p:cNvSpPr>
            <a:spLocks noChangeArrowheads="1"/>
          </p:cNvSpPr>
          <p:nvPr userDrawn="1"/>
        </p:nvSpPr>
        <p:spPr bwMode="auto">
          <a:xfrm>
            <a:off x="6212980" y="3780035"/>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19" name="Oval 1093"/>
          <p:cNvSpPr>
            <a:spLocks noChangeArrowheads="1"/>
          </p:cNvSpPr>
          <p:nvPr userDrawn="1"/>
        </p:nvSpPr>
        <p:spPr bwMode="auto">
          <a:xfrm>
            <a:off x="6306179"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0" name="Oval 1094"/>
          <p:cNvSpPr>
            <a:spLocks noChangeArrowheads="1"/>
          </p:cNvSpPr>
          <p:nvPr userDrawn="1"/>
        </p:nvSpPr>
        <p:spPr bwMode="auto">
          <a:xfrm>
            <a:off x="6397586"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1" name="Oval 1095"/>
          <p:cNvSpPr>
            <a:spLocks noChangeArrowheads="1"/>
          </p:cNvSpPr>
          <p:nvPr userDrawn="1"/>
        </p:nvSpPr>
        <p:spPr bwMode="auto">
          <a:xfrm>
            <a:off x="6485408" y="3780035"/>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2" name="Oval 1096"/>
          <p:cNvSpPr>
            <a:spLocks noChangeArrowheads="1"/>
          </p:cNvSpPr>
          <p:nvPr userDrawn="1"/>
        </p:nvSpPr>
        <p:spPr bwMode="auto">
          <a:xfrm>
            <a:off x="6576815"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3" name="Oval 1097"/>
          <p:cNvSpPr>
            <a:spLocks noChangeArrowheads="1"/>
          </p:cNvSpPr>
          <p:nvPr userDrawn="1"/>
        </p:nvSpPr>
        <p:spPr bwMode="auto">
          <a:xfrm>
            <a:off x="6668221" y="3780035"/>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4" name="Oval 1098"/>
          <p:cNvSpPr>
            <a:spLocks noChangeArrowheads="1"/>
          </p:cNvSpPr>
          <p:nvPr userDrawn="1"/>
        </p:nvSpPr>
        <p:spPr bwMode="auto">
          <a:xfrm>
            <a:off x="6754251" y="3780035"/>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5" name="Oval 1099"/>
          <p:cNvSpPr>
            <a:spLocks noChangeArrowheads="1"/>
          </p:cNvSpPr>
          <p:nvPr userDrawn="1"/>
        </p:nvSpPr>
        <p:spPr bwMode="auto">
          <a:xfrm>
            <a:off x="6847450"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6" name="Oval 1100"/>
          <p:cNvSpPr>
            <a:spLocks noChangeArrowheads="1"/>
          </p:cNvSpPr>
          <p:nvPr userDrawn="1"/>
        </p:nvSpPr>
        <p:spPr bwMode="auto">
          <a:xfrm>
            <a:off x="6940649"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7" name="Oval 1101"/>
          <p:cNvSpPr>
            <a:spLocks noChangeArrowheads="1"/>
          </p:cNvSpPr>
          <p:nvPr userDrawn="1"/>
        </p:nvSpPr>
        <p:spPr bwMode="auto">
          <a:xfrm>
            <a:off x="7026679"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8" name="Oval 1102"/>
          <p:cNvSpPr>
            <a:spLocks noChangeArrowheads="1"/>
          </p:cNvSpPr>
          <p:nvPr userDrawn="1"/>
        </p:nvSpPr>
        <p:spPr bwMode="auto">
          <a:xfrm>
            <a:off x="7118086"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29" name="Oval 1103"/>
          <p:cNvSpPr>
            <a:spLocks noChangeArrowheads="1"/>
          </p:cNvSpPr>
          <p:nvPr userDrawn="1"/>
        </p:nvSpPr>
        <p:spPr bwMode="auto">
          <a:xfrm>
            <a:off x="7209493" y="3780035"/>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0" name="Oval 1104"/>
          <p:cNvSpPr>
            <a:spLocks noChangeArrowheads="1"/>
          </p:cNvSpPr>
          <p:nvPr userDrawn="1"/>
        </p:nvSpPr>
        <p:spPr bwMode="auto">
          <a:xfrm>
            <a:off x="7299107" y="3780035"/>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1" name="Oval 1105"/>
          <p:cNvSpPr>
            <a:spLocks noChangeArrowheads="1"/>
          </p:cNvSpPr>
          <p:nvPr userDrawn="1"/>
        </p:nvSpPr>
        <p:spPr bwMode="auto">
          <a:xfrm>
            <a:off x="7390514"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2" name="Oval 1106"/>
          <p:cNvSpPr>
            <a:spLocks noChangeArrowheads="1"/>
          </p:cNvSpPr>
          <p:nvPr userDrawn="1"/>
        </p:nvSpPr>
        <p:spPr bwMode="auto">
          <a:xfrm>
            <a:off x="7481921"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3" name="Oval 1107"/>
          <p:cNvSpPr>
            <a:spLocks noChangeArrowheads="1"/>
          </p:cNvSpPr>
          <p:nvPr userDrawn="1"/>
        </p:nvSpPr>
        <p:spPr bwMode="auto">
          <a:xfrm>
            <a:off x="7573327"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4" name="Oval 1108"/>
          <p:cNvSpPr>
            <a:spLocks noChangeArrowheads="1"/>
          </p:cNvSpPr>
          <p:nvPr userDrawn="1"/>
        </p:nvSpPr>
        <p:spPr bwMode="auto">
          <a:xfrm>
            <a:off x="7659357"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5" name="Oval 1109"/>
          <p:cNvSpPr>
            <a:spLocks noChangeArrowheads="1"/>
          </p:cNvSpPr>
          <p:nvPr userDrawn="1"/>
        </p:nvSpPr>
        <p:spPr bwMode="auto">
          <a:xfrm>
            <a:off x="7752556"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6" name="Oval 1110"/>
          <p:cNvSpPr>
            <a:spLocks noChangeArrowheads="1"/>
          </p:cNvSpPr>
          <p:nvPr userDrawn="1"/>
        </p:nvSpPr>
        <p:spPr bwMode="auto">
          <a:xfrm>
            <a:off x="7845755"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7" name="Oval 1111"/>
          <p:cNvSpPr>
            <a:spLocks noChangeArrowheads="1"/>
          </p:cNvSpPr>
          <p:nvPr userDrawn="1"/>
        </p:nvSpPr>
        <p:spPr bwMode="auto">
          <a:xfrm>
            <a:off x="7931785"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8" name="Oval 1112"/>
          <p:cNvSpPr>
            <a:spLocks noChangeArrowheads="1"/>
          </p:cNvSpPr>
          <p:nvPr userDrawn="1"/>
        </p:nvSpPr>
        <p:spPr bwMode="auto">
          <a:xfrm>
            <a:off x="8023192"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39" name="Oval 1113"/>
          <p:cNvSpPr>
            <a:spLocks noChangeArrowheads="1"/>
          </p:cNvSpPr>
          <p:nvPr userDrawn="1"/>
        </p:nvSpPr>
        <p:spPr bwMode="auto">
          <a:xfrm>
            <a:off x="8114599"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0" name="Oval 1114"/>
          <p:cNvSpPr>
            <a:spLocks noChangeArrowheads="1"/>
          </p:cNvSpPr>
          <p:nvPr userDrawn="1"/>
        </p:nvSpPr>
        <p:spPr bwMode="auto">
          <a:xfrm>
            <a:off x="8202421"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1" name="Oval 1115"/>
          <p:cNvSpPr>
            <a:spLocks noChangeArrowheads="1"/>
          </p:cNvSpPr>
          <p:nvPr userDrawn="1"/>
        </p:nvSpPr>
        <p:spPr bwMode="auto">
          <a:xfrm>
            <a:off x="8293828" y="3780035"/>
            <a:ext cx="8423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2" name="Oval 1116"/>
          <p:cNvSpPr>
            <a:spLocks noChangeArrowheads="1"/>
          </p:cNvSpPr>
          <p:nvPr userDrawn="1"/>
        </p:nvSpPr>
        <p:spPr bwMode="auto">
          <a:xfrm>
            <a:off x="8387027"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3" name="Oval 1117"/>
          <p:cNvSpPr>
            <a:spLocks noChangeArrowheads="1"/>
          </p:cNvSpPr>
          <p:nvPr userDrawn="1"/>
        </p:nvSpPr>
        <p:spPr bwMode="auto">
          <a:xfrm>
            <a:off x="8473057"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4" name="Oval 1118"/>
          <p:cNvSpPr>
            <a:spLocks noChangeArrowheads="1"/>
          </p:cNvSpPr>
          <p:nvPr userDrawn="1"/>
        </p:nvSpPr>
        <p:spPr bwMode="auto">
          <a:xfrm>
            <a:off x="8566256" y="3780035"/>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5" name="Oval 1119"/>
          <p:cNvSpPr>
            <a:spLocks noChangeArrowheads="1"/>
          </p:cNvSpPr>
          <p:nvPr userDrawn="1"/>
        </p:nvSpPr>
        <p:spPr bwMode="auto">
          <a:xfrm>
            <a:off x="8657663" y="3780035"/>
            <a:ext cx="75276"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6" name="Oval 1120"/>
          <p:cNvSpPr>
            <a:spLocks noChangeArrowheads="1"/>
          </p:cNvSpPr>
          <p:nvPr userDrawn="1"/>
        </p:nvSpPr>
        <p:spPr bwMode="auto">
          <a:xfrm>
            <a:off x="8743692"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7" name="Oval 1121"/>
          <p:cNvSpPr>
            <a:spLocks noChangeArrowheads="1"/>
          </p:cNvSpPr>
          <p:nvPr userDrawn="1"/>
        </p:nvSpPr>
        <p:spPr bwMode="auto">
          <a:xfrm>
            <a:off x="8836892" y="3780035"/>
            <a:ext cx="80653"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8" name="Oval 1122"/>
          <p:cNvSpPr>
            <a:spLocks noChangeArrowheads="1"/>
          </p:cNvSpPr>
          <p:nvPr userDrawn="1"/>
        </p:nvSpPr>
        <p:spPr bwMode="auto">
          <a:xfrm>
            <a:off x="8928298" y="3780035"/>
            <a:ext cx="77068"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49" name="Oval 1123"/>
          <p:cNvSpPr>
            <a:spLocks noChangeArrowheads="1"/>
          </p:cNvSpPr>
          <p:nvPr userDrawn="1"/>
        </p:nvSpPr>
        <p:spPr bwMode="auto">
          <a:xfrm>
            <a:off x="9014328"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0" name="Oval 1124"/>
          <p:cNvSpPr>
            <a:spLocks noChangeArrowheads="1"/>
          </p:cNvSpPr>
          <p:nvPr userDrawn="1"/>
        </p:nvSpPr>
        <p:spPr bwMode="auto">
          <a:xfrm>
            <a:off x="9105735"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1" name="Oval 1125"/>
          <p:cNvSpPr>
            <a:spLocks noChangeArrowheads="1"/>
          </p:cNvSpPr>
          <p:nvPr userDrawn="1"/>
        </p:nvSpPr>
        <p:spPr bwMode="auto">
          <a:xfrm>
            <a:off x="9197142" y="3780035"/>
            <a:ext cx="78861"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2" name="Oval 1126"/>
          <p:cNvSpPr>
            <a:spLocks noChangeArrowheads="1"/>
          </p:cNvSpPr>
          <p:nvPr userDrawn="1"/>
        </p:nvSpPr>
        <p:spPr bwMode="auto">
          <a:xfrm>
            <a:off x="9284964" y="3780035"/>
            <a:ext cx="82445" cy="7706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3" name="Oval 1127"/>
          <p:cNvSpPr>
            <a:spLocks noChangeArrowheads="1"/>
          </p:cNvSpPr>
          <p:nvPr userDrawn="1"/>
        </p:nvSpPr>
        <p:spPr bwMode="auto">
          <a:xfrm>
            <a:off x="5402865"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4" name="Oval 1128"/>
          <p:cNvSpPr>
            <a:spLocks noChangeArrowheads="1"/>
          </p:cNvSpPr>
          <p:nvPr userDrawn="1"/>
        </p:nvSpPr>
        <p:spPr bwMode="auto">
          <a:xfrm>
            <a:off x="5494272"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5" name="Oval 1129"/>
          <p:cNvSpPr>
            <a:spLocks noChangeArrowheads="1"/>
          </p:cNvSpPr>
          <p:nvPr userDrawn="1"/>
        </p:nvSpPr>
        <p:spPr bwMode="auto">
          <a:xfrm>
            <a:off x="5585678"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6" name="Oval 1130"/>
          <p:cNvSpPr>
            <a:spLocks noChangeArrowheads="1"/>
          </p:cNvSpPr>
          <p:nvPr userDrawn="1"/>
        </p:nvSpPr>
        <p:spPr bwMode="auto">
          <a:xfrm>
            <a:off x="5944136" y="3866065"/>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7" name="Oval 1131"/>
          <p:cNvSpPr>
            <a:spLocks noChangeArrowheads="1"/>
          </p:cNvSpPr>
          <p:nvPr userDrawn="1"/>
        </p:nvSpPr>
        <p:spPr bwMode="auto">
          <a:xfrm>
            <a:off x="5944136" y="3957471"/>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8" name="Oval 1132"/>
          <p:cNvSpPr>
            <a:spLocks noChangeArrowheads="1"/>
          </p:cNvSpPr>
          <p:nvPr userDrawn="1"/>
        </p:nvSpPr>
        <p:spPr bwMode="auto">
          <a:xfrm>
            <a:off x="6035543" y="3866065"/>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59" name="Oval 1133"/>
          <p:cNvSpPr>
            <a:spLocks noChangeArrowheads="1"/>
          </p:cNvSpPr>
          <p:nvPr userDrawn="1"/>
        </p:nvSpPr>
        <p:spPr bwMode="auto">
          <a:xfrm>
            <a:off x="6126950"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0" name="Oval 1134"/>
          <p:cNvSpPr>
            <a:spLocks noChangeArrowheads="1"/>
          </p:cNvSpPr>
          <p:nvPr userDrawn="1"/>
        </p:nvSpPr>
        <p:spPr bwMode="auto">
          <a:xfrm>
            <a:off x="6212980" y="3866065"/>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1" name="Oval 1135"/>
          <p:cNvSpPr>
            <a:spLocks noChangeArrowheads="1"/>
          </p:cNvSpPr>
          <p:nvPr userDrawn="1"/>
        </p:nvSpPr>
        <p:spPr bwMode="auto">
          <a:xfrm>
            <a:off x="6306179"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2" name="Oval 1136"/>
          <p:cNvSpPr>
            <a:spLocks noChangeArrowheads="1"/>
          </p:cNvSpPr>
          <p:nvPr userDrawn="1"/>
        </p:nvSpPr>
        <p:spPr bwMode="auto">
          <a:xfrm>
            <a:off x="6397586"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3" name="Oval 1137"/>
          <p:cNvSpPr>
            <a:spLocks noChangeArrowheads="1"/>
          </p:cNvSpPr>
          <p:nvPr userDrawn="1"/>
        </p:nvSpPr>
        <p:spPr bwMode="auto">
          <a:xfrm>
            <a:off x="6485408" y="3866065"/>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4" name="Oval 1138"/>
          <p:cNvSpPr>
            <a:spLocks noChangeArrowheads="1"/>
          </p:cNvSpPr>
          <p:nvPr userDrawn="1"/>
        </p:nvSpPr>
        <p:spPr bwMode="auto">
          <a:xfrm>
            <a:off x="6576815"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5" name="Oval 1139"/>
          <p:cNvSpPr>
            <a:spLocks noChangeArrowheads="1"/>
          </p:cNvSpPr>
          <p:nvPr userDrawn="1"/>
        </p:nvSpPr>
        <p:spPr bwMode="auto">
          <a:xfrm>
            <a:off x="6668221" y="3866065"/>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6" name="Oval 1140"/>
          <p:cNvSpPr>
            <a:spLocks noChangeArrowheads="1"/>
          </p:cNvSpPr>
          <p:nvPr userDrawn="1"/>
        </p:nvSpPr>
        <p:spPr bwMode="auto">
          <a:xfrm>
            <a:off x="6754251" y="3866065"/>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7" name="Oval 1141"/>
          <p:cNvSpPr>
            <a:spLocks noChangeArrowheads="1"/>
          </p:cNvSpPr>
          <p:nvPr userDrawn="1"/>
        </p:nvSpPr>
        <p:spPr bwMode="auto">
          <a:xfrm>
            <a:off x="6847450"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8" name="Oval 1142"/>
          <p:cNvSpPr>
            <a:spLocks noChangeArrowheads="1"/>
          </p:cNvSpPr>
          <p:nvPr userDrawn="1"/>
        </p:nvSpPr>
        <p:spPr bwMode="auto">
          <a:xfrm>
            <a:off x="6940649"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69" name="Oval 1143"/>
          <p:cNvSpPr>
            <a:spLocks noChangeArrowheads="1"/>
          </p:cNvSpPr>
          <p:nvPr userDrawn="1"/>
        </p:nvSpPr>
        <p:spPr bwMode="auto">
          <a:xfrm>
            <a:off x="7026679"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0" name="Oval 1144"/>
          <p:cNvSpPr>
            <a:spLocks noChangeArrowheads="1"/>
          </p:cNvSpPr>
          <p:nvPr userDrawn="1"/>
        </p:nvSpPr>
        <p:spPr bwMode="auto">
          <a:xfrm>
            <a:off x="7118086"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1" name="Oval 1145"/>
          <p:cNvSpPr>
            <a:spLocks noChangeArrowheads="1"/>
          </p:cNvSpPr>
          <p:nvPr userDrawn="1"/>
        </p:nvSpPr>
        <p:spPr bwMode="auto">
          <a:xfrm>
            <a:off x="7209493" y="3866065"/>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2" name="Oval 1146"/>
          <p:cNvSpPr>
            <a:spLocks noChangeArrowheads="1"/>
          </p:cNvSpPr>
          <p:nvPr userDrawn="1"/>
        </p:nvSpPr>
        <p:spPr bwMode="auto">
          <a:xfrm>
            <a:off x="7299107" y="3866065"/>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3" name="Oval 1147"/>
          <p:cNvSpPr>
            <a:spLocks noChangeArrowheads="1"/>
          </p:cNvSpPr>
          <p:nvPr userDrawn="1"/>
        </p:nvSpPr>
        <p:spPr bwMode="auto">
          <a:xfrm>
            <a:off x="7390514"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4" name="Oval 1148"/>
          <p:cNvSpPr>
            <a:spLocks noChangeArrowheads="1"/>
          </p:cNvSpPr>
          <p:nvPr userDrawn="1"/>
        </p:nvSpPr>
        <p:spPr bwMode="auto">
          <a:xfrm>
            <a:off x="7481921"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5" name="Oval 1149"/>
          <p:cNvSpPr>
            <a:spLocks noChangeArrowheads="1"/>
          </p:cNvSpPr>
          <p:nvPr userDrawn="1"/>
        </p:nvSpPr>
        <p:spPr bwMode="auto">
          <a:xfrm>
            <a:off x="7573327"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6" name="Oval 1150"/>
          <p:cNvSpPr>
            <a:spLocks noChangeArrowheads="1"/>
          </p:cNvSpPr>
          <p:nvPr userDrawn="1"/>
        </p:nvSpPr>
        <p:spPr bwMode="auto">
          <a:xfrm>
            <a:off x="7659357"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7" name="Oval 1151"/>
          <p:cNvSpPr>
            <a:spLocks noChangeArrowheads="1"/>
          </p:cNvSpPr>
          <p:nvPr userDrawn="1"/>
        </p:nvSpPr>
        <p:spPr bwMode="auto">
          <a:xfrm>
            <a:off x="7752556"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8" name="Oval 1152"/>
          <p:cNvSpPr>
            <a:spLocks noChangeArrowheads="1"/>
          </p:cNvSpPr>
          <p:nvPr userDrawn="1"/>
        </p:nvSpPr>
        <p:spPr bwMode="auto">
          <a:xfrm>
            <a:off x="7845755"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79" name="Oval 1153"/>
          <p:cNvSpPr>
            <a:spLocks noChangeArrowheads="1"/>
          </p:cNvSpPr>
          <p:nvPr userDrawn="1"/>
        </p:nvSpPr>
        <p:spPr bwMode="auto">
          <a:xfrm>
            <a:off x="7931785"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0" name="Oval 1154"/>
          <p:cNvSpPr>
            <a:spLocks noChangeArrowheads="1"/>
          </p:cNvSpPr>
          <p:nvPr userDrawn="1"/>
        </p:nvSpPr>
        <p:spPr bwMode="auto">
          <a:xfrm>
            <a:off x="8023192"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1" name="Oval 1155"/>
          <p:cNvSpPr>
            <a:spLocks noChangeArrowheads="1"/>
          </p:cNvSpPr>
          <p:nvPr userDrawn="1"/>
        </p:nvSpPr>
        <p:spPr bwMode="auto">
          <a:xfrm>
            <a:off x="8114599"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2" name="Oval 1156"/>
          <p:cNvSpPr>
            <a:spLocks noChangeArrowheads="1"/>
          </p:cNvSpPr>
          <p:nvPr userDrawn="1"/>
        </p:nvSpPr>
        <p:spPr bwMode="auto">
          <a:xfrm>
            <a:off x="8202421"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3" name="Oval 1157"/>
          <p:cNvSpPr>
            <a:spLocks noChangeArrowheads="1"/>
          </p:cNvSpPr>
          <p:nvPr userDrawn="1"/>
        </p:nvSpPr>
        <p:spPr bwMode="auto">
          <a:xfrm>
            <a:off x="8293828" y="3866065"/>
            <a:ext cx="8423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4" name="Oval 1158"/>
          <p:cNvSpPr>
            <a:spLocks noChangeArrowheads="1"/>
          </p:cNvSpPr>
          <p:nvPr userDrawn="1"/>
        </p:nvSpPr>
        <p:spPr bwMode="auto">
          <a:xfrm>
            <a:off x="8387027"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5" name="Oval 1159"/>
          <p:cNvSpPr>
            <a:spLocks noChangeArrowheads="1"/>
          </p:cNvSpPr>
          <p:nvPr userDrawn="1"/>
        </p:nvSpPr>
        <p:spPr bwMode="auto">
          <a:xfrm>
            <a:off x="8473057"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6" name="Oval 1160"/>
          <p:cNvSpPr>
            <a:spLocks noChangeArrowheads="1"/>
          </p:cNvSpPr>
          <p:nvPr userDrawn="1"/>
        </p:nvSpPr>
        <p:spPr bwMode="auto">
          <a:xfrm>
            <a:off x="8566256" y="3866065"/>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7" name="Oval 1161"/>
          <p:cNvSpPr>
            <a:spLocks noChangeArrowheads="1"/>
          </p:cNvSpPr>
          <p:nvPr userDrawn="1"/>
        </p:nvSpPr>
        <p:spPr bwMode="auto">
          <a:xfrm>
            <a:off x="8657663" y="3866065"/>
            <a:ext cx="75276"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8" name="Oval 1162"/>
          <p:cNvSpPr>
            <a:spLocks noChangeArrowheads="1"/>
          </p:cNvSpPr>
          <p:nvPr userDrawn="1"/>
        </p:nvSpPr>
        <p:spPr bwMode="auto">
          <a:xfrm>
            <a:off x="8743692"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89" name="Oval 1163"/>
          <p:cNvSpPr>
            <a:spLocks noChangeArrowheads="1"/>
          </p:cNvSpPr>
          <p:nvPr userDrawn="1"/>
        </p:nvSpPr>
        <p:spPr bwMode="auto">
          <a:xfrm>
            <a:off x="8836892" y="3866065"/>
            <a:ext cx="80653"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0" name="Oval 1164"/>
          <p:cNvSpPr>
            <a:spLocks noChangeArrowheads="1"/>
          </p:cNvSpPr>
          <p:nvPr userDrawn="1"/>
        </p:nvSpPr>
        <p:spPr bwMode="auto">
          <a:xfrm>
            <a:off x="8928298" y="3866065"/>
            <a:ext cx="77068"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1" name="Oval 1165"/>
          <p:cNvSpPr>
            <a:spLocks noChangeArrowheads="1"/>
          </p:cNvSpPr>
          <p:nvPr userDrawn="1"/>
        </p:nvSpPr>
        <p:spPr bwMode="auto">
          <a:xfrm>
            <a:off x="9014328"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2" name="Oval 1166"/>
          <p:cNvSpPr>
            <a:spLocks noChangeArrowheads="1"/>
          </p:cNvSpPr>
          <p:nvPr userDrawn="1"/>
        </p:nvSpPr>
        <p:spPr bwMode="auto">
          <a:xfrm>
            <a:off x="9105735" y="3866065"/>
            <a:ext cx="82445"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3" name="Oval 1167"/>
          <p:cNvSpPr>
            <a:spLocks noChangeArrowheads="1"/>
          </p:cNvSpPr>
          <p:nvPr userDrawn="1"/>
        </p:nvSpPr>
        <p:spPr bwMode="auto">
          <a:xfrm>
            <a:off x="9197142" y="3866065"/>
            <a:ext cx="78861" cy="82445"/>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4" name="Oval 1168"/>
          <p:cNvSpPr>
            <a:spLocks noChangeArrowheads="1"/>
          </p:cNvSpPr>
          <p:nvPr userDrawn="1"/>
        </p:nvSpPr>
        <p:spPr bwMode="auto">
          <a:xfrm>
            <a:off x="6035543" y="3957471"/>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5" name="Oval 1169"/>
          <p:cNvSpPr>
            <a:spLocks noChangeArrowheads="1"/>
          </p:cNvSpPr>
          <p:nvPr userDrawn="1"/>
        </p:nvSpPr>
        <p:spPr bwMode="auto">
          <a:xfrm>
            <a:off x="6126950"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6" name="Oval 1170"/>
          <p:cNvSpPr>
            <a:spLocks noChangeArrowheads="1"/>
          </p:cNvSpPr>
          <p:nvPr userDrawn="1"/>
        </p:nvSpPr>
        <p:spPr bwMode="auto">
          <a:xfrm>
            <a:off x="6126950" y="4048878"/>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7" name="Oval 1171"/>
          <p:cNvSpPr>
            <a:spLocks noChangeArrowheads="1"/>
          </p:cNvSpPr>
          <p:nvPr userDrawn="1"/>
        </p:nvSpPr>
        <p:spPr bwMode="auto">
          <a:xfrm>
            <a:off x="6212980" y="3957471"/>
            <a:ext cx="8423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8" name="Oval 1172"/>
          <p:cNvSpPr>
            <a:spLocks noChangeArrowheads="1"/>
          </p:cNvSpPr>
          <p:nvPr userDrawn="1"/>
        </p:nvSpPr>
        <p:spPr bwMode="auto">
          <a:xfrm>
            <a:off x="6306179"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1999" name="Oval 1173"/>
          <p:cNvSpPr>
            <a:spLocks noChangeArrowheads="1"/>
          </p:cNvSpPr>
          <p:nvPr userDrawn="1"/>
        </p:nvSpPr>
        <p:spPr bwMode="auto">
          <a:xfrm>
            <a:off x="6397586"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0" name="Oval 1174"/>
          <p:cNvSpPr>
            <a:spLocks noChangeArrowheads="1"/>
          </p:cNvSpPr>
          <p:nvPr userDrawn="1"/>
        </p:nvSpPr>
        <p:spPr bwMode="auto">
          <a:xfrm>
            <a:off x="6485408" y="3957471"/>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1" name="Oval 1175"/>
          <p:cNvSpPr>
            <a:spLocks noChangeArrowheads="1"/>
          </p:cNvSpPr>
          <p:nvPr userDrawn="1"/>
        </p:nvSpPr>
        <p:spPr bwMode="auto">
          <a:xfrm>
            <a:off x="6576815"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2" name="Oval 1176"/>
          <p:cNvSpPr>
            <a:spLocks noChangeArrowheads="1"/>
          </p:cNvSpPr>
          <p:nvPr userDrawn="1"/>
        </p:nvSpPr>
        <p:spPr bwMode="auto">
          <a:xfrm>
            <a:off x="6668221" y="3957471"/>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3" name="Oval 1177"/>
          <p:cNvSpPr>
            <a:spLocks noChangeArrowheads="1"/>
          </p:cNvSpPr>
          <p:nvPr userDrawn="1"/>
        </p:nvSpPr>
        <p:spPr bwMode="auto">
          <a:xfrm>
            <a:off x="6754251" y="3957471"/>
            <a:ext cx="8423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4" name="Oval 1178"/>
          <p:cNvSpPr>
            <a:spLocks noChangeArrowheads="1"/>
          </p:cNvSpPr>
          <p:nvPr userDrawn="1"/>
        </p:nvSpPr>
        <p:spPr bwMode="auto">
          <a:xfrm>
            <a:off x="6847450"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5" name="Oval 1179"/>
          <p:cNvSpPr>
            <a:spLocks noChangeArrowheads="1"/>
          </p:cNvSpPr>
          <p:nvPr userDrawn="1"/>
        </p:nvSpPr>
        <p:spPr bwMode="auto">
          <a:xfrm>
            <a:off x="6940649"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6" name="Oval 1180"/>
          <p:cNvSpPr>
            <a:spLocks noChangeArrowheads="1"/>
          </p:cNvSpPr>
          <p:nvPr userDrawn="1"/>
        </p:nvSpPr>
        <p:spPr bwMode="auto">
          <a:xfrm>
            <a:off x="7026679"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7" name="Oval 1181"/>
          <p:cNvSpPr>
            <a:spLocks noChangeArrowheads="1"/>
          </p:cNvSpPr>
          <p:nvPr userDrawn="1"/>
        </p:nvSpPr>
        <p:spPr bwMode="auto">
          <a:xfrm>
            <a:off x="7118086"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8" name="Oval 1182"/>
          <p:cNvSpPr>
            <a:spLocks noChangeArrowheads="1"/>
          </p:cNvSpPr>
          <p:nvPr userDrawn="1"/>
        </p:nvSpPr>
        <p:spPr bwMode="auto">
          <a:xfrm>
            <a:off x="7209493" y="3957471"/>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09" name="Oval 1183"/>
          <p:cNvSpPr>
            <a:spLocks noChangeArrowheads="1"/>
          </p:cNvSpPr>
          <p:nvPr userDrawn="1"/>
        </p:nvSpPr>
        <p:spPr bwMode="auto">
          <a:xfrm>
            <a:off x="7299107" y="3957471"/>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0" name="Oval 1184"/>
          <p:cNvSpPr>
            <a:spLocks noChangeArrowheads="1"/>
          </p:cNvSpPr>
          <p:nvPr userDrawn="1"/>
        </p:nvSpPr>
        <p:spPr bwMode="auto">
          <a:xfrm>
            <a:off x="7390514"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1" name="Oval 1185"/>
          <p:cNvSpPr>
            <a:spLocks noChangeArrowheads="1"/>
          </p:cNvSpPr>
          <p:nvPr userDrawn="1"/>
        </p:nvSpPr>
        <p:spPr bwMode="auto">
          <a:xfrm>
            <a:off x="7481921"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2" name="Oval 1186"/>
          <p:cNvSpPr>
            <a:spLocks noChangeArrowheads="1"/>
          </p:cNvSpPr>
          <p:nvPr userDrawn="1"/>
        </p:nvSpPr>
        <p:spPr bwMode="auto">
          <a:xfrm>
            <a:off x="7573327"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3" name="Oval 1187"/>
          <p:cNvSpPr>
            <a:spLocks noChangeArrowheads="1"/>
          </p:cNvSpPr>
          <p:nvPr userDrawn="1"/>
        </p:nvSpPr>
        <p:spPr bwMode="auto">
          <a:xfrm>
            <a:off x="7659357"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4" name="Oval 1188"/>
          <p:cNvSpPr>
            <a:spLocks noChangeArrowheads="1"/>
          </p:cNvSpPr>
          <p:nvPr userDrawn="1"/>
        </p:nvSpPr>
        <p:spPr bwMode="auto">
          <a:xfrm>
            <a:off x="7752556"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5" name="Oval 1189"/>
          <p:cNvSpPr>
            <a:spLocks noChangeArrowheads="1"/>
          </p:cNvSpPr>
          <p:nvPr userDrawn="1"/>
        </p:nvSpPr>
        <p:spPr bwMode="auto">
          <a:xfrm>
            <a:off x="7845755"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6" name="Oval 1190"/>
          <p:cNvSpPr>
            <a:spLocks noChangeArrowheads="1"/>
          </p:cNvSpPr>
          <p:nvPr userDrawn="1"/>
        </p:nvSpPr>
        <p:spPr bwMode="auto">
          <a:xfrm>
            <a:off x="7931785"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7" name="Oval 1191"/>
          <p:cNvSpPr>
            <a:spLocks noChangeArrowheads="1"/>
          </p:cNvSpPr>
          <p:nvPr userDrawn="1"/>
        </p:nvSpPr>
        <p:spPr bwMode="auto">
          <a:xfrm>
            <a:off x="8023192"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8" name="Oval 1192"/>
          <p:cNvSpPr>
            <a:spLocks noChangeArrowheads="1"/>
          </p:cNvSpPr>
          <p:nvPr userDrawn="1"/>
        </p:nvSpPr>
        <p:spPr bwMode="auto">
          <a:xfrm>
            <a:off x="8114599"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19" name="Oval 1193"/>
          <p:cNvSpPr>
            <a:spLocks noChangeArrowheads="1"/>
          </p:cNvSpPr>
          <p:nvPr userDrawn="1"/>
        </p:nvSpPr>
        <p:spPr bwMode="auto">
          <a:xfrm>
            <a:off x="8202421"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0" name="Oval 1194"/>
          <p:cNvSpPr>
            <a:spLocks noChangeArrowheads="1"/>
          </p:cNvSpPr>
          <p:nvPr userDrawn="1"/>
        </p:nvSpPr>
        <p:spPr bwMode="auto">
          <a:xfrm>
            <a:off x="8293828" y="3957471"/>
            <a:ext cx="8423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1" name="Oval 1195"/>
          <p:cNvSpPr>
            <a:spLocks noChangeArrowheads="1"/>
          </p:cNvSpPr>
          <p:nvPr userDrawn="1"/>
        </p:nvSpPr>
        <p:spPr bwMode="auto">
          <a:xfrm>
            <a:off x="8387027"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2" name="Oval 1196"/>
          <p:cNvSpPr>
            <a:spLocks noChangeArrowheads="1"/>
          </p:cNvSpPr>
          <p:nvPr userDrawn="1"/>
        </p:nvSpPr>
        <p:spPr bwMode="auto">
          <a:xfrm>
            <a:off x="8473057"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3" name="Oval 1197"/>
          <p:cNvSpPr>
            <a:spLocks noChangeArrowheads="1"/>
          </p:cNvSpPr>
          <p:nvPr userDrawn="1"/>
        </p:nvSpPr>
        <p:spPr bwMode="auto">
          <a:xfrm>
            <a:off x="8566256" y="3957471"/>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4" name="Oval 1198"/>
          <p:cNvSpPr>
            <a:spLocks noChangeArrowheads="1"/>
          </p:cNvSpPr>
          <p:nvPr userDrawn="1"/>
        </p:nvSpPr>
        <p:spPr bwMode="auto">
          <a:xfrm>
            <a:off x="8657663" y="3957471"/>
            <a:ext cx="75276"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5" name="Oval 1199"/>
          <p:cNvSpPr>
            <a:spLocks noChangeArrowheads="1"/>
          </p:cNvSpPr>
          <p:nvPr userDrawn="1"/>
        </p:nvSpPr>
        <p:spPr bwMode="auto">
          <a:xfrm>
            <a:off x="8743692"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6" name="Oval 1200"/>
          <p:cNvSpPr>
            <a:spLocks noChangeArrowheads="1"/>
          </p:cNvSpPr>
          <p:nvPr userDrawn="1"/>
        </p:nvSpPr>
        <p:spPr bwMode="auto">
          <a:xfrm>
            <a:off x="8836892" y="3957471"/>
            <a:ext cx="80653"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7" name="Oval 1201"/>
          <p:cNvSpPr>
            <a:spLocks noChangeArrowheads="1"/>
          </p:cNvSpPr>
          <p:nvPr userDrawn="1"/>
        </p:nvSpPr>
        <p:spPr bwMode="auto">
          <a:xfrm>
            <a:off x="8928298" y="3957471"/>
            <a:ext cx="77068"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8" name="Oval 1202"/>
          <p:cNvSpPr>
            <a:spLocks noChangeArrowheads="1"/>
          </p:cNvSpPr>
          <p:nvPr userDrawn="1"/>
        </p:nvSpPr>
        <p:spPr bwMode="auto">
          <a:xfrm>
            <a:off x="9014328"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29" name="Oval 1203"/>
          <p:cNvSpPr>
            <a:spLocks noChangeArrowheads="1"/>
          </p:cNvSpPr>
          <p:nvPr userDrawn="1"/>
        </p:nvSpPr>
        <p:spPr bwMode="auto">
          <a:xfrm>
            <a:off x="9105735" y="3957471"/>
            <a:ext cx="82445"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0" name="Oval 1204"/>
          <p:cNvSpPr>
            <a:spLocks noChangeArrowheads="1"/>
          </p:cNvSpPr>
          <p:nvPr userDrawn="1"/>
        </p:nvSpPr>
        <p:spPr bwMode="auto">
          <a:xfrm>
            <a:off x="9197142" y="3957471"/>
            <a:ext cx="78861" cy="84238"/>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1" name="Oval 1205"/>
          <p:cNvSpPr>
            <a:spLocks noChangeArrowheads="1"/>
          </p:cNvSpPr>
          <p:nvPr userDrawn="1"/>
        </p:nvSpPr>
        <p:spPr bwMode="auto">
          <a:xfrm>
            <a:off x="6212980" y="4048878"/>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2" name="Oval 1206"/>
          <p:cNvSpPr>
            <a:spLocks noChangeArrowheads="1"/>
          </p:cNvSpPr>
          <p:nvPr userDrawn="1"/>
        </p:nvSpPr>
        <p:spPr bwMode="auto">
          <a:xfrm>
            <a:off x="6306179" y="4048878"/>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3" name="Oval 1207"/>
          <p:cNvSpPr>
            <a:spLocks noChangeArrowheads="1"/>
          </p:cNvSpPr>
          <p:nvPr userDrawn="1"/>
        </p:nvSpPr>
        <p:spPr bwMode="auto">
          <a:xfrm>
            <a:off x="6397586" y="4048878"/>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4" name="Oval 1208"/>
          <p:cNvSpPr>
            <a:spLocks noChangeArrowheads="1"/>
          </p:cNvSpPr>
          <p:nvPr userDrawn="1"/>
        </p:nvSpPr>
        <p:spPr bwMode="auto">
          <a:xfrm>
            <a:off x="6485408" y="4048878"/>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5" name="Oval 1209"/>
          <p:cNvSpPr>
            <a:spLocks noChangeArrowheads="1"/>
          </p:cNvSpPr>
          <p:nvPr userDrawn="1"/>
        </p:nvSpPr>
        <p:spPr bwMode="auto">
          <a:xfrm>
            <a:off x="6576815" y="4048878"/>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6" name="Oval 1210"/>
          <p:cNvSpPr>
            <a:spLocks noChangeArrowheads="1"/>
          </p:cNvSpPr>
          <p:nvPr userDrawn="1"/>
        </p:nvSpPr>
        <p:spPr bwMode="auto">
          <a:xfrm>
            <a:off x="6668221" y="4048878"/>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7" name="Oval 1212"/>
          <p:cNvSpPr>
            <a:spLocks noChangeArrowheads="1"/>
          </p:cNvSpPr>
          <p:nvPr userDrawn="1"/>
        </p:nvSpPr>
        <p:spPr bwMode="auto">
          <a:xfrm>
            <a:off x="6754251" y="4048879"/>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8" name="Oval 1213"/>
          <p:cNvSpPr>
            <a:spLocks noChangeArrowheads="1"/>
          </p:cNvSpPr>
          <p:nvPr userDrawn="1"/>
        </p:nvSpPr>
        <p:spPr bwMode="auto">
          <a:xfrm>
            <a:off x="6847450"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39" name="Oval 1214"/>
          <p:cNvSpPr>
            <a:spLocks noChangeArrowheads="1"/>
          </p:cNvSpPr>
          <p:nvPr userDrawn="1"/>
        </p:nvSpPr>
        <p:spPr bwMode="auto">
          <a:xfrm>
            <a:off x="6940649" y="404887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0" name="Oval 1215"/>
          <p:cNvSpPr>
            <a:spLocks noChangeArrowheads="1"/>
          </p:cNvSpPr>
          <p:nvPr userDrawn="1"/>
        </p:nvSpPr>
        <p:spPr bwMode="auto">
          <a:xfrm>
            <a:off x="7026679"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1" name="Oval 1216"/>
          <p:cNvSpPr>
            <a:spLocks noChangeArrowheads="1"/>
          </p:cNvSpPr>
          <p:nvPr userDrawn="1"/>
        </p:nvSpPr>
        <p:spPr bwMode="auto">
          <a:xfrm>
            <a:off x="7118086"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2" name="Oval 1217"/>
          <p:cNvSpPr>
            <a:spLocks noChangeArrowheads="1"/>
          </p:cNvSpPr>
          <p:nvPr userDrawn="1"/>
        </p:nvSpPr>
        <p:spPr bwMode="auto">
          <a:xfrm>
            <a:off x="7209493" y="4048879"/>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3" name="Oval 1218"/>
          <p:cNvSpPr>
            <a:spLocks noChangeArrowheads="1"/>
          </p:cNvSpPr>
          <p:nvPr userDrawn="1"/>
        </p:nvSpPr>
        <p:spPr bwMode="auto">
          <a:xfrm>
            <a:off x="7299107" y="4048879"/>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4" name="Oval 1219"/>
          <p:cNvSpPr>
            <a:spLocks noChangeArrowheads="1"/>
          </p:cNvSpPr>
          <p:nvPr userDrawn="1"/>
        </p:nvSpPr>
        <p:spPr bwMode="auto">
          <a:xfrm>
            <a:off x="7390514"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5" name="Oval 1220"/>
          <p:cNvSpPr>
            <a:spLocks noChangeArrowheads="1"/>
          </p:cNvSpPr>
          <p:nvPr userDrawn="1"/>
        </p:nvSpPr>
        <p:spPr bwMode="auto">
          <a:xfrm>
            <a:off x="7481921"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6" name="Oval 1221"/>
          <p:cNvSpPr>
            <a:spLocks noChangeArrowheads="1"/>
          </p:cNvSpPr>
          <p:nvPr userDrawn="1"/>
        </p:nvSpPr>
        <p:spPr bwMode="auto">
          <a:xfrm>
            <a:off x="7573327" y="404887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7" name="Oval 1222"/>
          <p:cNvSpPr>
            <a:spLocks noChangeArrowheads="1"/>
          </p:cNvSpPr>
          <p:nvPr userDrawn="1"/>
        </p:nvSpPr>
        <p:spPr bwMode="auto">
          <a:xfrm>
            <a:off x="7659357"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8" name="Oval 1223"/>
          <p:cNvSpPr>
            <a:spLocks noChangeArrowheads="1"/>
          </p:cNvSpPr>
          <p:nvPr userDrawn="1"/>
        </p:nvSpPr>
        <p:spPr bwMode="auto">
          <a:xfrm>
            <a:off x="7752556"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49" name="Oval 1224"/>
          <p:cNvSpPr>
            <a:spLocks noChangeArrowheads="1"/>
          </p:cNvSpPr>
          <p:nvPr userDrawn="1"/>
        </p:nvSpPr>
        <p:spPr bwMode="auto">
          <a:xfrm>
            <a:off x="7845755" y="404887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0" name="Oval 1225"/>
          <p:cNvSpPr>
            <a:spLocks noChangeArrowheads="1"/>
          </p:cNvSpPr>
          <p:nvPr userDrawn="1"/>
        </p:nvSpPr>
        <p:spPr bwMode="auto">
          <a:xfrm>
            <a:off x="7931785"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1" name="Oval 1226"/>
          <p:cNvSpPr>
            <a:spLocks noChangeArrowheads="1"/>
          </p:cNvSpPr>
          <p:nvPr userDrawn="1"/>
        </p:nvSpPr>
        <p:spPr bwMode="auto">
          <a:xfrm>
            <a:off x="8023192"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2" name="Oval 1227"/>
          <p:cNvSpPr>
            <a:spLocks noChangeArrowheads="1"/>
          </p:cNvSpPr>
          <p:nvPr userDrawn="1"/>
        </p:nvSpPr>
        <p:spPr bwMode="auto">
          <a:xfrm>
            <a:off x="8114599" y="404887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3" name="Oval 1228"/>
          <p:cNvSpPr>
            <a:spLocks noChangeArrowheads="1"/>
          </p:cNvSpPr>
          <p:nvPr userDrawn="1"/>
        </p:nvSpPr>
        <p:spPr bwMode="auto">
          <a:xfrm>
            <a:off x="8202421"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4" name="Oval 1229"/>
          <p:cNvSpPr>
            <a:spLocks noChangeArrowheads="1"/>
          </p:cNvSpPr>
          <p:nvPr userDrawn="1"/>
        </p:nvSpPr>
        <p:spPr bwMode="auto">
          <a:xfrm>
            <a:off x="8293828" y="4048879"/>
            <a:ext cx="8423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5" name="Oval 1230"/>
          <p:cNvSpPr>
            <a:spLocks noChangeArrowheads="1"/>
          </p:cNvSpPr>
          <p:nvPr userDrawn="1"/>
        </p:nvSpPr>
        <p:spPr bwMode="auto">
          <a:xfrm>
            <a:off x="8387027" y="404887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6" name="Oval 1231"/>
          <p:cNvSpPr>
            <a:spLocks noChangeArrowheads="1"/>
          </p:cNvSpPr>
          <p:nvPr userDrawn="1"/>
        </p:nvSpPr>
        <p:spPr bwMode="auto">
          <a:xfrm>
            <a:off x="8473057"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7" name="Oval 1232"/>
          <p:cNvSpPr>
            <a:spLocks noChangeArrowheads="1"/>
          </p:cNvSpPr>
          <p:nvPr userDrawn="1"/>
        </p:nvSpPr>
        <p:spPr bwMode="auto">
          <a:xfrm>
            <a:off x="8566256" y="4048879"/>
            <a:ext cx="78861"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8" name="Oval 1233"/>
          <p:cNvSpPr>
            <a:spLocks noChangeArrowheads="1"/>
          </p:cNvSpPr>
          <p:nvPr userDrawn="1"/>
        </p:nvSpPr>
        <p:spPr bwMode="auto">
          <a:xfrm>
            <a:off x="8657663" y="4048879"/>
            <a:ext cx="75276"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59" name="Oval 1234"/>
          <p:cNvSpPr>
            <a:spLocks noChangeArrowheads="1"/>
          </p:cNvSpPr>
          <p:nvPr userDrawn="1"/>
        </p:nvSpPr>
        <p:spPr bwMode="auto">
          <a:xfrm>
            <a:off x="8743692"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60" name="Oval 1235"/>
          <p:cNvSpPr>
            <a:spLocks noChangeArrowheads="1"/>
          </p:cNvSpPr>
          <p:nvPr userDrawn="1"/>
        </p:nvSpPr>
        <p:spPr bwMode="auto">
          <a:xfrm>
            <a:off x="8836892" y="4048879"/>
            <a:ext cx="80653"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61" name="Oval 1236"/>
          <p:cNvSpPr>
            <a:spLocks noChangeArrowheads="1"/>
          </p:cNvSpPr>
          <p:nvPr userDrawn="1"/>
        </p:nvSpPr>
        <p:spPr bwMode="auto">
          <a:xfrm>
            <a:off x="8928298" y="4048879"/>
            <a:ext cx="77068"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62" name="Oval 1237"/>
          <p:cNvSpPr>
            <a:spLocks noChangeArrowheads="1"/>
          </p:cNvSpPr>
          <p:nvPr userDrawn="1"/>
        </p:nvSpPr>
        <p:spPr bwMode="auto">
          <a:xfrm>
            <a:off x="9014328"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063" name="Oval 1238"/>
          <p:cNvSpPr>
            <a:spLocks noChangeArrowheads="1"/>
          </p:cNvSpPr>
          <p:nvPr userDrawn="1"/>
        </p:nvSpPr>
        <p:spPr bwMode="auto">
          <a:xfrm>
            <a:off x="9105735" y="4048879"/>
            <a:ext cx="82445" cy="78861"/>
          </a:xfrm>
          <a:prstGeom prst="ellipse">
            <a:avLst/>
          </a:prstGeom>
          <a:solidFill>
            <a:srgbClr val="CCDAEC"/>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ja-JP" altLang="en-US"/>
          </a:p>
        </p:txBody>
      </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20196467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25009482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632715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9603685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4212347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8" imgW="270" imgH="270" progId="TCLayout.ActiveDocument.1">
                  <p:embed/>
                </p:oleObj>
              </mc:Choice>
              <mc:Fallback>
                <p:oleObj name="think-cell Slide"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8" r:id="rId1"/>
    <p:sldLayoutId id="2147483676" r:id="rId2"/>
    <p:sldLayoutId id="2147483673"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03.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17" Type="http://schemas.openxmlformats.org/officeDocument/2006/relationships/tags" Target="../tags/tag519.xml"/><Relationship Id="rId21" Type="http://schemas.openxmlformats.org/officeDocument/2006/relationships/tags" Target="../tags/tag423.xml"/><Relationship Id="rId42" Type="http://schemas.openxmlformats.org/officeDocument/2006/relationships/tags" Target="../tags/tag444.xml"/><Relationship Id="rId63" Type="http://schemas.openxmlformats.org/officeDocument/2006/relationships/tags" Target="../tags/tag465.xml"/><Relationship Id="rId84" Type="http://schemas.openxmlformats.org/officeDocument/2006/relationships/tags" Target="../tags/tag486.xml"/><Relationship Id="rId138" Type="http://schemas.openxmlformats.org/officeDocument/2006/relationships/tags" Target="../tags/tag540.xml"/><Relationship Id="rId159" Type="http://schemas.openxmlformats.org/officeDocument/2006/relationships/tags" Target="../tags/tag561.xml"/><Relationship Id="rId170" Type="http://schemas.openxmlformats.org/officeDocument/2006/relationships/tags" Target="../tags/tag572.xml"/><Relationship Id="rId107" Type="http://schemas.openxmlformats.org/officeDocument/2006/relationships/tags" Target="../tags/tag509.xml"/><Relationship Id="rId11" Type="http://schemas.openxmlformats.org/officeDocument/2006/relationships/tags" Target="../tags/tag413.xml"/><Relationship Id="rId32" Type="http://schemas.openxmlformats.org/officeDocument/2006/relationships/tags" Target="../tags/tag434.xml"/><Relationship Id="rId53" Type="http://schemas.openxmlformats.org/officeDocument/2006/relationships/tags" Target="../tags/tag455.xml"/><Relationship Id="rId74" Type="http://schemas.openxmlformats.org/officeDocument/2006/relationships/tags" Target="../tags/tag476.xml"/><Relationship Id="rId128" Type="http://schemas.openxmlformats.org/officeDocument/2006/relationships/tags" Target="../tags/tag530.xml"/><Relationship Id="rId149" Type="http://schemas.openxmlformats.org/officeDocument/2006/relationships/tags" Target="../tags/tag551.xml"/><Relationship Id="rId5" Type="http://schemas.openxmlformats.org/officeDocument/2006/relationships/tags" Target="../tags/tag407.xml"/><Relationship Id="rId95" Type="http://schemas.openxmlformats.org/officeDocument/2006/relationships/tags" Target="../tags/tag497.xml"/><Relationship Id="rId160" Type="http://schemas.openxmlformats.org/officeDocument/2006/relationships/tags" Target="../tags/tag562.xml"/><Relationship Id="rId181" Type="http://schemas.openxmlformats.org/officeDocument/2006/relationships/tags" Target="../tags/tag583.xml"/><Relationship Id="rId22" Type="http://schemas.openxmlformats.org/officeDocument/2006/relationships/tags" Target="../tags/tag424.xml"/><Relationship Id="rId43" Type="http://schemas.openxmlformats.org/officeDocument/2006/relationships/tags" Target="../tags/tag445.xml"/><Relationship Id="rId64" Type="http://schemas.openxmlformats.org/officeDocument/2006/relationships/tags" Target="../tags/tag466.xml"/><Relationship Id="rId118" Type="http://schemas.openxmlformats.org/officeDocument/2006/relationships/tags" Target="../tags/tag520.xml"/><Relationship Id="rId139" Type="http://schemas.openxmlformats.org/officeDocument/2006/relationships/tags" Target="../tags/tag541.xml"/><Relationship Id="rId85" Type="http://schemas.openxmlformats.org/officeDocument/2006/relationships/tags" Target="../tags/tag487.xml"/><Relationship Id="rId150" Type="http://schemas.openxmlformats.org/officeDocument/2006/relationships/tags" Target="../tags/tag552.xml"/><Relationship Id="rId171" Type="http://schemas.openxmlformats.org/officeDocument/2006/relationships/tags" Target="../tags/tag573.xml"/><Relationship Id="rId12" Type="http://schemas.openxmlformats.org/officeDocument/2006/relationships/tags" Target="../tags/tag414.xml"/><Relationship Id="rId33" Type="http://schemas.openxmlformats.org/officeDocument/2006/relationships/tags" Target="../tags/tag435.xml"/><Relationship Id="rId108" Type="http://schemas.openxmlformats.org/officeDocument/2006/relationships/tags" Target="../tags/tag510.xml"/><Relationship Id="rId129" Type="http://schemas.openxmlformats.org/officeDocument/2006/relationships/tags" Target="../tags/tag531.xml"/><Relationship Id="rId54" Type="http://schemas.openxmlformats.org/officeDocument/2006/relationships/tags" Target="../tags/tag456.xml"/><Relationship Id="rId75" Type="http://schemas.openxmlformats.org/officeDocument/2006/relationships/tags" Target="../tags/tag477.xml"/><Relationship Id="rId96" Type="http://schemas.openxmlformats.org/officeDocument/2006/relationships/tags" Target="../tags/tag498.xml"/><Relationship Id="rId140" Type="http://schemas.openxmlformats.org/officeDocument/2006/relationships/tags" Target="../tags/tag542.xml"/><Relationship Id="rId161" Type="http://schemas.openxmlformats.org/officeDocument/2006/relationships/tags" Target="../tags/tag563.xml"/><Relationship Id="rId182" Type="http://schemas.openxmlformats.org/officeDocument/2006/relationships/tags" Target="../tags/tag584.xml"/><Relationship Id="rId6" Type="http://schemas.openxmlformats.org/officeDocument/2006/relationships/tags" Target="../tags/tag408.xml"/><Relationship Id="rId23" Type="http://schemas.openxmlformats.org/officeDocument/2006/relationships/tags" Target="../tags/tag425.xml"/><Relationship Id="rId119" Type="http://schemas.openxmlformats.org/officeDocument/2006/relationships/tags" Target="../tags/tag521.xml"/><Relationship Id="rId44" Type="http://schemas.openxmlformats.org/officeDocument/2006/relationships/tags" Target="../tags/tag446.xml"/><Relationship Id="rId65" Type="http://schemas.openxmlformats.org/officeDocument/2006/relationships/tags" Target="../tags/tag467.xml"/><Relationship Id="rId86" Type="http://schemas.openxmlformats.org/officeDocument/2006/relationships/tags" Target="../tags/tag488.xml"/><Relationship Id="rId130" Type="http://schemas.openxmlformats.org/officeDocument/2006/relationships/tags" Target="../tags/tag532.xml"/><Relationship Id="rId151" Type="http://schemas.openxmlformats.org/officeDocument/2006/relationships/tags" Target="../tags/tag553.xml"/><Relationship Id="rId172" Type="http://schemas.openxmlformats.org/officeDocument/2006/relationships/tags" Target="../tags/tag574.xml"/><Relationship Id="rId13" Type="http://schemas.openxmlformats.org/officeDocument/2006/relationships/tags" Target="../tags/tag415.xml"/><Relationship Id="rId18" Type="http://schemas.openxmlformats.org/officeDocument/2006/relationships/tags" Target="../tags/tag420.xml"/><Relationship Id="rId39" Type="http://schemas.openxmlformats.org/officeDocument/2006/relationships/tags" Target="../tags/tag441.xml"/><Relationship Id="rId109" Type="http://schemas.openxmlformats.org/officeDocument/2006/relationships/tags" Target="../tags/tag511.xml"/><Relationship Id="rId34" Type="http://schemas.openxmlformats.org/officeDocument/2006/relationships/tags" Target="../tags/tag436.xml"/><Relationship Id="rId50" Type="http://schemas.openxmlformats.org/officeDocument/2006/relationships/tags" Target="../tags/tag452.xml"/><Relationship Id="rId55" Type="http://schemas.openxmlformats.org/officeDocument/2006/relationships/tags" Target="../tags/tag457.xml"/><Relationship Id="rId76" Type="http://schemas.openxmlformats.org/officeDocument/2006/relationships/tags" Target="../tags/tag478.xml"/><Relationship Id="rId97" Type="http://schemas.openxmlformats.org/officeDocument/2006/relationships/tags" Target="../tags/tag499.xml"/><Relationship Id="rId104" Type="http://schemas.openxmlformats.org/officeDocument/2006/relationships/tags" Target="../tags/tag506.xml"/><Relationship Id="rId120" Type="http://schemas.openxmlformats.org/officeDocument/2006/relationships/tags" Target="../tags/tag522.xml"/><Relationship Id="rId125" Type="http://schemas.openxmlformats.org/officeDocument/2006/relationships/tags" Target="../tags/tag527.xml"/><Relationship Id="rId141" Type="http://schemas.openxmlformats.org/officeDocument/2006/relationships/tags" Target="../tags/tag543.xml"/><Relationship Id="rId146" Type="http://schemas.openxmlformats.org/officeDocument/2006/relationships/tags" Target="../tags/tag548.xml"/><Relationship Id="rId167" Type="http://schemas.openxmlformats.org/officeDocument/2006/relationships/tags" Target="../tags/tag569.xml"/><Relationship Id="rId188" Type="http://schemas.openxmlformats.org/officeDocument/2006/relationships/chart" Target="../charts/chart7.xml"/><Relationship Id="rId7" Type="http://schemas.openxmlformats.org/officeDocument/2006/relationships/tags" Target="../tags/tag409.xml"/><Relationship Id="rId71" Type="http://schemas.openxmlformats.org/officeDocument/2006/relationships/tags" Target="../tags/tag473.xml"/><Relationship Id="rId92" Type="http://schemas.openxmlformats.org/officeDocument/2006/relationships/tags" Target="../tags/tag494.xml"/><Relationship Id="rId162" Type="http://schemas.openxmlformats.org/officeDocument/2006/relationships/tags" Target="../tags/tag564.xml"/><Relationship Id="rId183" Type="http://schemas.openxmlformats.org/officeDocument/2006/relationships/tags" Target="../tags/tag585.xml"/><Relationship Id="rId2" Type="http://schemas.openxmlformats.org/officeDocument/2006/relationships/tags" Target="../tags/tag404.xml"/><Relationship Id="rId29" Type="http://schemas.openxmlformats.org/officeDocument/2006/relationships/tags" Target="../tags/tag431.xml"/><Relationship Id="rId24" Type="http://schemas.openxmlformats.org/officeDocument/2006/relationships/tags" Target="../tags/tag426.xml"/><Relationship Id="rId40" Type="http://schemas.openxmlformats.org/officeDocument/2006/relationships/tags" Target="../tags/tag442.xml"/><Relationship Id="rId45" Type="http://schemas.openxmlformats.org/officeDocument/2006/relationships/tags" Target="../tags/tag447.xml"/><Relationship Id="rId66" Type="http://schemas.openxmlformats.org/officeDocument/2006/relationships/tags" Target="../tags/tag468.xml"/><Relationship Id="rId87" Type="http://schemas.openxmlformats.org/officeDocument/2006/relationships/tags" Target="../tags/tag489.xml"/><Relationship Id="rId110" Type="http://schemas.openxmlformats.org/officeDocument/2006/relationships/tags" Target="../tags/tag512.xml"/><Relationship Id="rId115" Type="http://schemas.openxmlformats.org/officeDocument/2006/relationships/tags" Target="../tags/tag517.xml"/><Relationship Id="rId131" Type="http://schemas.openxmlformats.org/officeDocument/2006/relationships/tags" Target="../tags/tag533.xml"/><Relationship Id="rId136" Type="http://schemas.openxmlformats.org/officeDocument/2006/relationships/tags" Target="../tags/tag538.xml"/><Relationship Id="rId157" Type="http://schemas.openxmlformats.org/officeDocument/2006/relationships/tags" Target="../tags/tag559.xml"/><Relationship Id="rId178" Type="http://schemas.openxmlformats.org/officeDocument/2006/relationships/tags" Target="../tags/tag580.xml"/><Relationship Id="rId61" Type="http://schemas.openxmlformats.org/officeDocument/2006/relationships/tags" Target="../tags/tag463.xml"/><Relationship Id="rId82" Type="http://schemas.openxmlformats.org/officeDocument/2006/relationships/tags" Target="../tags/tag484.xml"/><Relationship Id="rId152" Type="http://schemas.openxmlformats.org/officeDocument/2006/relationships/tags" Target="../tags/tag554.xml"/><Relationship Id="rId173" Type="http://schemas.openxmlformats.org/officeDocument/2006/relationships/tags" Target="../tags/tag575.xml"/><Relationship Id="rId19" Type="http://schemas.openxmlformats.org/officeDocument/2006/relationships/tags" Target="../tags/tag421.xml"/><Relationship Id="rId14" Type="http://schemas.openxmlformats.org/officeDocument/2006/relationships/tags" Target="../tags/tag416.xml"/><Relationship Id="rId30" Type="http://schemas.openxmlformats.org/officeDocument/2006/relationships/tags" Target="../tags/tag432.xml"/><Relationship Id="rId35" Type="http://schemas.openxmlformats.org/officeDocument/2006/relationships/tags" Target="../tags/tag437.xml"/><Relationship Id="rId56" Type="http://schemas.openxmlformats.org/officeDocument/2006/relationships/tags" Target="../tags/tag458.xml"/><Relationship Id="rId77" Type="http://schemas.openxmlformats.org/officeDocument/2006/relationships/tags" Target="../tags/tag479.xml"/><Relationship Id="rId100" Type="http://schemas.openxmlformats.org/officeDocument/2006/relationships/tags" Target="../tags/tag502.xml"/><Relationship Id="rId105" Type="http://schemas.openxmlformats.org/officeDocument/2006/relationships/tags" Target="../tags/tag507.xml"/><Relationship Id="rId126" Type="http://schemas.openxmlformats.org/officeDocument/2006/relationships/tags" Target="../tags/tag528.xml"/><Relationship Id="rId147" Type="http://schemas.openxmlformats.org/officeDocument/2006/relationships/tags" Target="../tags/tag549.xml"/><Relationship Id="rId168" Type="http://schemas.openxmlformats.org/officeDocument/2006/relationships/tags" Target="../tags/tag570.xml"/><Relationship Id="rId8" Type="http://schemas.openxmlformats.org/officeDocument/2006/relationships/tags" Target="../tags/tag410.xml"/><Relationship Id="rId51" Type="http://schemas.openxmlformats.org/officeDocument/2006/relationships/tags" Target="../tags/tag453.xml"/><Relationship Id="rId72" Type="http://schemas.openxmlformats.org/officeDocument/2006/relationships/tags" Target="../tags/tag474.xml"/><Relationship Id="rId93" Type="http://schemas.openxmlformats.org/officeDocument/2006/relationships/tags" Target="../tags/tag495.xml"/><Relationship Id="rId98" Type="http://schemas.openxmlformats.org/officeDocument/2006/relationships/tags" Target="../tags/tag500.xml"/><Relationship Id="rId121" Type="http://schemas.openxmlformats.org/officeDocument/2006/relationships/tags" Target="../tags/tag523.xml"/><Relationship Id="rId142" Type="http://schemas.openxmlformats.org/officeDocument/2006/relationships/tags" Target="../tags/tag544.xml"/><Relationship Id="rId163" Type="http://schemas.openxmlformats.org/officeDocument/2006/relationships/tags" Target="../tags/tag565.xml"/><Relationship Id="rId184" Type="http://schemas.openxmlformats.org/officeDocument/2006/relationships/slideLayout" Target="../slideLayouts/slideLayout3.xml"/><Relationship Id="rId189" Type="http://schemas.openxmlformats.org/officeDocument/2006/relationships/chart" Target="../charts/chart8.xml"/><Relationship Id="rId3" Type="http://schemas.openxmlformats.org/officeDocument/2006/relationships/tags" Target="../tags/tag405.xml"/><Relationship Id="rId25" Type="http://schemas.openxmlformats.org/officeDocument/2006/relationships/tags" Target="../tags/tag427.xml"/><Relationship Id="rId46" Type="http://schemas.openxmlformats.org/officeDocument/2006/relationships/tags" Target="../tags/tag448.xml"/><Relationship Id="rId67" Type="http://schemas.openxmlformats.org/officeDocument/2006/relationships/tags" Target="../tags/tag469.xml"/><Relationship Id="rId116" Type="http://schemas.openxmlformats.org/officeDocument/2006/relationships/tags" Target="../tags/tag518.xml"/><Relationship Id="rId137" Type="http://schemas.openxmlformats.org/officeDocument/2006/relationships/tags" Target="../tags/tag539.xml"/><Relationship Id="rId158" Type="http://schemas.openxmlformats.org/officeDocument/2006/relationships/tags" Target="../tags/tag560.xml"/><Relationship Id="rId20" Type="http://schemas.openxmlformats.org/officeDocument/2006/relationships/tags" Target="../tags/tag422.xml"/><Relationship Id="rId41" Type="http://schemas.openxmlformats.org/officeDocument/2006/relationships/tags" Target="../tags/tag443.xml"/><Relationship Id="rId62" Type="http://schemas.openxmlformats.org/officeDocument/2006/relationships/tags" Target="../tags/tag464.xml"/><Relationship Id="rId83" Type="http://schemas.openxmlformats.org/officeDocument/2006/relationships/tags" Target="../tags/tag485.xml"/><Relationship Id="rId88" Type="http://schemas.openxmlformats.org/officeDocument/2006/relationships/tags" Target="../tags/tag490.xml"/><Relationship Id="rId111" Type="http://schemas.openxmlformats.org/officeDocument/2006/relationships/tags" Target="../tags/tag513.xml"/><Relationship Id="rId132" Type="http://schemas.openxmlformats.org/officeDocument/2006/relationships/tags" Target="../tags/tag534.xml"/><Relationship Id="rId153" Type="http://schemas.openxmlformats.org/officeDocument/2006/relationships/tags" Target="../tags/tag555.xml"/><Relationship Id="rId174" Type="http://schemas.openxmlformats.org/officeDocument/2006/relationships/tags" Target="../tags/tag576.xml"/><Relationship Id="rId179" Type="http://schemas.openxmlformats.org/officeDocument/2006/relationships/tags" Target="../tags/tag581.xml"/><Relationship Id="rId190" Type="http://schemas.openxmlformats.org/officeDocument/2006/relationships/chart" Target="../charts/chart9.xml"/><Relationship Id="rId15" Type="http://schemas.openxmlformats.org/officeDocument/2006/relationships/tags" Target="../tags/tag417.xml"/><Relationship Id="rId36" Type="http://schemas.openxmlformats.org/officeDocument/2006/relationships/tags" Target="../tags/tag438.xml"/><Relationship Id="rId57" Type="http://schemas.openxmlformats.org/officeDocument/2006/relationships/tags" Target="../tags/tag459.xml"/><Relationship Id="rId106" Type="http://schemas.openxmlformats.org/officeDocument/2006/relationships/tags" Target="../tags/tag508.xml"/><Relationship Id="rId127" Type="http://schemas.openxmlformats.org/officeDocument/2006/relationships/tags" Target="../tags/tag529.xml"/><Relationship Id="rId10" Type="http://schemas.openxmlformats.org/officeDocument/2006/relationships/tags" Target="../tags/tag412.xml"/><Relationship Id="rId31" Type="http://schemas.openxmlformats.org/officeDocument/2006/relationships/tags" Target="../tags/tag433.xml"/><Relationship Id="rId52" Type="http://schemas.openxmlformats.org/officeDocument/2006/relationships/tags" Target="../tags/tag454.xml"/><Relationship Id="rId73" Type="http://schemas.openxmlformats.org/officeDocument/2006/relationships/tags" Target="../tags/tag475.xml"/><Relationship Id="rId78" Type="http://schemas.openxmlformats.org/officeDocument/2006/relationships/tags" Target="../tags/tag480.xml"/><Relationship Id="rId94" Type="http://schemas.openxmlformats.org/officeDocument/2006/relationships/tags" Target="../tags/tag496.xml"/><Relationship Id="rId99" Type="http://schemas.openxmlformats.org/officeDocument/2006/relationships/tags" Target="../tags/tag501.xml"/><Relationship Id="rId101" Type="http://schemas.openxmlformats.org/officeDocument/2006/relationships/tags" Target="../tags/tag503.xml"/><Relationship Id="rId122" Type="http://schemas.openxmlformats.org/officeDocument/2006/relationships/tags" Target="../tags/tag524.xml"/><Relationship Id="rId143" Type="http://schemas.openxmlformats.org/officeDocument/2006/relationships/tags" Target="../tags/tag545.xml"/><Relationship Id="rId148" Type="http://schemas.openxmlformats.org/officeDocument/2006/relationships/tags" Target="../tags/tag550.xml"/><Relationship Id="rId164" Type="http://schemas.openxmlformats.org/officeDocument/2006/relationships/tags" Target="../tags/tag566.xml"/><Relationship Id="rId169" Type="http://schemas.openxmlformats.org/officeDocument/2006/relationships/tags" Target="../tags/tag571.xml"/><Relationship Id="rId185" Type="http://schemas.openxmlformats.org/officeDocument/2006/relationships/notesSlide" Target="../notesSlides/notesSlide5.xml"/><Relationship Id="rId4" Type="http://schemas.openxmlformats.org/officeDocument/2006/relationships/tags" Target="../tags/tag406.xml"/><Relationship Id="rId9" Type="http://schemas.openxmlformats.org/officeDocument/2006/relationships/tags" Target="../tags/tag411.xml"/><Relationship Id="rId180" Type="http://schemas.openxmlformats.org/officeDocument/2006/relationships/tags" Target="../tags/tag582.xml"/><Relationship Id="rId26" Type="http://schemas.openxmlformats.org/officeDocument/2006/relationships/tags" Target="../tags/tag428.xml"/><Relationship Id="rId47" Type="http://schemas.openxmlformats.org/officeDocument/2006/relationships/tags" Target="../tags/tag449.xml"/><Relationship Id="rId68" Type="http://schemas.openxmlformats.org/officeDocument/2006/relationships/tags" Target="../tags/tag470.xml"/><Relationship Id="rId89" Type="http://schemas.openxmlformats.org/officeDocument/2006/relationships/tags" Target="../tags/tag491.xml"/><Relationship Id="rId112" Type="http://schemas.openxmlformats.org/officeDocument/2006/relationships/tags" Target="../tags/tag514.xml"/><Relationship Id="rId133" Type="http://schemas.openxmlformats.org/officeDocument/2006/relationships/tags" Target="../tags/tag535.xml"/><Relationship Id="rId154" Type="http://schemas.openxmlformats.org/officeDocument/2006/relationships/tags" Target="../tags/tag556.xml"/><Relationship Id="rId175" Type="http://schemas.openxmlformats.org/officeDocument/2006/relationships/tags" Target="../tags/tag577.xml"/><Relationship Id="rId16" Type="http://schemas.openxmlformats.org/officeDocument/2006/relationships/tags" Target="../tags/tag418.xml"/><Relationship Id="rId37" Type="http://schemas.openxmlformats.org/officeDocument/2006/relationships/tags" Target="../tags/tag439.xml"/><Relationship Id="rId58" Type="http://schemas.openxmlformats.org/officeDocument/2006/relationships/tags" Target="../tags/tag460.xml"/><Relationship Id="rId79" Type="http://schemas.openxmlformats.org/officeDocument/2006/relationships/tags" Target="../tags/tag481.xml"/><Relationship Id="rId102" Type="http://schemas.openxmlformats.org/officeDocument/2006/relationships/tags" Target="../tags/tag504.xml"/><Relationship Id="rId123" Type="http://schemas.openxmlformats.org/officeDocument/2006/relationships/tags" Target="../tags/tag525.xml"/><Relationship Id="rId144" Type="http://schemas.openxmlformats.org/officeDocument/2006/relationships/tags" Target="../tags/tag546.xml"/><Relationship Id="rId90" Type="http://schemas.openxmlformats.org/officeDocument/2006/relationships/tags" Target="../tags/tag492.xml"/><Relationship Id="rId165" Type="http://schemas.openxmlformats.org/officeDocument/2006/relationships/tags" Target="../tags/tag567.xml"/><Relationship Id="rId186" Type="http://schemas.openxmlformats.org/officeDocument/2006/relationships/oleObject" Target="../embeddings/oleObject12.bin"/><Relationship Id="rId27" Type="http://schemas.openxmlformats.org/officeDocument/2006/relationships/tags" Target="../tags/tag429.xml"/><Relationship Id="rId48" Type="http://schemas.openxmlformats.org/officeDocument/2006/relationships/tags" Target="../tags/tag450.xml"/><Relationship Id="rId69" Type="http://schemas.openxmlformats.org/officeDocument/2006/relationships/tags" Target="../tags/tag471.xml"/><Relationship Id="rId113" Type="http://schemas.openxmlformats.org/officeDocument/2006/relationships/tags" Target="../tags/tag515.xml"/><Relationship Id="rId134" Type="http://schemas.openxmlformats.org/officeDocument/2006/relationships/tags" Target="../tags/tag536.xml"/><Relationship Id="rId80" Type="http://schemas.openxmlformats.org/officeDocument/2006/relationships/tags" Target="../tags/tag482.xml"/><Relationship Id="rId155" Type="http://schemas.openxmlformats.org/officeDocument/2006/relationships/tags" Target="../tags/tag557.xml"/><Relationship Id="rId176" Type="http://schemas.openxmlformats.org/officeDocument/2006/relationships/tags" Target="../tags/tag578.xml"/><Relationship Id="rId17" Type="http://schemas.openxmlformats.org/officeDocument/2006/relationships/tags" Target="../tags/tag419.xml"/><Relationship Id="rId38" Type="http://schemas.openxmlformats.org/officeDocument/2006/relationships/tags" Target="../tags/tag440.xml"/><Relationship Id="rId59" Type="http://schemas.openxmlformats.org/officeDocument/2006/relationships/tags" Target="../tags/tag461.xml"/><Relationship Id="rId103" Type="http://schemas.openxmlformats.org/officeDocument/2006/relationships/tags" Target="../tags/tag505.xml"/><Relationship Id="rId124" Type="http://schemas.openxmlformats.org/officeDocument/2006/relationships/tags" Target="../tags/tag526.xml"/><Relationship Id="rId70" Type="http://schemas.openxmlformats.org/officeDocument/2006/relationships/tags" Target="../tags/tag472.xml"/><Relationship Id="rId91" Type="http://schemas.openxmlformats.org/officeDocument/2006/relationships/tags" Target="../tags/tag493.xml"/><Relationship Id="rId145" Type="http://schemas.openxmlformats.org/officeDocument/2006/relationships/tags" Target="../tags/tag547.xml"/><Relationship Id="rId166" Type="http://schemas.openxmlformats.org/officeDocument/2006/relationships/tags" Target="../tags/tag568.xml"/><Relationship Id="rId187" Type="http://schemas.openxmlformats.org/officeDocument/2006/relationships/image" Target="../media/image1.emf"/><Relationship Id="rId1" Type="http://schemas.openxmlformats.org/officeDocument/2006/relationships/vmlDrawing" Target="../drawings/vmlDrawing10.vml"/><Relationship Id="rId28" Type="http://schemas.openxmlformats.org/officeDocument/2006/relationships/tags" Target="../tags/tag430.xml"/><Relationship Id="rId49" Type="http://schemas.openxmlformats.org/officeDocument/2006/relationships/tags" Target="../tags/tag451.xml"/><Relationship Id="rId114" Type="http://schemas.openxmlformats.org/officeDocument/2006/relationships/tags" Target="../tags/tag516.xml"/><Relationship Id="rId60" Type="http://schemas.openxmlformats.org/officeDocument/2006/relationships/tags" Target="../tags/tag462.xml"/><Relationship Id="rId81" Type="http://schemas.openxmlformats.org/officeDocument/2006/relationships/tags" Target="../tags/tag483.xml"/><Relationship Id="rId135" Type="http://schemas.openxmlformats.org/officeDocument/2006/relationships/tags" Target="../tags/tag537.xml"/><Relationship Id="rId156" Type="http://schemas.openxmlformats.org/officeDocument/2006/relationships/tags" Target="../tags/tag558.xml"/><Relationship Id="rId177" Type="http://schemas.openxmlformats.org/officeDocument/2006/relationships/tags" Target="../tags/tag579.xml"/></Relationships>
</file>

<file path=ppt/slides/_rels/slide16.xml.rels><?xml version="1.0" encoding="UTF-8" standalone="yes"?>
<Relationships xmlns="http://schemas.openxmlformats.org/package/2006/relationships"><Relationship Id="rId8" Type="http://schemas.openxmlformats.org/officeDocument/2006/relationships/tags" Target="../tags/tag592.xml"/><Relationship Id="rId13" Type="http://schemas.openxmlformats.org/officeDocument/2006/relationships/tags" Target="../tags/tag597.xml"/><Relationship Id="rId18" Type="http://schemas.openxmlformats.org/officeDocument/2006/relationships/slideLayout" Target="../slideLayouts/slideLayout3.xml"/><Relationship Id="rId3" Type="http://schemas.openxmlformats.org/officeDocument/2006/relationships/tags" Target="../tags/tag587.xml"/><Relationship Id="rId21" Type="http://schemas.openxmlformats.org/officeDocument/2006/relationships/chart" Target="../charts/chart10.xml"/><Relationship Id="rId7" Type="http://schemas.openxmlformats.org/officeDocument/2006/relationships/tags" Target="../tags/tag591.xml"/><Relationship Id="rId12" Type="http://schemas.openxmlformats.org/officeDocument/2006/relationships/tags" Target="../tags/tag596.xml"/><Relationship Id="rId17" Type="http://schemas.openxmlformats.org/officeDocument/2006/relationships/tags" Target="../tags/tag601.xml"/><Relationship Id="rId2" Type="http://schemas.openxmlformats.org/officeDocument/2006/relationships/tags" Target="../tags/tag586.xml"/><Relationship Id="rId16" Type="http://schemas.openxmlformats.org/officeDocument/2006/relationships/tags" Target="../tags/tag600.xml"/><Relationship Id="rId20" Type="http://schemas.openxmlformats.org/officeDocument/2006/relationships/image" Target="../media/image18.emf"/><Relationship Id="rId1" Type="http://schemas.openxmlformats.org/officeDocument/2006/relationships/vmlDrawing" Target="../drawings/vmlDrawing11.vml"/><Relationship Id="rId6" Type="http://schemas.openxmlformats.org/officeDocument/2006/relationships/tags" Target="../tags/tag590.xml"/><Relationship Id="rId11" Type="http://schemas.openxmlformats.org/officeDocument/2006/relationships/tags" Target="../tags/tag595.xml"/><Relationship Id="rId5" Type="http://schemas.openxmlformats.org/officeDocument/2006/relationships/tags" Target="../tags/tag589.xml"/><Relationship Id="rId15" Type="http://schemas.openxmlformats.org/officeDocument/2006/relationships/tags" Target="../tags/tag599.xml"/><Relationship Id="rId10" Type="http://schemas.openxmlformats.org/officeDocument/2006/relationships/tags" Target="../tags/tag594.xml"/><Relationship Id="rId19" Type="http://schemas.openxmlformats.org/officeDocument/2006/relationships/oleObject" Target="../embeddings/oleObject13.bin"/><Relationship Id="rId4" Type="http://schemas.openxmlformats.org/officeDocument/2006/relationships/tags" Target="../tags/tag588.xml"/><Relationship Id="rId9" Type="http://schemas.openxmlformats.org/officeDocument/2006/relationships/tags" Target="../tags/tag593.xml"/><Relationship Id="rId14" Type="http://schemas.openxmlformats.org/officeDocument/2006/relationships/tags" Target="../tags/tag598.xml"/><Relationship Id="rId22" Type="http://schemas.openxmlformats.org/officeDocument/2006/relationships/chart" Target="../charts/chart11.xml"/></Relationships>
</file>

<file path=ppt/slides/_rels/slide1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603.xml"/><Relationship Id="rId7" Type="http://schemas.openxmlformats.org/officeDocument/2006/relationships/oleObject" Target="../embeddings/oleObject14.bin"/><Relationship Id="rId2" Type="http://schemas.openxmlformats.org/officeDocument/2006/relationships/tags" Target="../tags/tag602.xml"/><Relationship Id="rId1" Type="http://schemas.openxmlformats.org/officeDocument/2006/relationships/vmlDrawing" Target="../drawings/vmlDrawing12.vml"/><Relationship Id="rId6" Type="http://schemas.openxmlformats.org/officeDocument/2006/relationships/slideLayout" Target="../slideLayouts/slideLayout3.xml"/><Relationship Id="rId5" Type="http://schemas.openxmlformats.org/officeDocument/2006/relationships/tags" Target="../tags/tag605.xml"/><Relationship Id="rId10" Type="http://schemas.openxmlformats.org/officeDocument/2006/relationships/chart" Target="../charts/chart13.xml"/><Relationship Id="rId4" Type="http://schemas.openxmlformats.org/officeDocument/2006/relationships/tags" Target="../tags/tag604.xml"/><Relationship Id="rId9" Type="http://schemas.openxmlformats.org/officeDocument/2006/relationships/chart" Target="../charts/char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3" Type="http://schemas.openxmlformats.org/officeDocument/2006/relationships/tags" Target="../tags/tag617.xml"/><Relationship Id="rId18" Type="http://schemas.openxmlformats.org/officeDocument/2006/relationships/tags" Target="../tags/tag622.xml"/><Relationship Id="rId26" Type="http://schemas.openxmlformats.org/officeDocument/2006/relationships/tags" Target="../tags/tag630.xml"/><Relationship Id="rId39" Type="http://schemas.openxmlformats.org/officeDocument/2006/relationships/tags" Target="../tags/tag643.xml"/><Relationship Id="rId21" Type="http://schemas.openxmlformats.org/officeDocument/2006/relationships/tags" Target="../tags/tag625.xml"/><Relationship Id="rId34" Type="http://schemas.openxmlformats.org/officeDocument/2006/relationships/tags" Target="../tags/tag638.xml"/><Relationship Id="rId42" Type="http://schemas.openxmlformats.org/officeDocument/2006/relationships/tags" Target="../tags/tag646.xml"/><Relationship Id="rId47" Type="http://schemas.openxmlformats.org/officeDocument/2006/relationships/tags" Target="../tags/tag651.xml"/><Relationship Id="rId50" Type="http://schemas.openxmlformats.org/officeDocument/2006/relationships/tags" Target="../tags/tag654.xml"/><Relationship Id="rId55" Type="http://schemas.openxmlformats.org/officeDocument/2006/relationships/slideLayout" Target="../slideLayouts/slideLayout3.xml"/><Relationship Id="rId7" Type="http://schemas.openxmlformats.org/officeDocument/2006/relationships/tags" Target="../tags/tag611.xml"/><Relationship Id="rId2" Type="http://schemas.openxmlformats.org/officeDocument/2006/relationships/tags" Target="../tags/tag606.xml"/><Relationship Id="rId16" Type="http://schemas.openxmlformats.org/officeDocument/2006/relationships/tags" Target="../tags/tag620.xml"/><Relationship Id="rId29" Type="http://schemas.openxmlformats.org/officeDocument/2006/relationships/tags" Target="../tags/tag633.xml"/><Relationship Id="rId11" Type="http://schemas.openxmlformats.org/officeDocument/2006/relationships/tags" Target="../tags/tag615.xml"/><Relationship Id="rId24" Type="http://schemas.openxmlformats.org/officeDocument/2006/relationships/tags" Target="../tags/tag628.xml"/><Relationship Id="rId32" Type="http://schemas.openxmlformats.org/officeDocument/2006/relationships/tags" Target="../tags/tag636.xml"/><Relationship Id="rId37" Type="http://schemas.openxmlformats.org/officeDocument/2006/relationships/tags" Target="../tags/tag641.xml"/><Relationship Id="rId40" Type="http://schemas.openxmlformats.org/officeDocument/2006/relationships/tags" Target="../tags/tag644.xml"/><Relationship Id="rId45" Type="http://schemas.openxmlformats.org/officeDocument/2006/relationships/tags" Target="../tags/tag649.xml"/><Relationship Id="rId53" Type="http://schemas.openxmlformats.org/officeDocument/2006/relationships/tags" Target="../tags/tag657.xml"/><Relationship Id="rId58" Type="http://schemas.openxmlformats.org/officeDocument/2006/relationships/hyperlink" Target="https://datasus.saude.gov.br/&#65289;&#12289;World" TargetMode="External"/><Relationship Id="rId5" Type="http://schemas.openxmlformats.org/officeDocument/2006/relationships/tags" Target="../tags/tag609.xml"/><Relationship Id="rId19" Type="http://schemas.openxmlformats.org/officeDocument/2006/relationships/tags" Target="../tags/tag623.xml"/><Relationship Id="rId4" Type="http://schemas.openxmlformats.org/officeDocument/2006/relationships/tags" Target="../tags/tag608.xml"/><Relationship Id="rId9" Type="http://schemas.openxmlformats.org/officeDocument/2006/relationships/tags" Target="../tags/tag613.xml"/><Relationship Id="rId14" Type="http://schemas.openxmlformats.org/officeDocument/2006/relationships/tags" Target="../tags/tag618.xml"/><Relationship Id="rId22" Type="http://schemas.openxmlformats.org/officeDocument/2006/relationships/tags" Target="../tags/tag626.xml"/><Relationship Id="rId27" Type="http://schemas.openxmlformats.org/officeDocument/2006/relationships/tags" Target="../tags/tag631.xml"/><Relationship Id="rId30" Type="http://schemas.openxmlformats.org/officeDocument/2006/relationships/tags" Target="../tags/tag634.xml"/><Relationship Id="rId35" Type="http://schemas.openxmlformats.org/officeDocument/2006/relationships/tags" Target="../tags/tag639.xml"/><Relationship Id="rId43" Type="http://schemas.openxmlformats.org/officeDocument/2006/relationships/tags" Target="../tags/tag647.xml"/><Relationship Id="rId48" Type="http://schemas.openxmlformats.org/officeDocument/2006/relationships/tags" Target="../tags/tag652.xml"/><Relationship Id="rId56" Type="http://schemas.openxmlformats.org/officeDocument/2006/relationships/oleObject" Target="../embeddings/oleObject15.bin"/><Relationship Id="rId8" Type="http://schemas.openxmlformats.org/officeDocument/2006/relationships/tags" Target="../tags/tag612.xml"/><Relationship Id="rId51" Type="http://schemas.openxmlformats.org/officeDocument/2006/relationships/tags" Target="../tags/tag655.xml"/><Relationship Id="rId3" Type="http://schemas.openxmlformats.org/officeDocument/2006/relationships/tags" Target="../tags/tag607.xml"/><Relationship Id="rId12" Type="http://schemas.openxmlformats.org/officeDocument/2006/relationships/tags" Target="../tags/tag616.xml"/><Relationship Id="rId17" Type="http://schemas.openxmlformats.org/officeDocument/2006/relationships/tags" Target="../tags/tag621.xml"/><Relationship Id="rId25" Type="http://schemas.openxmlformats.org/officeDocument/2006/relationships/tags" Target="../tags/tag629.xml"/><Relationship Id="rId33" Type="http://schemas.openxmlformats.org/officeDocument/2006/relationships/tags" Target="../tags/tag637.xml"/><Relationship Id="rId38" Type="http://schemas.openxmlformats.org/officeDocument/2006/relationships/tags" Target="../tags/tag642.xml"/><Relationship Id="rId46" Type="http://schemas.openxmlformats.org/officeDocument/2006/relationships/tags" Target="../tags/tag650.xml"/><Relationship Id="rId59" Type="http://schemas.openxmlformats.org/officeDocument/2006/relationships/chart" Target="../charts/chart14.xml"/><Relationship Id="rId20" Type="http://schemas.openxmlformats.org/officeDocument/2006/relationships/tags" Target="../tags/tag624.xml"/><Relationship Id="rId41" Type="http://schemas.openxmlformats.org/officeDocument/2006/relationships/tags" Target="../tags/tag645.xml"/><Relationship Id="rId54" Type="http://schemas.openxmlformats.org/officeDocument/2006/relationships/tags" Target="../tags/tag658.xml"/><Relationship Id="rId1" Type="http://schemas.openxmlformats.org/officeDocument/2006/relationships/vmlDrawing" Target="../drawings/vmlDrawing13.vml"/><Relationship Id="rId6" Type="http://schemas.openxmlformats.org/officeDocument/2006/relationships/tags" Target="../tags/tag610.xml"/><Relationship Id="rId15" Type="http://schemas.openxmlformats.org/officeDocument/2006/relationships/tags" Target="../tags/tag619.xml"/><Relationship Id="rId23" Type="http://schemas.openxmlformats.org/officeDocument/2006/relationships/tags" Target="../tags/tag627.xml"/><Relationship Id="rId28" Type="http://schemas.openxmlformats.org/officeDocument/2006/relationships/tags" Target="../tags/tag632.xml"/><Relationship Id="rId36" Type="http://schemas.openxmlformats.org/officeDocument/2006/relationships/tags" Target="../tags/tag640.xml"/><Relationship Id="rId49" Type="http://schemas.openxmlformats.org/officeDocument/2006/relationships/tags" Target="../tags/tag653.xml"/><Relationship Id="rId57" Type="http://schemas.openxmlformats.org/officeDocument/2006/relationships/image" Target="../media/image18.emf"/><Relationship Id="rId10" Type="http://schemas.openxmlformats.org/officeDocument/2006/relationships/tags" Target="../tags/tag614.xml"/><Relationship Id="rId31" Type="http://schemas.openxmlformats.org/officeDocument/2006/relationships/tags" Target="../tags/tag635.xml"/><Relationship Id="rId44" Type="http://schemas.openxmlformats.org/officeDocument/2006/relationships/tags" Target="../tags/tag648.xml"/><Relationship Id="rId52" Type="http://schemas.openxmlformats.org/officeDocument/2006/relationships/tags" Target="../tags/tag656.xml"/><Relationship Id="rId60" Type="http://schemas.openxmlformats.org/officeDocument/2006/relationships/chart" Target="../charts/chart1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9.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3" Type="http://schemas.openxmlformats.org/officeDocument/2006/relationships/tags" Target="../tags/tag670.xml"/><Relationship Id="rId18" Type="http://schemas.openxmlformats.org/officeDocument/2006/relationships/tags" Target="../tags/tag675.xml"/><Relationship Id="rId26" Type="http://schemas.openxmlformats.org/officeDocument/2006/relationships/tags" Target="../tags/tag683.xml"/><Relationship Id="rId39" Type="http://schemas.openxmlformats.org/officeDocument/2006/relationships/tags" Target="../tags/tag696.xml"/><Relationship Id="rId21" Type="http://schemas.openxmlformats.org/officeDocument/2006/relationships/tags" Target="../tags/tag678.xml"/><Relationship Id="rId34" Type="http://schemas.openxmlformats.org/officeDocument/2006/relationships/tags" Target="../tags/tag691.xml"/><Relationship Id="rId42" Type="http://schemas.openxmlformats.org/officeDocument/2006/relationships/tags" Target="../tags/tag699.xml"/><Relationship Id="rId47" Type="http://schemas.openxmlformats.org/officeDocument/2006/relationships/tags" Target="../tags/tag704.xml"/><Relationship Id="rId50" Type="http://schemas.openxmlformats.org/officeDocument/2006/relationships/tags" Target="../tags/tag707.xml"/><Relationship Id="rId55" Type="http://schemas.openxmlformats.org/officeDocument/2006/relationships/tags" Target="../tags/tag712.xml"/><Relationship Id="rId63" Type="http://schemas.openxmlformats.org/officeDocument/2006/relationships/chart" Target="../charts/chart16.xml"/><Relationship Id="rId7" Type="http://schemas.openxmlformats.org/officeDocument/2006/relationships/tags" Target="../tags/tag664.xml"/><Relationship Id="rId2" Type="http://schemas.openxmlformats.org/officeDocument/2006/relationships/tags" Target="../tags/tag659.xml"/><Relationship Id="rId16" Type="http://schemas.openxmlformats.org/officeDocument/2006/relationships/tags" Target="../tags/tag673.xml"/><Relationship Id="rId29" Type="http://schemas.openxmlformats.org/officeDocument/2006/relationships/tags" Target="../tags/tag686.xml"/><Relationship Id="rId11" Type="http://schemas.openxmlformats.org/officeDocument/2006/relationships/tags" Target="../tags/tag668.xml"/><Relationship Id="rId24" Type="http://schemas.openxmlformats.org/officeDocument/2006/relationships/tags" Target="../tags/tag681.xml"/><Relationship Id="rId32" Type="http://schemas.openxmlformats.org/officeDocument/2006/relationships/tags" Target="../tags/tag689.xml"/><Relationship Id="rId37" Type="http://schemas.openxmlformats.org/officeDocument/2006/relationships/tags" Target="../tags/tag694.xml"/><Relationship Id="rId40" Type="http://schemas.openxmlformats.org/officeDocument/2006/relationships/tags" Target="../tags/tag697.xml"/><Relationship Id="rId45" Type="http://schemas.openxmlformats.org/officeDocument/2006/relationships/tags" Target="../tags/tag702.xml"/><Relationship Id="rId53" Type="http://schemas.openxmlformats.org/officeDocument/2006/relationships/tags" Target="../tags/tag710.xml"/><Relationship Id="rId58" Type="http://schemas.openxmlformats.org/officeDocument/2006/relationships/tags" Target="../tags/tag715.xml"/><Relationship Id="rId5" Type="http://schemas.openxmlformats.org/officeDocument/2006/relationships/tags" Target="../tags/tag662.xml"/><Relationship Id="rId61" Type="http://schemas.openxmlformats.org/officeDocument/2006/relationships/oleObject" Target="../embeddings/oleObject16.bin"/><Relationship Id="rId19" Type="http://schemas.openxmlformats.org/officeDocument/2006/relationships/tags" Target="../tags/tag676.xml"/><Relationship Id="rId14" Type="http://schemas.openxmlformats.org/officeDocument/2006/relationships/tags" Target="../tags/tag671.xml"/><Relationship Id="rId22" Type="http://schemas.openxmlformats.org/officeDocument/2006/relationships/tags" Target="../tags/tag679.xml"/><Relationship Id="rId27" Type="http://schemas.openxmlformats.org/officeDocument/2006/relationships/tags" Target="../tags/tag684.xml"/><Relationship Id="rId30" Type="http://schemas.openxmlformats.org/officeDocument/2006/relationships/tags" Target="../tags/tag687.xml"/><Relationship Id="rId35" Type="http://schemas.openxmlformats.org/officeDocument/2006/relationships/tags" Target="../tags/tag692.xml"/><Relationship Id="rId43" Type="http://schemas.openxmlformats.org/officeDocument/2006/relationships/tags" Target="../tags/tag700.xml"/><Relationship Id="rId48" Type="http://schemas.openxmlformats.org/officeDocument/2006/relationships/tags" Target="../tags/tag705.xml"/><Relationship Id="rId56" Type="http://schemas.openxmlformats.org/officeDocument/2006/relationships/tags" Target="../tags/tag713.xml"/><Relationship Id="rId64" Type="http://schemas.openxmlformats.org/officeDocument/2006/relationships/chart" Target="../charts/chart17.xml"/><Relationship Id="rId8" Type="http://schemas.openxmlformats.org/officeDocument/2006/relationships/tags" Target="../tags/tag665.xml"/><Relationship Id="rId51" Type="http://schemas.openxmlformats.org/officeDocument/2006/relationships/tags" Target="../tags/tag708.xml"/><Relationship Id="rId3" Type="http://schemas.openxmlformats.org/officeDocument/2006/relationships/tags" Target="../tags/tag660.xml"/><Relationship Id="rId12" Type="http://schemas.openxmlformats.org/officeDocument/2006/relationships/tags" Target="../tags/tag669.xml"/><Relationship Id="rId17" Type="http://schemas.openxmlformats.org/officeDocument/2006/relationships/tags" Target="../tags/tag674.xml"/><Relationship Id="rId25" Type="http://schemas.openxmlformats.org/officeDocument/2006/relationships/tags" Target="../tags/tag682.xml"/><Relationship Id="rId33" Type="http://schemas.openxmlformats.org/officeDocument/2006/relationships/tags" Target="../tags/tag690.xml"/><Relationship Id="rId38" Type="http://schemas.openxmlformats.org/officeDocument/2006/relationships/tags" Target="../tags/tag695.xml"/><Relationship Id="rId46" Type="http://schemas.openxmlformats.org/officeDocument/2006/relationships/tags" Target="../tags/tag703.xml"/><Relationship Id="rId59" Type="http://schemas.openxmlformats.org/officeDocument/2006/relationships/tags" Target="../tags/tag716.xml"/><Relationship Id="rId20" Type="http://schemas.openxmlformats.org/officeDocument/2006/relationships/tags" Target="../tags/tag677.xml"/><Relationship Id="rId41" Type="http://schemas.openxmlformats.org/officeDocument/2006/relationships/tags" Target="../tags/tag698.xml"/><Relationship Id="rId54" Type="http://schemas.openxmlformats.org/officeDocument/2006/relationships/tags" Target="../tags/tag711.xml"/><Relationship Id="rId62" Type="http://schemas.openxmlformats.org/officeDocument/2006/relationships/image" Target="../media/image18.emf"/><Relationship Id="rId1" Type="http://schemas.openxmlformats.org/officeDocument/2006/relationships/vmlDrawing" Target="../drawings/vmlDrawing14.vml"/><Relationship Id="rId6" Type="http://schemas.openxmlformats.org/officeDocument/2006/relationships/tags" Target="../tags/tag663.xml"/><Relationship Id="rId15" Type="http://schemas.openxmlformats.org/officeDocument/2006/relationships/tags" Target="../tags/tag672.xml"/><Relationship Id="rId23" Type="http://schemas.openxmlformats.org/officeDocument/2006/relationships/tags" Target="../tags/tag680.xml"/><Relationship Id="rId28" Type="http://schemas.openxmlformats.org/officeDocument/2006/relationships/tags" Target="../tags/tag685.xml"/><Relationship Id="rId36" Type="http://schemas.openxmlformats.org/officeDocument/2006/relationships/tags" Target="../tags/tag693.xml"/><Relationship Id="rId49" Type="http://schemas.openxmlformats.org/officeDocument/2006/relationships/tags" Target="../tags/tag706.xml"/><Relationship Id="rId57" Type="http://schemas.openxmlformats.org/officeDocument/2006/relationships/tags" Target="../tags/tag714.xml"/><Relationship Id="rId10" Type="http://schemas.openxmlformats.org/officeDocument/2006/relationships/tags" Target="../tags/tag667.xml"/><Relationship Id="rId31" Type="http://schemas.openxmlformats.org/officeDocument/2006/relationships/tags" Target="../tags/tag688.xml"/><Relationship Id="rId44" Type="http://schemas.openxmlformats.org/officeDocument/2006/relationships/tags" Target="../tags/tag701.xml"/><Relationship Id="rId52" Type="http://schemas.openxmlformats.org/officeDocument/2006/relationships/tags" Target="../tags/tag709.xml"/><Relationship Id="rId60" Type="http://schemas.openxmlformats.org/officeDocument/2006/relationships/slideLayout" Target="../slideLayouts/slideLayout3.xml"/><Relationship Id="rId4" Type="http://schemas.openxmlformats.org/officeDocument/2006/relationships/tags" Target="../tags/tag661.xml"/><Relationship Id="rId9" Type="http://schemas.openxmlformats.org/officeDocument/2006/relationships/tags" Target="../tags/tag666.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17.xml"/><Relationship Id="rId1" Type="http://schemas.openxmlformats.org/officeDocument/2006/relationships/vmlDrawing" Target="../drawings/vmlDrawing15.vml"/><Relationship Id="rId5" Type="http://schemas.openxmlformats.org/officeDocument/2006/relationships/image" Target="../media/image22.emf"/><Relationship Id="rId4" Type="http://schemas.openxmlformats.org/officeDocument/2006/relationships/oleObject" Target="../embeddings/oleObject17.bin"/></Relationships>
</file>

<file path=ppt/slides/_rels/slide24.xml.rels><?xml version="1.0" encoding="UTF-8" standalone="yes"?>
<Relationships xmlns="http://schemas.openxmlformats.org/package/2006/relationships"><Relationship Id="rId8" Type="http://schemas.openxmlformats.org/officeDocument/2006/relationships/tags" Target="../tags/tag724.xml"/><Relationship Id="rId13" Type="http://schemas.openxmlformats.org/officeDocument/2006/relationships/chart" Target="../charts/chart18.xml"/><Relationship Id="rId3" Type="http://schemas.openxmlformats.org/officeDocument/2006/relationships/tags" Target="../tags/tag719.xml"/><Relationship Id="rId7" Type="http://schemas.openxmlformats.org/officeDocument/2006/relationships/tags" Target="../tags/tag723.xml"/><Relationship Id="rId12" Type="http://schemas.openxmlformats.org/officeDocument/2006/relationships/image" Target="../media/image22.emf"/><Relationship Id="rId2" Type="http://schemas.openxmlformats.org/officeDocument/2006/relationships/tags" Target="../tags/tag718.xml"/><Relationship Id="rId1" Type="http://schemas.openxmlformats.org/officeDocument/2006/relationships/vmlDrawing" Target="../drawings/vmlDrawing16.vml"/><Relationship Id="rId6" Type="http://schemas.openxmlformats.org/officeDocument/2006/relationships/tags" Target="../tags/tag722.xml"/><Relationship Id="rId11" Type="http://schemas.openxmlformats.org/officeDocument/2006/relationships/oleObject" Target="../embeddings/oleObject18.bin"/><Relationship Id="rId5" Type="http://schemas.openxmlformats.org/officeDocument/2006/relationships/tags" Target="../tags/tag721.xml"/><Relationship Id="rId10" Type="http://schemas.openxmlformats.org/officeDocument/2006/relationships/slideLayout" Target="../slideLayouts/slideLayout3.xml"/><Relationship Id="rId4" Type="http://schemas.openxmlformats.org/officeDocument/2006/relationships/tags" Target="../tags/tag720.xml"/><Relationship Id="rId9" Type="http://schemas.openxmlformats.org/officeDocument/2006/relationships/tags" Target="../tags/tag72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3.xml"/><Relationship Id="rId4" Type="http://schemas.openxmlformats.org/officeDocument/2006/relationships/chart" Target="../charts/chart21.xml"/></Relationships>
</file>

<file path=ppt/slides/_rels/slide27.xml.rels><?xml version="1.0" encoding="UTF-8" standalone="yes"?>
<Relationships xmlns="http://schemas.openxmlformats.org/package/2006/relationships"><Relationship Id="rId8" Type="http://schemas.openxmlformats.org/officeDocument/2006/relationships/tags" Target="../tags/tag732.xml"/><Relationship Id="rId13" Type="http://schemas.openxmlformats.org/officeDocument/2006/relationships/tags" Target="../tags/tag737.xml"/><Relationship Id="rId18" Type="http://schemas.openxmlformats.org/officeDocument/2006/relationships/tags" Target="../tags/tag742.xml"/><Relationship Id="rId26" Type="http://schemas.openxmlformats.org/officeDocument/2006/relationships/tags" Target="../tags/tag750.xml"/><Relationship Id="rId3" Type="http://schemas.openxmlformats.org/officeDocument/2006/relationships/tags" Target="../tags/tag727.xml"/><Relationship Id="rId21" Type="http://schemas.openxmlformats.org/officeDocument/2006/relationships/tags" Target="../tags/tag745.xml"/><Relationship Id="rId7" Type="http://schemas.openxmlformats.org/officeDocument/2006/relationships/tags" Target="../tags/tag731.xml"/><Relationship Id="rId12" Type="http://schemas.openxmlformats.org/officeDocument/2006/relationships/tags" Target="../tags/tag736.xml"/><Relationship Id="rId17" Type="http://schemas.openxmlformats.org/officeDocument/2006/relationships/tags" Target="../tags/tag741.xml"/><Relationship Id="rId25" Type="http://schemas.openxmlformats.org/officeDocument/2006/relationships/tags" Target="../tags/tag749.xml"/><Relationship Id="rId2" Type="http://schemas.openxmlformats.org/officeDocument/2006/relationships/tags" Target="../tags/tag726.xml"/><Relationship Id="rId16" Type="http://schemas.openxmlformats.org/officeDocument/2006/relationships/tags" Target="../tags/tag740.xml"/><Relationship Id="rId20" Type="http://schemas.openxmlformats.org/officeDocument/2006/relationships/tags" Target="../tags/tag744.xml"/><Relationship Id="rId29" Type="http://schemas.openxmlformats.org/officeDocument/2006/relationships/oleObject" Target="../embeddings/oleObject19.bin"/><Relationship Id="rId1" Type="http://schemas.openxmlformats.org/officeDocument/2006/relationships/vmlDrawing" Target="../drawings/vmlDrawing17.vml"/><Relationship Id="rId6" Type="http://schemas.openxmlformats.org/officeDocument/2006/relationships/tags" Target="../tags/tag730.xml"/><Relationship Id="rId11" Type="http://schemas.openxmlformats.org/officeDocument/2006/relationships/tags" Target="../tags/tag735.xml"/><Relationship Id="rId24" Type="http://schemas.openxmlformats.org/officeDocument/2006/relationships/tags" Target="../tags/tag748.xml"/><Relationship Id="rId5" Type="http://schemas.openxmlformats.org/officeDocument/2006/relationships/tags" Target="../tags/tag729.xml"/><Relationship Id="rId15" Type="http://schemas.openxmlformats.org/officeDocument/2006/relationships/tags" Target="../tags/tag739.xml"/><Relationship Id="rId23" Type="http://schemas.openxmlformats.org/officeDocument/2006/relationships/tags" Target="../tags/tag747.xml"/><Relationship Id="rId28" Type="http://schemas.openxmlformats.org/officeDocument/2006/relationships/slideLayout" Target="../slideLayouts/slideLayout3.xml"/><Relationship Id="rId10" Type="http://schemas.openxmlformats.org/officeDocument/2006/relationships/tags" Target="../tags/tag734.xml"/><Relationship Id="rId19" Type="http://schemas.openxmlformats.org/officeDocument/2006/relationships/tags" Target="../tags/tag743.xml"/><Relationship Id="rId31" Type="http://schemas.openxmlformats.org/officeDocument/2006/relationships/chart" Target="../charts/chart22.xml"/><Relationship Id="rId4" Type="http://schemas.openxmlformats.org/officeDocument/2006/relationships/tags" Target="../tags/tag728.xml"/><Relationship Id="rId9" Type="http://schemas.openxmlformats.org/officeDocument/2006/relationships/tags" Target="../tags/tag733.xml"/><Relationship Id="rId14" Type="http://schemas.openxmlformats.org/officeDocument/2006/relationships/tags" Target="../tags/tag738.xml"/><Relationship Id="rId22" Type="http://schemas.openxmlformats.org/officeDocument/2006/relationships/tags" Target="../tags/tag746.xml"/><Relationship Id="rId27" Type="http://schemas.openxmlformats.org/officeDocument/2006/relationships/tags" Target="../tags/tag751.xml"/><Relationship Id="rId30" Type="http://schemas.openxmlformats.org/officeDocument/2006/relationships/image" Target="../media/image22.e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9.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52.xml"/><Relationship Id="rId1" Type="http://schemas.openxmlformats.org/officeDocument/2006/relationships/vmlDrawing" Target="../drawings/vmlDrawing18.vml"/><Relationship Id="rId5" Type="http://schemas.openxmlformats.org/officeDocument/2006/relationships/image" Target="../media/image22.emf"/><Relationship Id="rId4" Type="http://schemas.openxmlformats.org/officeDocument/2006/relationships/oleObject" Target="../embeddings/oleObject20.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53.xml"/><Relationship Id="rId1" Type="http://schemas.openxmlformats.org/officeDocument/2006/relationships/vmlDrawing" Target="../drawings/vmlDrawing19.vml"/><Relationship Id="rId5" Type="http://schemas.openxmlformats.org/officeDocument/2006/relationships/image" Target="../media/image22.emf"/><Relationship Id="rId4" Type="http://schemas.openxmlformats.org/officeDocument/2006/relationships/oleObject" Target="../embeddings/oleObject21.bin"/></Relationships>
</file>

<file path=ppt/slides/_rels/slide35.xml.rels><?xml version="1.0" encoding="UTF-8" standalone="yes"?>
<Relationships xmlns="http://schemas.openxmlformats.org/package/2006/relationships"><Relationship Id="rId13" Type="http://schemas.openxmlformats.org/officeDocument/2006/relationships/tags" Target="../tags/tag765.xml"/><Relationship Id="rId18" Type="http://schemas.openxmlformats.org/officeDocument/2006/relationships/tags" Target="../tags/tag770.xml"/><Relationship Id="rId26" Type="http://schemas.openxmlformats.org/officeDocument/2006/relationships/tags" Target="../tags/tag778.xml"/><Relationship Id="rId39" Type="http://schemas.openxmlformats.org/officeDocument/2006/relationships/tags" Target="../tags/tag791.xml"/><Relationship Id="rId21" Type="http://schemas.openxmlformats.org/officeDocument/2006/relationships/tags" Target="../tags/tag773.xml"/><Relationship Id="rId34" Type="http://schemas.openxmlformats.org/officeDocument/2006/relationships/tags" Target="../tags/tag786.xml"/><Relationship Id="rId42" Type="http://schemas.openxmlformats.org/officeDocument/2006/relationships/tags" Target="../tags/tag794.xml"/><Relationship Id="rId47" Type="http://schemas.openxmlformats.org/officeDocument/2006/relationships/tags" Target="../tags/tag799.xml"/><Relationship Id="rId50" Type="http://schemas.openxmlformats.org/officeDocument/2006/relationships/tags" Target="../tags/tag802.xml"/><Relationship Id="rId7" Type="http://schemas.openxmlformats.org/officeDocument/2006/relationships/tags" Target="../tags/tag759.xml"/><Relationship Id="rId2" Type="http://schemas.openxmlformats.org/officeDocument/2006/relationships/tags" Target="../tags/tag754.xml"/><Relationship Id="rId16" Type="http://schemas.openxmlformats.org/officeDocument/2006/relationships/tags" Target="../tags/tag768.xml"/><Relationship Id="rId29" Type="http://schemas.openxmlformats.org/officeDocument/2006/relationships/tags" Target="../tags/tag781.xml"/><Relationship Id="rId11" Type="http://schemas.openxmlformats.org/officeDocument/2006/relationships/tags" Target="../tags/tag763.xml"/><Relationship Id="rId24" Type="http://schemas.openxmlformats.org/officeDocument/2006/relationships/tags" Target="../tags/tag776.xml"/><Relationship Id="rId32" Type="http://schemas.openxmlformats.org/officeDocument/2006/relationships/tags" Target="../tags/tag784.xml"/><Relationship Id="rId37" Type="http://schemas.openxmlformats.org/officeDocument/2006/relationships/tags" Target="../tags/tag789.xml"/><Relationship Id="rId40" Type="http://schemas.openxmlformats.org/officeDocument/2006/relationships/tags" Target="../tags/tag792.xml"/><Relationship Id="rId45" Type="http://schemas.openxmlformats.org/officeDocument/2006/relationships/tags" Target="../tags/tag797.xml"/><Relationship Id="rId53" Type="http://schemas.openxmlformats.org/officeDocument/2006/relationships/image" Target="../media/image18.emf"/><Relationship Id="rId5" Type="http://schemas.openxmlformats.org/officeDocument/2006/relationships/tags" Target="../tags/tag757.xml"/><Relationship Id="rId10" Type="http://schemas.openxmlformats.org/officeDocument/2006/relationships/tags" Target="../tags/tag762.xml"/><Relationship Id="rId19" Type="http://schemas.openxmlformats.org/officeDocument/2006/relationships/tags" Target="../tags/tag771.xml"/><Relationship Id="rId31" Type="http://schemas.openxmlformats.org/officeDocument/2006/relationships/tags" Target="../tags/tag783.xml"/><Relationship Id="rId44" Type="http://schemas.openxmlformats.org/officeDocument/2006/relationships/tags" Target="../tags/tag796.xml"/><Relationship Id="rId52" Type="http://schemas.openxmlformats.org/officeDocument/2006/relationships/oleObject" Target="../embeddings/oleObject22.bin"/><Relationship Id="rId4" Type="http://schemas.openxmlformats.org/officeDocument/2006/relationships/tags" Target="../tags/tag756.xml"/><Relationship Id="rId9" Type="http://schemas.openxmlformats.org/officeDocument/2006/relationships/tags" Target="../tags/tag761.xml"/><Relationship Id="rId14" Type="http://schemas.openxmlformats.org/officeDocument/2006/relationships/tags" Target="../tags/tag766.xml"/><Relationship Id="rId22" Type="http://schemas.openxmlformats.org/officeDocument/2006/relationships/tags" Target="../tags/tag774.xml"/><Relationship Id="rId27" Type="http://schemas.openxmlformats.org/officeDocument/2006/relationships/tags" Target="../tags/tag779.xml"/><Relationship Id="rId30" Type="http://schemas.openxmlformats.org/officeDocument/2006/relationships/tags" Target="../tags/tag782.xml"/><Relationship Id="rId35" Type="http://schemas.openxmlformats.org/officeDocument/2006/relationships/tags" Target="../tags/tag787.xml"/><Relationship Id="rId43" Type="http://schemas.openxmlformats.org/officeDocument/2006/relationships/tags" Target="../tags/tag795.xml"/><Relationship Id="rId48" Type="http://schemas.openxmlformats.org/officeDocument/2006/relationships/tags" Target="../tags/tag800.xml"/><Relationship Id="rId8" Type="http://schemas.openxmlformats.org/officeDocument/2006/relationships/tags" Target="../tags/tag760.xml"/><Relationship Id="rId51" Type="http://schemas.openxmlformats.org/officeDocument/2006/relationships/slideLayout" Target="../slideLayouts/slideLayout3.xml"/><Relationship Id="rId3" Type="http://schemas.openxmlformats.org/officeDocument/2006/relationships/tags" Target="../tags/tag755.xml"/><Relationship Id="rId12" Type="http://schemas.openxmlformats.org/officeDocument/2006/relationships/tags" Target="../tags/tag764.xml"/><Relationship Id="rId17" Type="http://schemas.openxmlformats.org/officeDocument/2006/relationships/tags" Target="../tags/tag769.xml"/><Relationship Id="rId25" Type="http://schemas.openxmlformats.org/officeDocument/2006/relationships/tags" Target="../tags/tag777.xml"/><Relationship Id="rId33" Type="http://schemas.openxmlformats.org/officeDocument/2006/relationships/tags" Target="../tags/tag785.xml"/><Relationship Id="rId38" Type="http://schemas.openxmlformats.org/officeDocument/2006/relationships/tags" Target="../tags/tag790.xml"/><Relationship Id="rId46" Type="http://schemas.openxmlformats.org/officeDocument/2006/relationships/tags" Target="../tags/tag798.xml"/><Relationship Id="rId20" Type="http://schemas.openxmlformats.org/officeDocument/2006/relationships/tags" Target="../tags/tag772.xml"/><Relationship Id="rId41" Type="http://schemas.openxmlformats.org/officeDocument/2006/relationships/tags" Target="../tags/tag793.xml"/><Relationship Id="rId54" Type="http://schemas.openxmlformats.org/officeDocument/2006/relationships/chart" Target="../charts/chart23.xml"/><Relationship Id="rId1" Type="http://schemas.openxmlformats.org/officeDocument/2006/relationships/vmlDrawing" Target="../drawings/vmlDrawing20.vml"/><Relationship Id="rId6" Type="http://schemas.openxmlformats.org/officeDocument/2006/relationships/tags" Target="../tags/tag758.xml"/><Relationship Id="rId15" Type="http://schemas.openxmlformats.org/officeDocument/2006/relationships/tags" Target="../tags/tag767.xml"/><Relationship Id="rId23" Type="http://schemas.openxmlformats.org/officeDocument/2006/relationships/tags" Target="../tags/tag775.xml"/><Relationship Id="rId28" Type="http://schemas.openxmlformats.org/officeDocument/2006/relationships/tags" Target="../tags/tag780.xml"/><Relationship Id="rId36" Type="http://schemas.openxmlformats.org/officeDocument/2006/relationships/tags" Target="../tags/tag788.xml"/><Relationship Id="rId49" Type="http://schemas.openxmlformats.org/officeDocument/2006/relationships/tags" Target="../tags/tag801.xml"/></Relationships>
</file>

<file path=ppt/slides/_rels/slide36.xml.rels><?xml version="1.0" encoding="UTF-8" standalone="yes"?>
<Relationships xmlns="http://schemas.openxmlformats.org/package/2006/relationships"><Relationship Id="rId13" Type="http://schemas.openxmlformats.org/officeDocument/2006/relationships/tags" Target="../tags/tag814.xml"/><Relationship Id="rId18" Type="http://schemas.openxmlformats.org/officeDocument/2006/relationships/tags" Target="../tags/tag819.xml"/><Relationship Id="rId26" Type="http://schemas.openxmlformats.org/officeDocument/2006/relationships/tags" Target="../tags/tag827.xml"/><Relationship Id="rId39" Type="http://schemas.openxmlformats.org/officeDocument/2006/relationships/oleObject" Target="../embeddings/oleObject23.bin"/><Relationship Id="rId21" Type="http://schemas.openxmlformats.org/officeDocument/2006/relationships/tags" Target="../tags/tag822.xml"/><Relationship Id="rId34" Type="http://schemas.openxmlformats.org/officeDocument/2006/relationships/tags" Target="../tags/tag835.xml"/><Relationship Id="rId42" Type="http://schemas.openxmlformats.org/officeDocument/2006/relationships/chart" Target="../charts/chart25.xml"/><Relationship Id="rId7" Type="http://schemas.openxmlformats.org/officeDocument/2006/relationships/tags" Target="../tags/tag808.xml"/><Relationship Id="rId2" Type="http://schemas.openxmlformats.org/officeDocument/2006/relationships/tags" Target="../tags/tag803.xml"/><Relationship Id="rId16" Type="http://schemas.openxmlformats.org/officeDocument/2006/relationships/tags" Target="../tags/tag817.xml"/><Relationship Id="rId20" Type="http://schemas.openxmlformats.org/officeDocument/2006/relationships/tags" Target="../tags/tag821.xml"/><Relationship Id="rId29" Type="http://schemas.openxmlformats.org/officeDocument/2006/relationships/tags" Target="../tags/tag830.xml"/><Relationship Id="rId41" Type="http://schemas.openxmlformats.org/officeDocument/2006/relationships/chart" Target="../charts/chart24.xml"/><Relationship Id="rId1" Type="http://schemas.openxmlformats.org/officeDocument/2006/relationships/vmlDrawing" Target="../drawings/vmlDrawing21.vml"/><Relationship Id="rId6" Type="http://schemas.openxmlformats.org/officeDocument/2006/relationships/tags" Target="../tags/tag807.xml"/><Relationship Id="rId11" Type="http://schemas.openxmlformats.org/officeDocument/2006/relationships/tags" Target="../tags/tag812.xml"/><Relationship Id="rId24" Type="http://schemas.openxmlformats.org/officeDocument/2006/relationships/tags" Target="../tags/tag825.xml"/><Relationship Id="rId32" Type="http://schemas.openxmlformats.org/officeDocument/2006/relationships/tags" Target="../tags/tag833.xml"/><Relationship Id="rId37" Type="http://schemas.openxmlformats.org/officeDocument/2006/relationships/tags" Target="../tags/tag838.xml"/><Relationship Id="rId40" Type="http://schemas.openxmlformats.org/officeDocument/2006/relationships/image" Target="../media/image18.emf"/><Relationship Id="rId5" Type="http://schemas.openxmlformats.org/officeDocument/2006/relationships/tags" Target="../tags/tag806.xml"/><Relationship Id="rId15" Type="http://schemas.openxmlformats.org/officeDocument/2006/relationships/tags" Target="../tags/tag816.xml"/><Relationship Id="rId23" Type="http://schemas.openxmlformats.org/officeDocument/2006/relationships/tags" Target="../tags/tag824.xml"/><Relationship Id="rId28" Type="http://schemas.openxmlformats.org/officeDocument/2006/relationships/tags" Target="../tags/tag829.xml"/><Relationship Id="rId36" Type="http://schemas.openxmlformats.org/officeDocument/2006/relationships/tags" Target="../tags/tag837.xml"/><Relationship Id="rId10" Type="http://schemas.openxmlformats.org/officeDocument/2006/relationships/tags" Target="../tags/tag811.xml"/><Relationship Id="rId19" Type="http://schemas.openxmlformats.org/officeDocument/2006/relationships/tags" Target="../tags/tag820.xml"/><Relationship Id="rId31" Type="http://schemas.openxmlformats.org/officeDocument/2006/relationships/tags" Target="../tags/tag832.xml"/><Relationship Id="rId4" Type="http://schemas.openxmlformats.org/officeDocument/2006/relationships/tags" Target="../tags/tag805.xml"/><Relationship Id="rId9" Type="http://schemas.openxmlformats.org/officeDocument/2006/relationships/tags" Target="../tags/tag810.xml"/><Relationship Id="rId14" Type="http://schemas.openxmlformats.org/officeDocument/2006/relationships/tags" Target="../tags/tag815.xml"/><Relationship Id="rId22" Type="http://schemas.openxmlformats.org/officeDocument/2006/relationships/tags" Target="../tags/tag823.xml"/><Relationship Id="rId27" Type="http://schemas.openxmlformats.org/officeDocument/2006/relationships/tags" Target="../tags/tag828.xml"/><Relationship Id="rId30" Type="http://schemas.openxmlformats.org/officeDocument/2006/relationships/tags" Target="../tags/tag831.xml"/><Relationship Id="rId35" Type="http://schemas.openxmlformats.org/officeDocument/2006/relationships/tags" Target="../tags/tag836.xml"/><Relationship Id="rId8" Type="http://schemas.openxmlformats.org/officeDocument/2006/relationships/tags" Target="../tags/tag809.xml"/><Relationship Id="rId3" Type="http://schemas.openxmlformats.org/officeDocument/2006/relationships/tags" Target="../tags/tag804.xml"/><Relationship Id="rId12" Type="http://schemas.openxmlformats.org/officeDocument/2006/relationships/tags" Target="../tags/tag813.xml"/><Relationship Id="rId17" Type="http://schemas.openxmlformats.org/officeDocument/2006/relationships/tags" Target="../tags/tag818.xml"/><Relationship Id="rId25" Type="http://schemas.openxmlformats.org/officeDocument/2006/relationships/tags" Target="../tags/tag826.xml"/><Relationship Id="rId33" Type="http://schemas.openxmlformats.org/officeDocument/2006/relationships/tags" Target="../tags/tag834.xml"/><Relationship Id="rId38"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3" Type="http://schemas.openxmlformats.org/officeDocument/2006/relationships/tags" Target="../tags/tag850.xml"/><Relationship Id="rId18" Type="http://schemas.openxmlformats.org/officeDocument/2006/relationships/tags" Target="../tags/tag855.xml"/><Relationship Id="rId26" Type="http://schemas.openxmlformats.org/officeDocument/2006/relationships/tags" Target="../tags/tag863.xml"/><Relationship Id="rId39" Type="http://schemas.openxmlformats.org/officeDocument/2006/relationships/tags" Target="../tags/tag876.xml"/><Relationship Id="rId21" Type="http://schemas.openxmlformats.org/officeDocument/2006/relationships/tags" Target="../tags/tag858.xml"/><Relationship Id="rId34" Type="http://schemas.openxmlformats.org/officeDocument/2006/relationships/tags" Target="../tags/tag871.xml"/><Relationship Id="rId42" Type="http://schemas.openxmlformats.org/officeDocument/2006/relationships/tags" Target="../tags/tag879.xml"/><Relationship Id="rId47" Type="http://schemas.openxmlformats.org/officeDocument/2006/relationships/chart" Target="../charts/chart26.xml"/><Relationship Id="rId7" Type="http://schemas.openxmlformats.org/officeDocument/2006/relationships/tags" Target="../tags/tag844.xml"/><Relationship Id="rId2" Type="http://schemas.openxmlformats.org/officeDocument/2006/relationships/tags" Target="../tags/tag839.xml"/><Relationship Id="rId16" Type="http://schemas.openxmlformats.org/officeDocument/2006/relationships/tags" Target="../tags/tag853.xml"/><Relationship Id="rId29" Type="http://schemas.openxmlformats.org/officeDocument/2006/relationships/tags" Target="../tags/tag866.xml"/><Relationship Id="rId1" Type="http://schemas.openxmlformats.org/officeDocument/2006/relationships/vmlDrawing" Target="../drawings/vmlDrawing22.vml"/><Relationship Id="rId6" Type="http://schemas.openxmlformats.org/officeDocument/2006/relationships/tags" Target="../tags/tag843.xml"/><Relationship Id="rId11" Type="http://schemas.openxmlformats.org/officeDocument/2006/relationships/tags" Target="../tags/tag848.xml"/><Relationship Id="rId24" Type="http://schemas.openxmlformats.org/officeDocument/2006/relationships/tags" Target="../tags/tag861.xml"/><Relationship Id="rId32" Type="http://schemas.openxmlformats.org/officeDocument/2006/relationships/tags" Target="../tags/tag869.xml"/><Relationship Id="rId37" Type="http://schemas.openxmlformats.org/officeDocument/2006/relationships/tags" Target="../tags/tag874.xml"/><Relationship Id="rId40" Type="http://schemas.openxmlformats.org/officeDocument/2006/relationships/tags" Target="../tags/tag877.xml"/><Relationship Id="rId45" Type="http://schemas.openxmlformats.org/officeDocument/2006/relationships/oleObject" Target="../embeddings/oleObject24.bin"/><Relationship Id="rId5" Type="http://schemas.openxmlformats.org/officeDocument/2006/relationships/tags" Target="../tags/tag842.xml"/><Relationship Id="rId15" Type="http://schemas.openxmlformats.org/officeDocument/2006/relationships/tags" Target="../tags/tag852.xml"/><Relationship Id="rId23" Type="http://schemas.openxmlformats.org/officeDocument/2006/relationships/tags" Target="../tags/tag860.xml"/><Relationship Id="rId28" Type="http://schemas.openxmlformats.org/officeDocument/2006/relationships/tags" Target="../tags/tag865.xml"/><Relationship Id="rId36" Type="http://schemas.openxmlformats.org/officeDocument/2006/relationships/tags" Target="../tags/tag873.xml"/><Relationship Id="rId10" Type="http://schemas.openxmlformats.org/officeDocument/2006/relationships/tags" Target="../tags/tag847.xml"/><Relationship Id="rId19" Type="http://schemas.openxmlformats.org/officeDocument/2006/relationships/tags" Target="../tags/tag856.xml"/><Relationship Id="rId31" Type="http://schemas.openxmlformats.org/officeDocument/2006/relationships/tags" Target="../tags/tag868.xml"/><Relationship Id="rId44" Type="http://schemas.openxmlformats.org/officeDocument/2006/relationships/slideLayout" Target="../slideLayouts/slideLayout3.xml"/><Relationship Id="rId4" Type="http://schemas.openxmlformats.org/officeDocument/2006/relationships/tags" Target="../tags/tag841.xml"/><Relationship Id="rId9" Type="http://schemas.openxmlformats.org/officeDocument/2006/relationships/tags" Target="../tags/tag846.xml"/><Relationship Id="rId14" Type="http://schemas.openxmlformats.org/officeDocument/2006/relationships/tags" Target="../tags/tag851.xml"/><Relationship Id="rId22" Type="http://schemas.openxmlformats.org/officeDocument/2006/relationships/tags" Target="../tags/tag859.xml"/><Relationship Id="rId27" Type="http://schemas.openxmlformats.org/officeDocument/2006/relationships/tags" Target="../tags/tag864.xml"/><Relationship Id="rId30" Type="http://schemas.openxmlformats.org/officeDocument/2006/relationships/tags" Target="../tags/tag867.xml"/><Relationship Id="rId35" Type="http://schemas.openxmlformats.org/officeDocument/2006/relationships/tags" Target="../tags/tag872.xml"/><Relationship Id="rId43" Type="http://schemas.openxmlformats.org/officeDocument/2006/relationships/tags" Target="../tags/tag880.xml"/><Relationship Id="rId48" Type="http://schemas.openxmlformats.org/officeDocument/2006/relationships/chart" Target="../charts/chart27.xml"/><Relationship Id="rId8" Type="http://schemas.openxmlformats.org/officeDocument/2006/relationships/tags" Target="../tags/tag845.xml"/><Relationship Id="rId3" Type="http://schemas.openxmlformats.org/officeDocument/2006/relationships/tags" Target="../tags/tag840.xml"/><Relationship Id="rId12" Type="http://schemas.openxmlformats.org/officeDocument/2006/relationships/tags" Target="../tags/tag849.xml"/><Relationship Id="rId17" Type="http://schemas.openxmlformats.org/officeDocument/2006/relationships/tags" Target="../tags/tag854.xml"/><Relationship Id="rId25" Type="http://schemas.openxmlformats.org/officeDocument/2006/relationships/tags" Target="../tags/tag862.xml"/><Relationship Id="rId33" Type="http://schemas.openxmlformats.org/officeDocument/2006/relationships/tags" Target="../tags/tag870.xml"/><Relationship Id="rId38" Type="http://schemas.openxmlformats.org/officeDocument/2006/relationships/tags" Target="../tags/tag875.xml"/><Relationship Id="rId46" Type="http://schemas.openxmlformats.org/officeDocument/2006/relationships/image" Target="../media/image18.emf"/><Relationship Id="rId20" Type="http://schemas.openxmlformats.org/officeDocument/2006/relationships/tags" Target="../tags/tag857.xml"/><Relationship Id="rId41" Type="http://schemas.openxmlformats.org/officeDocument/2006/relationships/tags" Target="../tags/tag87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8" Type="http://schemas.openxmlformats.org/officeDocument/2006/relationships/tags" Target="../tags/tag887.xml"/><Relationship Id="rId13" Type="http://schemas.openxmlformats.org/officeDocument/2006/relationships/tags" Target="../tags/tag892.xml"/><Relationship Id="rId18" Type="http://schemas.openxmlformats.org/officeDocument/2006/relationships/tags" Target="../tags/tag897.xml"/><Relationship Id="rId3" Type="http://schemas.openxmlformats.org/officeDocument/2006/relationships/tags" Target="../tags/tag882.xml"/><Relationship Id="rId21" Type="http://schemas.openxmlformats.org/officeDocument/2006/relationships/tags" Target="../tags/tag900.xml"/><Relationship Id="rId7" Type="http://schemas.openxmlformats.org/officeDocument/2006/relationships/tags" Target="../tags/tag886.xml"/><Relationship Id="rId12" Type="http://schemas.openxmlformats.org/officeDocument/2006/relationships/tags" Target="../tags/tag891.xml"/><Relationship Id="rId17" Type="http://schemas.openxmlformats.org/officeDocument/2006/relationships/tags" Target="../tags/tag896.xml"/><Relationship Id="rId25" Type="http://schemas.openxmlformats.org/officeDocument/2006/relationships/chart" Target="../charts/chart28.xml"/><Relationship Id="rId2" Type="http://schemas.openxmlformats.org/officeDocument/2006/relationships/tags" Target="../tags/tag881.xml"/><Relationship Id="rId16" Type="http://schemas.openxmlformats.org/officeDocument/2006/relationships/tags" Target="../tags/tag895.xml"/><Relationship Id="rId20" Type="http://schemas.openxmlformats.org/officeDocument/2006/relationships/tags" Target="../tags/tag899.xml"/><Relationship Id="rId1" Type="http://schemas.openxmlformats.org/officeDocument/2006/relationships/vmlDrawing" Target="../drawings/vmlDrawing23.vml"/><Relationship Id="rId6" Type="http://schemas.openxmlformats.org/officeDocument/2006/relationships/tags" Target="../tags/tag885.xml"/><Relationship Id="rId11" Type="http://schemas.openxmlformats.org/officeDocument/2006/relationships/tags" Target="../tags/tag890.xml"/><Relationship Id="rId24" Type="http://schemas.openxmlformats.org/officeDocument/2006/relationships/image" Target="../media/image23.emf"/><Relationship Id="rId5" Type="http://schemas.openxmlformats.org/officeDocument/2006/relationships/tags" Target="../tags/tag884.xml"/><Relationship Id="rId15" Type="http://schemas.openxmlformats.org/officeDocument/2006/relationships/tags" Target="../tags/tag894.xml"/><Relationship Id="rId23" Type="http://schemas.openxmlformats.org/officeDocument/2006/relationships/oleObject" Target="../embeddings/oleObject25.bin"/><Relationship Id="rId10" Type="http://schemas.openxmlformats.org/officeDocument/2006/relationships/tags" Target="../tags/tag889.xml"/><Relationship Id="rId19" Type="http://schemas.openxmlformats.org/officeDocument/2006/relationships/tags" Target="../tags/tag898.xml"/><Relationship Id="rId4" Type="http://schemas.openxmlformats.org/officeDocument/2006/relationships/tags" Target="../tags/tag883.xml"/><Relationship Id="rId9" Type="http://schemas.openxmlformats.org/officeDocument/2006/relationships/tags" Target="../tags/tag888.xml"/><Relationship Id="rId14" Type="http://schemas.openxmlformats.org/officeDocument/2006/relationships/tags" Target="../tags/tag893.xml"/><Relationship Id="rId22"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01.xml"/><Relationship Id="rId1" Type="http://schemas.openxmlformats.org/officeDocument/2006/relationships/vmlDrawing" Target="../drawings/vmlDrawing24.vml"/><Relationship Id="rId5" Type="http://schemas.openxmlformats.org/officeDocument/2006/relationships/image" Target="../media/image23.emf"/><Relationship Id="rId4" Type="http://schemas.openxmlformats.org/officeDocument/2006/relationships/oleObject" Target="../embeddings/oleObject26.bin"/></Relationships>
</file>

<file path=ppt/slides/_rels/slide54.xml.rels><?xml version="1.0" encoding="UTF-8" standalone="yes"?>
<Relationships xmlns="http://schemas.openxmlformats.org/package/2006/relationships"><Relationship Id="rId3" Type="http://schemas.openxmlformats.org/officeDocument/2006/relationships/tags" Target="../tags/tag903.xml"/><Relationship Id="rId2" Type="http://schemas.openxmlformats.org/officeDocument/2006/relationships/tags" Target="../tags/tag902.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4.xml"/><Relationship Id="rId1" Type="http://schemas.openxmlformats.org/officeDocument/2006/relationships/vmlDrawing" Target="../drawings/vmlDrawing26.vml"/><Relationship Id="rId5" Type="http://schemas.openxmlformats.org/officeDocument/2006/relationships/image" Target="../media/image22.emf"/><Relationship Id="rId4" Type="http://schemas.openxmlformats.org/officeDocument/2006/relationships/oleObject" Target="../embeddings/oleObject28.bin"/></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05.xml"/><Relationship Id="rId1" Type="http://schemas.openxmlformats.org/officeDocument/2006/relationships/vmlDrawing" Target="../drawings/vmlDrawing27.vml"/><Relationship Id="rId5" Type="http://schemas.openxmlformats.org/officeDocument/2006/relationships/image" Target="../media/image22.emf"/><Relationship Id="rId4" Type="http://schemas.openxmlformats.org/officeDocument/2006/relationships/oleObject" Target="../embeddings/oleObject29.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06.xml"/><Relationship Id="rId1" Type="http://schemas.openxmlformats.org/officeDocument/2006/relationships/vmlDrawing" Target="../drawings/vmlDrawing28.vml"/><Relationship Id="rId5" Type="http://schemas.openxmlformats.org/officeDocument/2006/relationships/image" Target="../media/image22.emf"/><Relationship Id="rId4" Type="http://schemas.openxmlformats.org/officeDocument/2006/relationships/oleObject" Target="../embeddings/oleObject30.bin"/></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17" Type="http://schemas.openxmlformats.org/officeDocument/2006/relationships/tags" Target="../tags/tag122.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38" Type="http://schemas.openxmlformats.org/officeDocument/2006/relationships/tags" Target="../tags/tag143.xml"/><Relationship Id="rId159" Type="http://schemas.openxmlformats.org/officeDocument/2006/relationships/tags" Target="../tags/tag164.xml"/><Relationship Id="rId170" Type="http://schemas.openxmlformats.org/officeDocument/2006/relationships/tags" Target="../tags/tag175.xml"/><Relationship Id="rId191" Type="http://schemas.openxmlformats.org/officeDocument/2006/relationships/tags" Target="../tags/tag196.xml"/><Relationship Id="rId205" Type="http://schemas.openxmlformats.org/officeDocument/2006/relationships/tags" Target="../tags/tag210.xml"/><Relationship Id="rId107" Type="http://schemas.openxmlformats.org/officeDocument/2006/relationships/tags" Target="../tags/tag112.xml"/><Relationship Id="rId11" Type="http://schemas.openxmlformats.org/officeDocument/2006/relationships/tags" Target="../tags/tag16.xml"/><Relationship Id="rId32" Type="http://schemas.openxmlformats.org/officeDocument/2006/relationships/tags" Target="../tags/tag37.xml"/><Relationship Id="rId53" Type="http://schemas.openxmlformats.org/officeDocument/2006/relationships/tags" Target="../tags/tag58.xml"/><Relationship Id="rId74" Type="http://schemas.openxmlformats.org/officeDocument/2006/relationships/tags" Target="../tags/tag79.xml"/><Relationship Id="rId128" Type="http://schemas.openxmlformats.org/officeDocument/2006/relationships/tags" Target="../tags/tag133.xml"/><Relationship Id="rId149" Type="http://schemas.openxmlformats.org/officeDocument/2006/relationships/tags" Target="../tags/tag154.xml"/><Relationship Id="rId5" Type="http://schemas.openxmlformats.org/officeDocument/2006/relationships/tags" Target="../tags/tag10.xml"/><Relationship Id="rId95" Type="http://schemas.openxmlformats.org/officeDocument/2006/relationships/tags" Target="../tags/tag100.xml"/><Relationship Id="rId160" Type="http://schemas.openxmlformats.org/officeDocument/2006/relationships/tags" Target="../tags/tag165.xml"/><Relationship Id="rId181" Type="http://schemas.openxmlformats.org/officeDocument/2006/relationships/tags" Target="../tags/tag186.xml"/><Relationship Id="rId216" Type="http://schemas.openxmlformats.org/officeDocument/2006/relationships/tags" Target="../tags/tag221.xml"/><Relationship Id="rId22" Type="http://schemas.openxmlformats.org/officeDocument/2006/relationships/tags" Target="../tags/tag27.xml"/><Relationship Id="rId43" Type="http://schemas.openxmlformats.org/officeDocument/2006/relationships/tags" Target="../tags/tag48.xml"/><Relationship Id="rId64" Type="http://schemas.openxmlformats.org/officeDocument/2006/relationships/tags" Target="../tags/tag69.xml"/><Relationship Id="rId118" Type="http://schemas.openxmlformats.org/officeDocument/2006/relationships/tags" Target="../tags/tag123.xml"/><Relationship Id="rId139" Type="http://schemas.openxmlformats.org/officeDocument/2006/relationships/tags" Target="../tags/tag144.xml"/><Relationship Id="rId85" Type="http://schemas.openxmlformats.org/officeDocument/2006/relationships/tags" Target="../tags/tag90.xml"/><Relationship Id="rId150" Type="http://schemas.openxmlformats.org/officeDocument/2006/relationships/tags" Target="../tags/tag155.xml"/><Relationship Id="rId171" Type="http://schemas.openxmlformats.org/officeDocument/2006/relationships/tags" Target="../tags/tag176.xml"/><Relationship Id="rId192" Type="http://schemas.openxmlformats.org/officeDocument/2006/relationships/tags" Target="../tags/tag197.xml"/><Relationship Id="rId206" Type="http://schemas.openxmlformats.org/officeDocument/2006/relationships/tags" Target="../tags/tag211.xml"/><Relationship Id="rId12" Type="http://schemas.openxmlformats.org/officeDocument/2006/relationships/tags" Target="../tags/tag17.xml"/><Relationship Id="rId33" Type="http://schemas.openxmlformats.org/officeDocument/2006/relationships/tags" Target="../tags/tag38.xml"/><Relationship Id="rId108" Type="http://schemas.openxmlformats.org/officeDocument/2006/relationships/tags" Target="../tags/tag113.xml"/><Relationship Id="rId129" Type="http://schemas.openxmlformats.org/officeDocument/2006/relationships/tags" Target="../tags/tag134.xml"/><Relationship Id="rId54" Type="http://schemas.openxmlformats.org/officeDocument/2006/relationships/tags" Target="../tags/tag59.xml"/><Relationship Id="rId75" Type="http://schemas.openxmlformats.org/officeDocument/2006/relationships/tags" Target="../tags/tag80.xml"/><Relationship Id="rId96" Type="http://schemas.openxmlformats.org/officeDocument/2006/relationships/tags" Target="../tags/tag101.xml"/><Relationship Id="rId140" Type="http://schemas.openxmlformats.org/officeDocument/2006/relationships/tags" Target="../tags/tag145.xml"/><Relationship Id="rId161" Type="http://schemas.openxmlformats.org/officeDocument/2006/relationships/tags" Target="../tags/tag166.xml"/><Relationship Id="rId182" Type="http://schemas.openxmlformats.org/officeDocument/2006/relationships/tags" Target="../tags/tag187.xml"/><Relationship Id="rId217" Type="http://schemas.openxmlformats.org/officeDocument/2006/relationships/tags" Target="../tags/tag222.xml"/><Relationship Id="rId6" Type="http://schemas.openxmlformats.org/officeDocument/2006/relationships/tags" Target="../tags/tag11.xml"/><Relationship Id="rId23" Type="http://schemas.openxmlformats.org/officeDocument/2006/relationships/tags" Target="../tags/tag28.xml"/><Relationship Id="rId119" Type="http://schemas.openxmlformats.org/officeDocument/2006/relationships/tags" Target="../tags/tag124.xml"/><Relationship Id="rId44" Type="http://schemas.openxmlformats.org/officeDocument/2006/relationships/tags" Target="../tags/tag49.xml"/><Relationship Id="rId65" Type="http://schemas.openxmlformats.org/officeDocument/2006/relationships/tags" Target="../tags/tag70.xml"/><Relationship Id="rId86" Type="http://schemas.openxmlformats.org/officeDocument/2006/relationships/tags" Target="../tags/tag91.xml"/><Relationship Id="rId130" Type="http://schemas.openxmlformats.org/officeDocument/2006/relationships/tags" Target="../tags/tag135.xml"/><Relationship Id="rId151" Type="http://schemas.openxmlformats.org/officeDocument/2006/relationships/tags" Target="../tags/tag156.xml"/><Relationship Id="rId172" Type="http://schemas.openxmlformats.org/officeDocument/2006/relationships/tags" Target="../tags/tag177.xml"/><Relationship Id="rId193" Type="http://schemas.openxmlformats.org/officeDocument/2006/relationships/tags" Target="../tags/tag198.xml"/><Relationship Id="rId207" Type="http://schemas.openxmlformats.org/officeDocument/2006/relationships/tags" Target="../tags/tag212.xml"/><Relationship Id="rId13" Type="http://schemas.openxmlformats.org/officeDocument/2006/relationships/tags" Target="../tags/tag18.xml"/><Relationship Id="rId109" Type="http://schemas.openxmlformats.org/officeDocument/2006/relationships/tags" Target="../tags/tag114.xml"/><Relationship Id="rId34" Type="http://schemas.openxmlformats.org/officeDocument/2006/relationships/tags" Target="../tags/tag39.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20" Type="http://schemas.openxmlformats.org/officeDocument/2006/relationships/tags" Target="../tags/tag125.xml"/><Relationship Id="rId141" Type="http://schemas.openxmlformats.org/officeDocument/2006/relationships/tags" Target="../tags/tag146.xml"/><Relationship Id="rId7" Type="http://schemas.openxmlformats.org/officeDocument/2006/relationships/tags" Target="../tags/tag12.xml"/><Relationship Id="rId162" Type="http://schemas.openxmlformats.org/officeDocument/2006/relationships/tags" Target="../tags/tag167.xml"/><Relationship Id="rId183" Type="http://schemas.openxmlformats.org/officeDocument/2006/relationships/tags" Target="../tags/tag188.xml"/><Relationship Id="rId218" Type="http://schemas.openxmlformats.org/officeDocument/2006/relationships/slideLayout" Target="../slideLayouts/slideLayout3.xml"/><Relationship Id="rId24" Type="http://schemas.openxmlformats.org/officeDocument/2006/relationships/tags" Target="../tags/tag29.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31" Type="http://schemas.openxmlformats.org/officeDocument/2006/relationships/tags" Target="../tags/tag136.xml"/><Relationship Id="rId152" Type="http://schemas.openxmlformats.org/officeDocument/2006/relationships/tags" Target="../tags/tag157.xml"/><Relationship Id="rId173" Type="http://schemas.openxmlformats.org/officeDocument/2006/relationships/tags" Target="../tags/tag178.xml"/><Relationship Id="rId194" Type="http://schemas.openxmlformats.org/officeDocument/2006/relationships/tags" Target="../tags/tag199.xml"/><Relationship Id="rId208" Type="http://schemas.openxmlformats.org/officeDocument/2006/relationships/tags" Target="../tags/tag213.xml"/><Relationship Id="rId14" Type="http://schemas.openxmlformats.org/officeDocument/2006/relationships/tags" Target="../tags/tag19.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8" Type="http://schemas.openxmlformats.org/officeDocument/2006/relationships/tags" Target="../tags/tag13.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98" Type="http://schemas.openxmlformats.org/officeDocument/2006/relationships/tags" Target="../tags/tag103.xml"/><Relationship Id="rId121" Type="http://schemas.openxmlformats.org/officeDocument/2006/relationships/tags" Target="../tags/tag126.xml"/><Relationship Id="rId142" Type="http://schemas.openxmlformats.org/officeDocument/2006/relationships/tags" Target="../tags/tag147.xml"/><Relationship Id="rId163" Type="http://schemas.openxmlformats.org/officeDocument/2006/relationships/tags" Target="../tags/tag168.xml"/><Relationship Id="rId184" Type="http://schemas.openxmlformats.org/officeDocument/2006/relationships/tags" Target="../tags/tag189.xml"/><Relationship Id="rId189" Type="http://schemas.openxmlformats.org/officeDocument/2006/relationships/tags" Target="../tags/tag194.xml"/><Relationship Id="rId219" Type="http://schemas.openxmlformats.org/officeDocument/2006/relationships/oleObject" Target="../embeddings/oleObject5.bin"/><Relationship Id="rId3" Type="http://schemas.openxmlformats.org/officeDocument/2006/relationships/tags" Target="../tags/tag8.xml"/><Relationship Id="rId214" Type="http://schemas.openxmlformats.org/officeDocument/2006/relationships/tags" Target="../tags/tag219.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116" Type="http://schemas.openxmlformats.org/officeDocument/2006/relationships/tags" Target="../tags/tag121.xml"/><Relationship Id="rId137" Type="http://schemas.openxmlformats.org/officeDocument/2006/relationships/tags" Target="../tags/tag142.xml"/><Relationship Id="rId158" Type="http://schemas.openxmlformats.org/officeDocument/2006/relationships/tags" Target="../tags/tag163.xml"/><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3" Type="http://schemas.openxmlformats.org/officeDocument/2006/relationships/tags" Target="../tags/tag158.xml"/><Relationship Id="rId174" Type="http://schemas.openxmlformats.org/officeDocument/2006/relationships/tags" Target="../tags/tag179.xml"/><Relationship Id="rId179" Type="http://schemas.openxmlformats.org/officeDocument/2006/relationships/tags" Target="../tags/tag184.xml"/><Relationship Id="rId195" Type="http://schemas.openxmlformats.org/officeDocument/2006/relationships/tags" Target="../tags/tag200.xml"/><Relationship Id="rId209" Type="http://schemas.openxmlformats.org/officeDocument/2006/relationships/tags" Target="../tags/tag214.xml"/><Relationship Id="rId190" Type="http://schemas.openxmlformats.org/officeDocument/2006/relationships/tags" Target="../tags/tag195.xml"/><Relationship Id="rId204" Type="http://schemas.openxmlformats.org/officeDocument/2006/relationships/tags" Target="../tags/tag209.xml"/><Relationship Id="rId220" Type="http://schemas.openxmlformats.org/officeDocument/2006/relationships/image" Target="../media/image1.emf"/><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106" Type="http://schemas.openxmlformats.org/officeDocument/2006/relationships/tags" Target="../tags/tag111.xml"/><Relationship Id="rId127" Type="http://schemas.openxmlformats.org/officeDocument/2006/relationships/tags" Target="../tags/tag132.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78" Type="http://schemas.openxmlformats.org/officeDocument/2006/relationships/tags" Target="../tags/tag83.xml"/><Relationship Id="rId94" Type="http://schemas.openxmlformats.org/officeDocument/2006/relationships/tags" Target="../tags/tag99.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143" Type="http://schemas.openxmlformats.org/officeDocument/2006/relationships/tags" Target="../tags/tag148.xml"/><Relationship Id="rId148" Type="http://schemas.openxmlformats.org/officeDocument/2006/relationships/tags" Target="../tags/tag153.xml"/><Relationship Id="rId164" Type="http://schemas.openxmlformats.org/officeDocument/2006/relationships/tags" Target="../tags/tag169.xml"/><Relationship Id="rId169" Type="http://schemas.openxmlformats.org/officeDocument/2006/relationships/tags" Target="../tags/tag174.xml"/><Relationship Id="rId185" Type="http://schemas.openxmlformats.org/officeDocument/2006/relationships/tags" Target="../tags/tag190.xml"/><Relationship Id="rId4" Type="http://schemas.openxmlformats.org/officeDocument/2006/relationships/tags" Target="../tags/tag9.xml"/><Relationship Id="rId9" Type="http://schemas.openxmlformats.org/officeDocument/2006/relationships/tags" Target="../tags/tag14.xml"/><Relationship Id="rId180" Type="http://schemas.openxmlformats.org/officeDocument/2006/relationships/tags" Target="../tags/tag185.xml"/><Relationship Id="rId210" Type="http://schemas.openxmlformats.org/officeDocument/2006/relationships/tags" Target="../tags/tag215.xml"/><Relationship Id="rId215" Type="http://schemas.openxmlformats.org/officeDocument/2006/relationships/tags" Target="../tags/tag220.xml"/><Relationship Id="rId26" Type="http://schemas.openxmlformats.org/officeDocument/2006/relationships/tags" Target="../tags/tag31.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tags" Target="../tags/tag138.xml"/><Relationship Id="rId154" Type="http://schemas.openxmlformats.org/officeDocument/2006/relationships/tags" Target="../tags/tag159.xml"/><Relationship Id="rId175" Type="http://schemas.openxmlformats.org/officeDocument/2006/relationships/tags" Target="../tags/tag180.xml"/><Relationship Id="rId196" Type="http://schemas.openxmlformats.org/officeDocument/2006/relationships/tags" Target="../tags/tag201.xml"/><Relationship Id="rId200" Type="http://schemas.openxmlformats.org/officeDocument/2006/relationships/tags" Target="../tags/tag205.xml"/><Relationship Id="rId16" Type="http://schemas.openxmlformats.org/officeDocument/2006/relationships/tags" Target="../tags/tag21.xml"/><Relationship Id="rId221" Type="http://schemas.openxmlformats.org/officeDocument/2006/relationships/chart" Target="../charts/chart1.xml"/><Relationship Id="rId37" Type="http://schemas.openxmlformats.org/officeDocument/2006/relationships/tags" Target="../tags/tag42.xml"/><Relationship Id="rId58" Type="http://schemas.openxmlformats.org/officeDocument/2006/relationships/tags" Target="../tags/tag63.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44" Type="http://schemas.openxmlformats.org/officeDocument/2006/relationships/tags" Target="../tags/tag149.xml"/><Relationship Id="rId90" Type="http://schemas.openxmlformats.org/officeDocument/2006/relationships/tags" Target="../tags/tag95.xml"/><Relationship Id="rId165" Type="http://schemas.openxmlformats.org/officeDocument/2006/relationships/tags" Target="../tags/tag170.xml"/><Relationship Id="rId186" Type="http://schemas.openxmlformats.org/officeDocument/2006/relationships/tags" Target="../tags/tag191.xml"/><Relationship Id="rId211" Type="http://schemas.openxmlformats.org/officeDocument/2006/relationships/tags" Target="../tags/tag216.xml"/><Relationship Id="rId27" Type="http://schemas.openxmlformats.org/officeDocument/2006/relationships/tags" Target="../tags/tag32.xml"/><Relationship Id="rId48" Type="http://schemas.openxmlformats.org/officeDocument/2006/relationships/tags" Target="../tags/tag53.xml"/><Relationship Id="rId69" Type="http://schemas.openxmlformats.org/officeDocument/2006/relationships/tags" Target="../tags/tag74.xml"/><Relationship Id="rId113" Type="http://schemas.openxmlformats.org/officeDocument/2006/relationships/tags" Target="../tags/tag118.xml"/><Relationship Id="rId134" Type="http://schemas.openxmlformats.org/officeDocument/2006/relationships/tags" Target="../tags/tag139.xml"/><Relationship Id="rId80" Type="http://schemas.openxmlformats.org/officeDocument/2006/relationships/tags" Target="../tags/tag85.xml"/><Relationship Id="rId155" Type="http://schemas.openxmlformats.org/officeDocument/2006/relationships/tags" Target="../tags/tag160.xml"/><Relationship Id="rId176" Type="http://schemas.openxmlformats.org/officeDocument/2006/relationships/tags" Target="../tags/tag181.xml"/><Relationship Id="rId197" Type="http://schemas.openxmlformats.org/officeDocument/2006/relationships/tags" Target="../tags/tag202.xml"/><Relationship Id="rId201" Type="http://schemas.openxmlformats.org/officeDocument/2006/relationships/tags" Target="../tags/tag206.xml"/><Relationship Id="rId222" Type="http://schemas.openxmlformats.org/officeDocument/2006/relationships/chart" Target="../charts/chart2.xml"/><Relationship Id="rId17" Type="http://schemas.openxmlformats.org/officeDocument/2006/relationships/tags" Target="../tags/tag22.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24" Type="http://schemas.openxmlformats.org/officeDocument/2006/relationships/tags" Target="../tags/tag129.xml"/><Relationship Id="rId70" Type="http://schemas.openxmlformats.org/officeDocument/2006/relationships/tags" Target="../tags/tag75.xml"/><Relationship Id="rId91" Type="http://schemas.openxmlformats.org/officeDocument/2006/relationships/tags" Target="../tags/tag96.xml"/><Relationship Id="rId145" Type="http://schemas.openxmlformats.org/officeDocument/2006/relationships/tags" Target="../tags/tag150.xml"/><Relationship Id="rId166" Type="http://schemas.openxmlformats.org/officeDocument/2006/relationships/tags" Target="../tags/tag171.xml"/><Relationship Id="rId187" Type="http://schemas.openxmlformats.org/officeDocument/2006/relationships/tags" Target="../tags/tag192.xml"/><Relationship Id="rId1" Type="http://schemas.openxmlformats.org/officeDocument/2006/relationships/vmlDrawing" Target="../drawings/vmlDrawing5.vml"/><Relationship Id="rId212" Type="http://schemas.openxmlformats.org/officeDocument/2006/relationships/tags" Target="../tags/tag217.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60" Type="http://schemas.openxmlformats.org/officeDocument/2006/relationships/tags" Target="../tags/tag65.xml"/><Relationship Id="rId81" Type="http://schemas.openxmlformats.org/officeDocument/2006/relationships/tags" Target="../tags/tag86.xml"/><Relationship Id="rId135" Type="http://schemas.openxmlformats.org/officeDocument/2006/relationships/tags" Target="../tags/tag140.xml"/><Relationship Id="rId156" Type="http://schemas.openxmlformats.org/officeDocument/2006/relationships/tags" Target="../tags/tag161.xml"/><Relationship Id="rId177" Type="http://schemas.openxmlformats.org/officeDocument/2006/relationships/tags" Target="../tags/tag182.xml"/><Relationship Id="rId198" Type="http://schemas.openxmlformats.org/officeDocument/2006/relationships/tags" Target="../tags/tag203.xml"/><Relationship Id="rId202" Type="http://schemas.openxmlformats.org/officeDocument/2006/relationships/tags" Target="../tags/tag207.xml"/><Relationship Id="rId18" Type="http://schemas.openxmlformats.org/officeDocument/2006/relationships/tags" Target="../tags/tag23.xml"/><Relationship Id="rId39" Type="http://schemas.openxmlformats.org/officeDocument/2006/relationships/tags" Target="../tags/tag44.xml"/><Relationship Id="rId50" Type="http://schemas.openxmlformats.org/officeDocument/2006/relationships/tags" Target="../tags/tag55.xml"/><Relationship Id="rId104" Type="http://schemas.openxmlformats.org/officeDocument/2006/relationships/tags" Target="../tags/tag109.xml"/><Relationship Id="rId125" Type="http://schemas.openxmlformats.org/officeDocument/2006/relationships/tags" Target="../tags/tag130.xml"/><Relationship Id="rId146" Type="http://schemas.openxmlformats.org/officeDocument/2006/relationships/tags" Target="../tags/tag151.xml"/><Relationship Id="rId167" Type="http://schemas.openxmlformats.org/officeDocument/2006/relationships/tags" Target="../tags/tag172.xml"/><Relationship Id="rId188" Type="http://schemas.openxmlformats.org/officeDocument/2006/relationships/tags" Target="../tags/tag193.xml"/><Relationship Id="rId71" Type="http://schemas.openxmlformats.org/officeDocument/2006/relationships/tags" Target="../tags/tag76.xml"/><Relationship Id="rId92" Type="http://schemas.openxmlformats.org/officeDocument/2006/relationships/tags" Target="../tags/tag97.xml"/><Relationship Id="rId213" Type="http://schemas.openxmlformats.org/officeDocument/2006/relationships/tags" Target="../tags/tag218.xml"/><Relationship Id="rId2" Type="http://schemas.openxmlformats.org/officeDocument/2006/relationships/tags" Target="../tags/tag7.xml"/><Relationship Id="rId29" Type="http://schemas.openxmlformats.org/officeDocument/2006/relationships/tags" Target="../tags/tag34.xml"/><Relationship Id="rId40" Type="http://schemas.openxmlformats.org/officeDocument/2006/relationships/tags" Target="../tags/tag45.xml"/><Relationship Id="rId115" Type="http://schemas.openxmlformats.org/officeDocument/2006/relationships/tags" Target="../tags/tag120.xml"/><Relationship Id="rId136" Type="http://schemas.openxmlformats.org/officeDocument/2006/relationships/tags" Target="../tags/tag141.xml"/><Relationship Id="rId157" Type="http://schemas.openxmlformats.org/officeDocument/2006/relationships/tags" Target="../tags/tag162.xml"/><Relationship Id="rId178" Type="http://schemas.openxmlformats.org/officeDocument/2006/relationships/tags" Target="../tags/tag183.xml"/><Relationship Id="rId61" Type="http://schemas.openxmlformats.org/officeDocument/2006/relationships/tags" Target="../tags/tag66.xml"/><Relationship Id="rId82" Type="http://schemas.openxmlformats.org/officeDocument/2006/relationships/tags" Target="../tags/tag87.xml"/><Relationship Id="rId199" Type="http://schemas.openxmlformats.org/officeDocument/2006/relationships/tags" Target="../tags/tag204.xml"/><Relationship Id="rId203" Type="http://schemas.openxmlformats.org/officeDocument/2006/relationships/tags" Target="../tags/tag208.xml"/><Relationship Id="rId19" Type="http://schemas.openxmlformats.org/officeDocument/2006/relationships/tags" Target="../tags/tag24.xml"/><Relationship Id="rId30" Type="http://schemas.openxmlformats.org/officeDocument/2006/relationships/tags" Target="../tags/tag35.xml"/><Relationship Id="rId105" Type="http://schemas.openxmlformats.org/officeDocument/2006/relationships/tags" Target="../tags/tag110.xml"/><Relationship Id="rId126" Type="http://schemas.openxmlformats.org/officeDocument/2006/relationships/tags" Target="../tags/tag131.xml"/><Relationship Id="rId147" Type="http://schemas.openxmlformats.org/officeDocument/2006/relationships/tags" Target="../tags/tag152.xml"/><Relationship Id="rId168" Type="http://schemas.openxmlformats.org/officeDocument/2006/relationships/tags" Target="../tags/tag173.xml"/></Relationships>
</file>

<file path=ppt/slides/_rels/slide60.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234.xml"/><Relationship Id="rId18" Type="http://schemas.openxmlformats.org/officeDocument/2006/relationships/tags" Target="../tags/tag239.xml"/><Relationship Id="rId26" Type="http://schemas.openxmlformats.org/officeDocument/2006/relationships/tags" Target="../tags/tag247.xml"/><Relationship Id="rId39" Type="http://schemas.openxmlformats.org/officeDocument/2006/relationships/slideLayout" Target="../slideLayouts/slideLayout3.xml"/><Relationship Id="rId21" Type="http://schemas.openxmlformats.org/officeDocument/2006/relationships/tags" Target="../tags/tag242.xml"/><Relationship Id="rId34" Type="http://schemas.openxmlformats.org/officeDocument/2006/relationships/tags" Target="../tags/tag255.xml"/><Relationship Id="rId42" Type="http://schemas.openxmlformats.org/officeDocument/2006/relationships/oleObject" Target="../embeddings/oleObject7.bin"/><Relationship Id="rId7" Type="http://schemas.openxmlformats.org/officeDocument/2006/relationships/tags" Target="../tags/tag228.xml"/><Relationship Id="rId2" Type="http://schemas.openxmlformats.org/officeDocument/2006/relationships/tags" Target="../tags/tag223.xml"/><Relationship Id="rId16" Type="http://schemas.openxmlformats.org/officeDocument/2006/relationships/tags" Target="../tags/tag237.xml"/><Relationship Id="rId29" Type="http://schemas.openxmlformats.org/officeDocument/2006/relationships/tags" Target="../tags/tag250.xml"/><Relationship Id="rId1" Type="http://schemas.openxmlformats.org/officeDocument/2006/relationships/vmlDrawing" Target="../drawings/vmlDrawing6.vml"/><Relationship Id="rId6" Type="http://schemas.openxmlformats.org/officeDocument/2006/relationships/tags" Target="../tags/tag227.xml"/><Relationship Id="rId11" Type="http://schemas.openxmlformats.org/officeDocument/2006/relationships/tags" Target="../tags/tag232.xml"/><Relationship Id="rId24" Type="http://schemas.openxmlformats.org/officeDocument/2006/relationships/tags" Target="../tags/tag245.xml"/><Relationship Id="rId32" Type="http://schemas.openxmlformats.org/officeDocument/2006/relationships/tags" Target="../tags/tag253.xml"/><Relationship Id="rId37" Type="http://schemas.openxmlformats.org/officeDocument/2006/relationships/tags" Target="../tags/tag258.xml"/><Relationship Id="rId40" Type="http://schemas.openxmlformats.org/officeDocument/2006/relationships/oleObject" Target="../embeddings/oleObject6.bin"/><Relationship Id="rId45" Type="http://schemas.openxmlformats.org/officeDocument/2006/relationships/image" Target="../media/image21.emf"/><Relationship Id="rId5" Type="http://schemas.openxmlformats.org/officeDocument/2006/relationships/tags" Target="../tags/tag226.xml"/><Relationship Id="rId15" Type="http://schemas.openxmlformats.org/officeDocument/2006/relationships/tags" Target="../tags/tag236.xml"/><Relationship Id="rId23" Type="http://schemas.openxmlformats.org/officeDocument/2006/relationships/tags" Target="../tags/tag244.xml"/><Relationship Id="rId28" Type="http://schemas.openxmlformats.org/officeDocument/2006/relationships/tags" Target="../tags/tag249.xml"/><Relationship Id="rId36" Type="http://schemas.openxmlformats.org/officeDocument/2006/relationships/tags" Target="../tags/tag257.xml"/><Relationship Id="rId10" Type="http://schemas.openxmlformats.org/officeDocument/2006/relationships/tags" Target="../tags/tag231.xml"/><Relationship Id="rId19" Type="http://schemas.openxmlformats.org/officeDocument/2006/relationships/tags" Target="../tags/tag240.xml"/><Relationship Id="rId31" Type="http://schemas.openxmlformats.org/officeDocument/2006/relationships/tags" Target="../tags/tag252.xml"/><Relationship Id="rId44" Type="http://schemas.openxmlformats.org/officeDocument/2006/relationships/oleObject" Target="../embeddings/oleObject8.bin"/><Relationship Id="rId4" Type="http://schemas.openxmlformats.org/officeDocument/2006/relationships/tags" Target="../tags/tag225.xml"/><Relationship Id="rId9" Type="http://schemas.openxmlformats.org/officeDocument/2006/relationships/tags" Target="../tags/tag230.xml"/><Relationship Id="rId14" Type="http://schemas.openxmlformats.org/officeDocument/2006/relationships/tags" Target="../tags/tag235.xml"/><Relationship Id="rId22" Type="http://schemas.openxmlformats.org/officeDocument/2006/relationships/tags" Target="../tags/tag243.xml"/><Relationship Id="rId27" Type="http://schemas.openxmlformats.org/officeDocument/2006/relationships/tags" Target="../tags/tag248.xml"/><Relationship Id="rId30" Type="http://schemas.openxmlformats.org/officeDocument/2006/relationships/tags" Target="../tags/tag251.xml"/><Relationship Id="rId35" Type="http://schemas.openxmlformats.org/officeDocument/2006/relationships/tags" Target="../tags/tag256.xml"/><Relationship Id="rId43" Type="http://schemas.openxmlformats.org/officeDocument/2006/relationships/image" Target="../media/image20.emf"/><Relationship Id="rId8" Type="http://schemas.openxmlformats.org/officeDocument/2006/relationships/tags" Target="../tags/tag229.xml"/><Relationship Id="rId3" Type="http://schemas.openxmlformats.org/officeDocument/2006/relationships/tags" Target="../tags/tag224.xml"/><Relationship Id="rId12" Type="http://schemas.openxmlformats.org/officeDocument/2006/relationships/tags" Target="../tags/tag233.xml"/><Relationship Id="rId17" Type="http://schemas.openxmlformats.org/officeDocument/2006/relationships/tags" Target="../tags/tag238.xml"/><Relationship Id="rId25" Type="http://schemas.openxmlformats.org/officeDocument/2006/relationships/tags" Target="../tags/tag246.xml"/><Relationship Id="rId33" Type="http://schemas.openxmlformats.org/officeDocument/2006/relationships/tags" Target="../tags/tag254.xml"/><Relationship Id="rId38" Type="http://schemas.openxmlformats.org/officeDocument/2006/relationships/tags" Target="../tags/tag259.xml"/><Relationship Id="rId20" Type="http://schemas.openxmlformats.org/officeDocument/2006/relationships/tags" Target="../tags/tag241.xml"/><Relationship Id="rId41" Type="http://schemas.openxmlformats.org/officeDocument/2006/relationships/image" Target="../media/image18.emf"/></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07.xml"/><Relationship Id="rId1" Type="http://schemas.openxmlformats.org/officeDocument/2006/relationships/vmlDrawing" Target="../drawings/vmlDrawing29.vml"/><Relationship Id="rId5" Type="http://schemas.openxmlformats.org/officeDocument/2006/relationships/image" Target="../media/image24.emf"/><Relationship Id="rId4" Type="http://schemas.openxmlformats.org/officeDocument/2006/relationships/oleObject" Target="../embeddings/oleObject31.bin"/></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284.xml"/><Relationship Id="rId21" Type="http://schemas.openxmlformats.org/officeDocument/2006/relationships/tags" Target="../tags/tag279.xml"/><Relationship Id="rId34" Type="http://schemas.openxmlformats.org/officeDocument/2006/relationships/tags" Target="../tags/tag292.xml"/><Relationship Id="rId42" Type="http://schemas.openxmlformats.org/officeDocument/2006/relationships/tags" Target="../tags/tag300.xml"/><Relationship Id="rId47" Type="http://schemas.openxmlformats.org/officeDocument/2006/relationships/tags" Target="../tags/tag305.xml"/><Relationship Id="rId50" Type="http://schemas.openxmlformats.org/officeDocument/2006/relationships/tags" Target="../tags/tag308.xml"/><Relationship Id="rId55" Type="http://schemas.openxmlformats.org/officeDocument/2006/relationships/tags" Target="../tags/tag313.xml"/><Relationship Id="rId63" Type="http://schemas.openxmlformats.org/officeDocument/2006/relationships/tags" Target="../tags/tag321.xml"/><Relationship Id="rId68" Type="http://schemas.openxmlformats.org/officeDocument/2006/relationships/chart" Target="../charts/chart4.xml"/><Relationship Id="rId7" Type="http://schemas.openxmlformats.org/officeDocument/2006/relationships/tags" Target="../tags/tag265.xml"/><Relationship Id="rId2" Type="http://schemas.openxmlformats.org/officeDocument/2006/relationships/tags" Target="../tags/tag260.xml"/><Relationship Id="rId16" Type="http://schemas.openxmlformats.org/officeDocument/2006/relationships/tags" Target="../tags/tag274.xml"/><Relationship Id="rId29" Type="http://schemas.openxmlformats.org/officeDocument/2006/relationships/tags" Target="../tags/tag287.xml"/><Relationship Id="rId11" Type="http://schemas.openxmlformats.org/officeDocument/2006/relationships/tags" Target="../tags/tag269.xml"/><Relationship Id="rId24" Type="http://schemas.openxmlformats.org/officeDocument/2006/relationships/tags" Target="../tags/tag282.xml"/><Relationship Id="rId32" Type="http://schemas.openxmlformats.org/officeDocument/2006/relationships/tags" Target="../tags/tag290.xml"/><Relationship Id="rId37" Type="http://schemas.openxmlformats.org/officeDocument/2006/relationships/tags" Target="../tags/tag295.xml"/><Relationship Id="rId40" Type="http://schemas.openxmlformats.org/officeDocument/2006/relationships/tags" Target="../tags/tag298.xml"/><Relationship Id="rId45" Type="http://schemas.openxmlformats.org/officeDocument/2006/relationships/tags" Target="../tags/tag303.xml"/><Relationship Id="rId53" Type="http://schemas.openxmlformats.org/officeDocument/2006/relationships/tags" Target="../tags/tag311.xml"/><Relationship Id="rId58" Type="http://schemas.openxmlformats.org/officeDocument/2006/relationships/tags" Target="../tags/tag316.xml"/><Relationship Id="rId66" Type="http://schemas.openxmlformats.org/officeDocument/2006/relationships/image" Target="../media/image18.emf"/><Relationship Id="rId5" Type="http://schemas.openxmlformats.org/officeDocument/2006/relationships/tags" Target="../tags/tag263.xml"/><Relationship Id="rId61" Type="http://schemas.openxmlformats.org/officeDocument/2006/relationships/tags" Target="../tags/tag319.xml"/><Relationship Id="rId19" Type="http://schemas.openxmlformats.org/officeDocument/2006/relationships/tags" Target="../tags/tag277.xml"/><Relationship Id="rId14" Type="http://schemas.openxmlformats.org/officeDocument/2006/relationships/tags" Target="../tags/tag272.xml"/><Relationship Id="rId22" Type="http://schemas.openxmlformats.org/officeDocument/2006/relationships/tags" Target="../tags/tag280.xml"/><Relationship Id="rId27" Type="http://schemas.openxmlformats.org/officeDocument/2006/relationships/tags" Target="../tags/tag285.xml"/><Relationship Id="rId30" Type="http://schemas.openxmlformats.org/officeDocument/2006/relationships/tags" Target="../tags/tag288.xml"/><Relationship Id="rId35" Type="http://schemas.openxmlformats.org/officeDocument/2006/relationships/tags" Target="../tags/tag293.xml"/><Relationship Id="rId43" Type="http://schemas.openxmlformats.org/officeDocument/2006/relationships/tags" Target="../tags/tag301.xml"/><Relationship Id="rId48" Type="http://schemas.openxmlformats.org/officeDocument/2006/relationships/tags" Target="../tags/tag306.xml"/><Relationship Id="rId56" Type="http://schemas.openxmlformats.org/officeDocument/2006/relationships/tags" Target="../tags/tag314.xml"/><Relationship Id="rId64" Type="http://schemas.openxmlformats.org/officeDocument/2006/relationships/slideLayout" Target="../slideLayouts/slideLayout3.xml"/><Relationship Id="rId8" Type="http://schemas.openxmlformats.org/officeDocument/2006/relationships/tags" Target="../tags/tag266.xml"/><Relationship Id="rId51" Type="http://schemas.openxmlformats.org/officeDocument/2006/relationships/tags" Target="../tags/tag309.xml"/><Relationship Id="rId3" Type="http://schemas.openxmlformats.org/officeDocument/2006/relationships/tags" Target="../tags/tag261.xml"/><Relationship Id="rId12" Type="http://schemas.openxmlformats.org/officeDocument/2006/relationships/tags" Target="../tags/tag270.xml"/><Relationship Id="rId17" Type="http://schemas.openxmlformats.org/officeDocument/2006/relationships/tags" Target="../tags/tag275.xml"/><Relationship Id="rId25" Type="http://schemas.openxmlformats.org/officeDocument/2006/relationships/tags" Target="../tags/tag283.xml"/><Relationship Id="rId33" Type="http://schemas.openxmlformats.org/officeDocument/2006/relationships/tags" Target="../tags/tag291.xml"/><Relationship Id="rId38" Type="http://schemas.openxmlformats.org/officeDocument/2006/relationships/tags" Target="../tags/tag296.xml"/><Relationship Id="rId46" Type="http://schemas.openxmlformats.org/officeDocument/2006/relationships/tags" Target="../tags/tag304.xml"/><Relationship Id="rId59" Type="http://schemas.openxmlformats.org/officeDocument/2006/relationships/tags" Target="../tags/tag317.xml"/><Relationship Id="rId67" Type="http://schemas.openxmlformats.org/officeDocument/2006/relationships/chart" Target="../charts/chart3.xml"/><Relationship Id="rId20" Type="http://schemas.openxmlformats.org/officeDocument/2006/relationships/tags" Target="../tags/tag278.xml"/><Relationship Id="rId41" Type="http://schemas.openxmlformats.org/officeDocument/2006/relationships/tags" Target="../tags/tag299.xml"/><Relationship Id="rId54" Type="http://schemas.openxmlformats.org/officeDocument/2006/relationships/tags" Target="../tags/tag312.xml"/><Relationship Id="rId62" Type="http://schemas.openxmlformats.org/officeDocument/2006/relationships/tags" Target="../tags/tag320.xml"/><Relationship Id="rId1" Type="http://schemas.openxmlformats.org/officeDocument/2006/relationships/vmlDrawing" Target="../drawings/vmlDrawing7.vml"/><Relationship Id="rId6" Type="http://schemas.openxmlformats.org/officeDocument/2006/relationships/tags" Target="../tags/tag264.xml"/><Relationship Id="rId15" Type="http://schemas.openxmlformats.org/officeDocument/2006/relationships/tags" Target="../tags/tag273.xml"/><Relationship Id="rId23" Type="http://schemas.openxmlformats.org/officeDocument/2006/relationships/tags" Target="../tags/tag281.xml"/><Relationship Id="rId28" Type="http://schemas.openxmlformats.org/officeDocument/2006/relationships/tags" Target="../tags/tag286.xml"/><Relationship Id="rId36" Type="http://schemas.openxmlformats.org/officeDocument/2006/relationships/tags" Target="../tags/tag294.xml"/><Relationship Id="rId49" Type="http://schemas.openxmlformats.org/officeDocument/2006/relationships/tags" Target="../tags/tag307.xml"/><Relationship Id="rId57" Type="http://schemas.openxmlformats.org/officeDocument/2006/relationships/tags" Target="../tags/tag315.xml"/><Relationship Id="rId10" Type="http://schemas.openxmlformats.org/officeDocument/2006/relationships/tags" Target="../tags/tag268.xml"/><Relationship Id="rId31" Type="http://schemas.openxmlformats.org/officeDocument/2006/relationships/tags" Target="../tags/tag289.xml"/><Relationship Id="rId44" Type="http://schemas.openxmlformats.org/officeDocument/2006/relationships/tags" Target="../tags/tag302.xml"/><Relationship Id="rId52" Type="http://schemas.openxmlformats.org/officeDocument/2006/relationships/tags" Target="../tags/tag310.xml"/><Relationship Id="rId60" Type="http://schemas.openxmlformats.org/officeDocument/2006/relationships/tags" Target="../tags/tag318.xml"/><Relationship Id="rId65" Type="http://schemas.openxmlformats.org/officeDocument/2006/relationships/oleObject" Target="../embeddings/oleObject9.bin"/><Relationship Id="rId4" Type="http://schemas.openxmlformats.org/officeDocument/2006/relationships/tags" Target="../tags/tag262.xml"/><Relationship Id="rId9" Type="http://schemas.openxmlformats.org/officeDocument/2006/relationships/tags" Target="../tags/tag267.xml"/><Relationship Id="rId13" Type="http://schemas.openxmlformats.org/officeDocument/2006/relationships/tags" Target="../tags/tag271.xml"/><Relationship Id="rId18" Type="http://schemas.openxmlformats.org/officeDocument/2006/relationships/tags" Target="../tags/tag276.xml"/><Relationship Id="rId39" Type="http://schemas.openxmlformats.org/officeDocument/2006/relationships/tags" Target="../tags/tag297.xml"/></Relationships>
</file>

<file path=ppt/slides/_rels/slide9.xml.rels><?xml version="1.0" encoding="UTF-8" standalone="yes"?>
<Relationships xmlns="http://schemas.openxmlformats.org/package/2006/relationships"><Relationship Id="rId26" Type="http://schemas.openxmlformats.org/officeDocument/2006/relationships/tags" Target="../tags/tag346.xml"/><Relationship Id="rId21" Type="http://schemas.openxmlformats.org/officeDocument/2006/relationships/tags" Target="../tags/tag341.xml"/><Relationship Id="rId42" Type="http://schemas.openxmlformats.org/officeDocument/2006/relationships/tags" Target="../tags/tag362.xml"/><Relationship Id="rId47" Type="http://schemas.openxmlformats.org/officeDocument/2006/relationships/tags" Target="../tags/tag367.xml"/><Relationship Id="rId63" Type="http://schemas.openxmlformats.org/officeDocument/2006/relationships/tags" Target="../tags/tag383.xml"/><Relationship Id="rId68" Type="http://schemas.openxmlformats.org/officeDocument/2006/relationships/tags" Target="../tags/tag388.xml"/><Relationship Id="rId84" Type="http://schemas.openxmlformats.org/officeDocument/2006/relationships/oleObject" Target="../embeddings/oleObject10.bin"/><Relationship Id="rId16" Type="http://schemas.openxmlformats.org/officeDocument/2006/relationships/tags" Target="../tags/tag336.xml"/><Relationship Id="rId11" Type="http://schemas.openxmlformats.org/officeDocument/2006/relationships/tags" Target="../tags/tag331.xml"/><Relationship Id="rId32" Type="http://schemas.openxmlformats.org/officeDocument/2006/relationships/tags" Target="../tags/tag352.xml"/><Relationship Id="rId37" Type="http://schemas.openxmlformats.org/officeDocument/2006/relationships/tags" Target="../tags/tag357.xml"/><Relationship Id="rId53" Type="http://schemas.openxmlformats.org/officeDocument/2006/relationships/tags" Target="../tags/tag373.xml"/><Relationship Id="rId58" Type="http://schemas.openxmlformats.org/officeDocument/2006/relationships/tags" Target="../tags/tag378.xml"/><Relationship Id="rId74" Type="http://schemas.openxmlformats.org/officeDocument/2006/relationships/tags" Target="../tags/tag394.xml"/><Relationship Id="rId79" Type="http://schemas.openxmlformats.org/officeDocument/2006/relationships/tags" Target="../tags/tag399.xml"/><Relationship Id="rId5" Type="http://schemas.openxmlformats.org/officeDocument/2006/relationships/tags" Target="../tags/tag325.xml"/><Relationship Id="rId19" Type="http://schemas.openxmlformats.org/officeDocument/2006/relationships/tags" Target="../tags/tag339.xml"/><Relationship Id="rId14" Type="http://schemas.openxmlformats.org/officeDocument/2006/relationships/tags" Target="../tags/tag334.xml"/><Relationship Id="rId22" Type="http://schemas.openxmlformats.org/officeDocument/2006/relationships/tags" Target="../tags/tag342.xml"/><Relationship Id="rId27" Type="http://schemas.openxmlformats.org/officeDocument/2006/relationships/tags" Target="../tags/tag347.xml"/><Relationship Id="rId30" Type="http://schemas.openxmlformats.org/officeDocument/2006/relationships/tags" Target="../tags/tag350.xml"/><Relationship Id="rId35" Type="http://schemas.openxmlformats.org/officeDocument/2006/relationships/tags" Target="../tags/tag355.xml"/><Relationship Id="rId43" Type="http://schemas.openxmlformats.org/officeDocument/2006/relationships/tags" Target="../tags/tag363.xml"/><Relationship Id="rId48" Type="http://schemas.openxmlformats.org/officeDocument/2006/relationships/tags" Target="../tags/tag368.xml"/><Relationship Id="rId56" Type="http://schemas.openxmlformats.org/officeDocument/2006/relationships/tags" Target="../tags/tag376.xml"/><Relationship Id="rId64" Type="http://schemas.openxmlformats.org/officeDocument/2006/relationships/tags" Target="../tags/tag384.xml"/><Relationship Id="rId69" Type="http://schemas.openxmlformats.org/officeDocument/2006/relationships/tags" Target="../tags/tag389.xml"/><Relationship Id="rId77" Type="http://schemas.openxmlformats.org/officeDocument/2006/relationships/tags" Target="../tags/tag397.xml"/><Relationship Id="rId8" Type="http://schemas.openxmlformats.org/officeDocument/2006/relationships/tags" Target="../tags/tag328.xml"/><Relationship Id="rId51" Type="http://schemas.openxmlformats.org/officeDocument/2006/relationships/tags" Target="../tags/tag371.xml"/><Relationship Id="rId72" Type="http://schemas.openxmlformats.org/officeDocument/2006/relationships/tags" Target="../tags/tag392.xml"/><Relationship Id="rId80" Type="http://schemas.openxmlformats.org/officeDocument/2006/relationships/tags" Target="../tags/tag400.xml"/><Relationship Id="rId85" Type="http://schemas.openxmlformats.org/officeDocument/2006/relationships/image" Target="../media/image18.emf"/><Relationship Id="rId3" Type="http://schemas.openxmlformats.org/officeDocument/2006/relationships/tags" Target="../tags/tag323.xml"/><Relationship Id="rId12" Type="http://schemas.openxmlformats.org/officeDocument/2006/relationships/tags" Target="../tags/tag332.xml"/><Relationship Id="rId17" Type="http://schemas.openxmlformats.org/officeDocument/2006/relationships/tags" Target="../tags/tag337.xml"/><Relationship Id="rId25" Type="http://schemas.openxmlformats.org/officeDocument/2006/relationships/tags" Target="../tags/tag345.xml"/><Relationship Id="rId33" Type="http://schemas.openxmlformats.org/officeDocument/2006/relationships/tags" Target="../tags/tag353.xml"/><Relationship Id="rId38" Type="http://schemas.openxmlformats.org/officeDocument/2006/relationships/tags" Target="../tags/tag358.xml"/><Relationship Id="rId46" Type="http://schemas.openxmlformats.org/officeDocument/2006/relationships/tags" Target="../tags/tag366.xml"/><Relationship Id="rId59" Type="http://schemas.openxmlformats.org/officeDocument/2006/relationships/tags" Target="../tags/tag379.xml"/><Relationship Id="rId67" Type="http://schemas.openxmlformats.org/officeDocument/2006/relationships/tags" Target="../tags/tag387.xml"/><Relationship Id="rId20" Type="http://schemas.openxmlformats.org/officeDocument/2006/relationships/tags" Target="../tags/tag340.xml"/><Relationship Id="rId41" Type="http://schemas.openxmlformats.org/officeDocument/2006/relationships/tags" Target="../tags/tag361.xml"/><Relationship Id="rId54" Type="http://schemas.openxmlformats.org/officeDocument/2006/relationships/tags" Target="../tags/tag374.xml"/><Relationship Id="rId62" Type="http://schemas.openxmlformats.org/officeDocument/2006/relationships/tags" Target="../tags/tag382.xml"/><Relationship Id="rId70" Type="http://schemas.openxmlformats.org/officeDocument/2006/relationships/tags" Target="../tags/tag390.xml"/><Relationship Id="rId75" Type="http://schemas.openxmlformats.org/officeDocument/2006/relationships/tags" Target="../tags/tag395.xml"/><Relationship Id="rId83" Type="http://schemas.openxmlformats.org/officeDocument/2006/relationships/slideLayout" Target="../slideLayouts/slideLayout3.xml"/><Relationship Id="rId1" Type="http://schemas.openxmlformats.org/officeDocument/2006/relationships/vmlDrawing" Target="../drawings/vmlDrawing8.vml"/><Relationship Id="rId6" Type="http://schemas.openxmlformats.org/officeDocument/2006/relationships/tags" Target="../tags/tag326.xml"/><Relationship Id="rId15" Type="http://schemas.openxmlformats.org/officeDocument/2006/relationships/tags" Target="../tags/tag335.xml"/><Relationship Id="rId23" Type="http://schemas.openxmlformats.org/officeDocument/2006/relationships/tags" Target="../tags/tag343.xml"/><Relationship Id="rId28" Type="http://schemas.openxmlformats.org/officeDocument/2006/relationships/tags" Target="../tags/tag348.xml"/><Relationship Id="rId36" Type="http://schemas.openxmlformats.org/officeDocument/2006/relationships/tags" Target="../tags/tag356.xml"/><Relationship Id="rId49" Type="http://schemas.openxmlformats.org/officeDocument/2006/relationships/tags" Target="../tags/tag369.xml"/><Relationship Id="rId57" Type="http://schemas.openxmlformats.org/officeDocument/2006/relationships/tags" Target="../tags/tag377.xml"/><Relationship Id="rId10" Type="http://schemas.openxmlformats.org/officeDocument/2006/relationships/tags" Target="../tags/tag330.xml"/><Relationship Id="rId31" Type="http://schemas.openxmlformats.org/officeDocument/2006/relationships/tags" Target="../tags/tag351.xml"/><Relationship Id="rId44" Type="http://schemas.openxmlformats.org/officeDocument/2006/relationships/tags" Target="../tags/tag364.xml"/><Relationship Id="rId52" Type="http://schemas.openxmlformats.org/officeDocument/2006/relationships/tags" Target="../tags/tag372.xml"/><Relationship Id="rId60" Type="http://schemas.openxmlformats.org/officeDocument/2006/relationships/tags" Target="../tags/tag380.xml"/><Relationship Id="rId65" Type="http://schemas.openxmlformats.org/officeDocument/2006/relationships/tags" Target="../tags/tag385.xml"/><Relationship Id="rId73" Type="http://schemas.openxmlformats.org/officeDocument/2006/relationships/tags" Target="../tags/tag393.xml"/><Relationship Id="rId78" Type="http://schemas.openxmlformats.org/officeDocument/2006/relationships/tags" Target="../tags/tag398.xml"/><Relationship Id="rId81" Type="http://schemas.openxmlformats.org/officeDocument/2006/relationships/tags" Target="../tags/tag401.xml"/><Relationship Id="rId86" Type="http://schemas.openxmlformats.org/officeDocument/2006/relationships/chart" Target="../charts/chart5.xml"/><Relationship Id="rId4" Type="http://schemas.openxmlformats.org/officeDocument/2006/relationships/tags" Target="../tags/tag324.xml"/><Relationship Id="rId9" Type="http://schemas.openxmlformats.org/officeDocument/2006/relationships/tags" Target="../tags/tag329.xml"/><Relationship Id="rId13" Type="http://schemas.openxmlformats.org/officeDocument/2006/relationships/tags" Target="../tags/tag333.xml"/><Relationship Id="rId18" Type="http://schemas.openxmlformats.org/officeDocument/2006/relationships/tags" Target="../tags/tag338.xml"/><Relationship Id="rId39" Type="http://schemas.openxmlformats.org/officeDocument/2006/relationships/tags" Target="../tags/tag359.xml"/><Relationship Id="rId34" Type="http://schemas.openxmlformats.org/officeDocument/2006/relationships/tags" Target="../tags/tag354.xml"/><Relationship Id="rId50" Type="http://schemas.openxmlformats.org/officeDocument/2006/relationships/tags" Target="../tags/tag370.xml"/><Relationship Id="rId55" Type="http://schemas.openxmlformats.org/officeDocument/2006/relationships/tags" Target="../tags/tag375.xml"/><Relationship Id="rId76" Type="http://schemas.openxmlformats.org/officeDocument/2006/relationships/tags" Target="../tags/tag396.xml"/><Relationship Id="rId7" Type="http://schemas.openxmlformats.org/officeDocument/2006/relationships/tags" Target="../tags/tag327.xml"/><Relationship Id="rId71" Type="http://schemas.openxmlformats.org/officeDocument/2006/relationships/tags" Target="../tags/tag391.xml"/><Relationship Id="rId2" Type="http://schemas.openxmlformats.org/officeDocument/2006/relationships/tags" Target="../tags/tag322.xml"/><Relationship Id="rId29" Type="http://schemas.openxmlformats.org/officeDocument/2006/relationships/tags" Target="../tags/tag349.xml"/><Relationship Id="rId24" Type="http://schemas.openxmlformats.org/officeDocument/2006/relationships/tags" Target="../tags/tag344.xml"/><Relationship Id="rId40" Type="http://schemas.openxmlformats.org/officeDocument/2006/relationships/tags" Target="../tags/tag360.xml"/><Relationship Id="rId45" Type="http://schemas.openxmlformats.org/officeDocument/2006/relationships/tags" Target="../tags/tag365.xml"/><Relationship Id="rId66" Type="http://schemas.openxmlformats.org/officeDocument/2006/relationships/tags" Target="../tags/tag386.xml"/><Relationship Id="rId87" Type="http://schemas.openxmlformats.org/officeDocument/2006/relationships/chart" Target="../charts/chart6.xml"/><Relationship Id="rId61" Type="http://schemas.openxmlformats.org/officeDocument/2006/relationships/tags" Target="../tags/tag381.xml"/><Relationship Id="rId82" Type="http://schemas.openxmlformats.org/officeDocument/2006/relationships/tags" Target="../tags/tag40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3</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pc="40" dirty="0">
                <a:solidFill>
                  <a:srgbClr val="FFFFFF"/>
                </a:solidFill>
              </a:rPr>
            </a:br>
            <a:r>
              <a:rPr lang="ja-JP" altLang="en-US" sz="3600" spc="-200" dirty="0"/>
              <a:t>ブ</a:t>
            </a:r>
            <a:r>
              <a:rPr lang="ja-JP" altLang="en-US" sz="3600" dirty="0"/>
              <a:t>ラ</a:t>
            </a:r>
            <a:r>
              <a:rPr lang="ja-JP" altLang="en-US" sz="3600" spc="-200" dirty="0"/>
              <a:t>ジ</a:t>
            </a:r>
            <a:r>
              <a:rPr lang="ja-JP" altLang="en-US" sz="3600" dirty="0"/>
              <a:t>ル</a:t>
            </a:r>
            <a:r>
              <a:rPr lang="ja-JP" altLang="en-US" sz="3400" dirty="0">
                <a:solidFill>
                  <a:srgbClr val="FFFFFF"/>
                </a:solidFill>
              </a:rPr>
              <a:t>編</a:t>
            </a:r>
          </a:p>
        </p:txBody>
      </p:sp>
    </p:spTree>
    <p:extLst>
      <p:ext uri="{BB962C8B-B14F-4D97-AF65-F5344CB8AC3E}">
        <p14:creationId xmlns:p14="http://schemas.microsoft.com/office/powerpoint/2010/main" val="17692348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8" name="オブジェクト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r>
              <a:rPr lang="ja-JP" altLang="en-US" dirty="0"/>
              <a:t>ブラジル／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中南米の医療機器市場の最新動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2" name="テキスト ボックス 31"/>
          <p:cNvSpPr txBox="1"/>
          <p:nvPr/>
        </p:nvSpPr>
        <p:spPr>
          <a:xfrm>
            <a:off x="200472" y="1124744"/>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付法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により、保健分野における外資企業の直接・間接の資本参加は禁じられていたが、法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09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付）にて解禁され、外資による医療機関への投資や買収などが可能とな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effectLst/>
                <a:latin typeface="ヒラギノ角ゴ Pro W3"/>
              </a:rPr>
              <a:t>また、外資企業は内資企業（ブラジル企業）と同じ扱いを受けることが憲法により保証されている。郵便、マスメディア、航空宇宙産業、輸送、軍需、資源開発等の一部の分野では、外資参入が禁止または規制され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サンパウロ市内で開催された、米州最大規模の医療関係者向け国際見本市「ホスピタラール」では、外資の医療分野参入をテーマにしたセミナーも開かれた。</a:t>
            </a:r>
          </a:p>
        </p:txBody>
      </p:sp>
      <p:grpSp>
        <p:nvGrpSpPr>
          <p:cNvPr id="10" name="グループ化 9"/>
          <p:cNvGrpSpPr/>
          <p:nvPr/>
        </p:nvGrpSpPr>
        <p:grpSpPr>
          <a:xfrm>
            <a:off x="992560" y="2760522"/>
            <a:ext cx="3384376" cy="1820606"/>
            <a:chOff x="776536" y="3561533"/>
            <a:chExt cx="3384376" cy="1820606"/>
          </a:xfrm>
        </p:grpSpPr>
        <p:grpSp>
          <p:nvGrpSpPr>
            <p:cNvPr id="7" name="グループ化 6"/>
            <p:cNvGrpSpPr/>
            <p:nvPr/>
          </p:nvGrpSpPr>
          <p:grpSpPr>
            <a:xfrm>
              <a:off x="776536" y="3561533"/>
              <a:ext cx="3384376" cy="1804030"/>
              <a:chOff x="776536" y="2854219"/>
              <a:chExt cx="3384376" cy="1804030"/>
            </a:xfrm>
          </p:grpSpPr>
          <p:sp>
            <p:nvSpPr>
              <p:cNvPr id="29" name="片側の 2 つの角を丸めた四角形 28"/>
              <p:cNvSpPr/>
              <p:nvPr/>
            </p:nvSpPr>
            <p:spPr>
              <a:xfrm>
                <a:off x="776536" y="2854219"/>
                <a:ext cx="3384376" cy="521040"/>
              </a:xfrm>
              <a:prstGeom prst="round2SameRect">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54000" rtlCol="0" anchor="ctr"/>
              <a:lstStyle/>
              <a:p>
                <a:pPr algn="ctr" fontAlgn="ctr"/>
                <a:r>
                  <a:rPr lang="en-US" altLang="ja-JP"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1990</a:t>
                </a:r>
                <a:r>
                  <a:rPr lang="ja-JP" altLang="en-US"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付法令</a:t>
                </a:r>
                <a:r>
                  <a:rPr lang="en-US" altLang="ja-JP"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8,080</a:t>
                </a:r>
                <a:r>
                  <a:rPr lang="ja-JP" altLang="en-US"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号</a:t>
                </a:r>
                <a:endParaRPr lang="en-US" altLang="ja-JP"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31" name="片側の 2 つの角を丸めた四角形 30"/>
              <p:cNvSpPr/>
              <p:nvPr/>
            </p:nvSpPr>
            <p:spPr>
              <a:xfrm>
                <a:off x="776536" y="3375259"/>
                <a:ext cx="3384376" cy="1282990"/>
              </a:xfrm>
              <a:prstGeom prst="round2SameRect">
                <a:avLst>
                  <a:gd name="adj1" fmla="val 0"/>
                  <a:gd name="adj2" fmla="val 7442"/>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bIns="288000" rtlCol="0" anchor="b" anchorCtr="0"/>
              <a:lstStyle/>
              <a:p>
                <a:pPr algn="ctr">
                  <a:lnSpc>
                    <a:spcPct val="113000"/>
                  </a:lnSpc>
                </a:pPr>
                <a:endParaRPr lang="ja-JP" altLang="en-US" sz="2000" dirty="0">
                  <a:solidFill>
                    <a:schemeClr val="tx1"/>
                  </a:solidFill>
                  <a:latin typeface="HGP創英角ｺﾞｼｯｸUB" panose="020B0900000000000000" pitchFamily="50" charset="-128"/>
                  <a:ea typeface="HGP創英角ｺﾞｼｯｸUB" panose="020B0900000000000000" pitchFamily="50" charset="-128"/>
                </a:endParaRPr>
              </a:p>
            </p:txBody>
          </p:sp>
          <p:sp>
            <p:nvSpPr>
              <p:cNvPr id="25" name="片側の 2 つの角を丸めた四角形 24"/>
              <p:cNvSpPr/>
              <p:nvPr/>
            </p:nvSpPr>
            <p:spPr>
              <a:xfrm>
                <a:off x="776536" y="3375259"/>
                <a:ext cx="3384376" cy="1282990"/>
              </a:xfrm>
              <a:prstGeom prst="round2SameRect">
                <a:avLst>
                  <a:gd name="adj1" fmla="val 0"/>
                  <a:gd name="adj2" fmla="val 7442"/>
                </a:avLst>
              </a:prstGeom>
              <a:noFill/>
              <a:ln w="9525" cap="flat" cmpd="sng" algn="ctr">
                <a:noFill/>
                <a:prstDash val="solid"/>
              </a:ln>
              <a:effectLst/>
              <a:extLst>
                <a:ext uri="{909E8E84-426E-40DD-AFC4-6F175D3DCCD1}">
                  <a14:hiddenFill xmlns:a14="http://schemas.microsoft.com/office/drawing/2010/main">
                    <a:solidFill>
                      <a:srgbClr val="E8E8E8"/>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bIns="288000" rtlCol="0" anchor="b" anchorCtr="0"/>
              <a:lstStyle/>
              <a:p>
                <a:pPr algn="ctr">
                  <a:lnSpc>
                    <a:spcPct val="113000"/>
                  </a:lnSpc>
                </a:pPr>
                <a:r>
                  <a:rPr lang="ja-JP" altLang="en-US" dirty="0">
                    <a:solidFill>
                      <a:schemeClr val="tx1"/>
                    </a:solidFill>
                  </a:rPr>
                  <a:t>保健分野における外資企業の</a:t>
                </a:r>
                <a:br>
                  <a:rPr lang="en-US" altLang="ja-JP" dirty="0">
                    <a:solidFill>
                      <a:schemeClr val="tx1"/>
                    </a:solidFill>
                  </a:rPr>
                </a:br>
                <a:r>
                  <a:rPr lang="ja-JP" altLang="en-US" sz="2000" dirty="0">
                    <a:solidFill>
                      <a:schemeClr val="tx1"/>
                    </a:solidFill>
                    <a:latin typeface="HGP創英角ｺﾞｼｯｸUB" panose="020B0900000000000000" pitchFamily="50" charset="-128"/>
                    <a:ea typeface="HGP創英角ｺﾞｼｯｸUB" panose="020B0900000000000000" pitchFamily="50" charset="-128"/>
                  </a:rPr>
                  <a:t>直接・間接の資本参加</a:t>
                </a:r>
              </a:p>
            </p:txBody>
          </p:sp>
        </p:grpSp>
        <p:sp>
          <p:nvSpPr>
            <p:cNvPr id="13" name="十字形 12"/>
            <p:cNvSpPr/>
            <p:nvPr/>
          </p:nvSpPr>
          <p:spPr>
            <a:xfrm rot="2700000">
              <a:off x="1794898" y="4034486"/>
              <a:ext cx="1347653" cy="1347653"/>
            </a:xfrm>
            <a:prstGeom prst="plus">
              <a:avLst>
                <a:gd name="adj" fmla="val 44196"/>
              </a:avLst>
            </a:prstGeom>
            <a:solidFill>
              <a:schemeClr val="accent5">
                <a:lumMod val="60000"/>
                <a:lumOff val="40000"/>
                <a:alpha val="50000"/>
              </a:schemeClr>
            </a:solidFill>
            <a:ln>
              <a:solidFill>
                <a:schemeClr val="accent5">
                  <a:lumMod val="60000"/>
                  <a:lumOff val="40000"/>
                </a:schemeClr>
              </a:solid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4" name="テキスト ボックス 3"/>
            <p:cNvSpPr txBox="1"/>
            <p:nvPr/>
          </p:nvSpPr>
          <p:spPr>
            <a:xfrm>
              <a:off x="2196854" y="4982858"/>
              <a:ext cx="543739" cy="307777"/>
            </a:xfrm>
            <a:prstGeom prst="rect">
              <a:avLst/>
            </a:prstGeom>
            <a:noFill/>
          </p:spPr>
          <p:txBody>
            <a:bodyPr wrap="none" rtlCol="0">
              <a:spAutoFit/>
            </a:bodyPr>
            <a:lstStyle/>
            <a:p>
              <a:r>
                <a:rPr kumimoji="1" lang="ja-JP" altLang="en-US" sz="1400" dirty="0">
                  <a:solidFill>
                    <a:schemeClr val="accent5"/>
                  </a:solidFill>
                  <a:latin typeface="HGP創英角ｺﾞｼｯｸUB" panose="020B0900000000000000" pitchFamily="50" charset="-128"/>
                  <a:ea typeface="HGP創英角ｺﾞｼｯｸUB" panose="020B0900000000000000" pitchFamily="50" charset="-128"/>
                  <a:cs typeface="Arial" panose="020B0604020202020204" pitchFamily="34" charset="0"/>
                </a:rPr>
                <a:t>禁止</a:t>
              </a:r>
            </a:p>
          </p:txBody>
        </p:sp>
      </p:grpSp>
      <p:grpSp>
        <p:nvGrpSpPr>
          <p:cNvPr id="11" name="グループ化 10"/>
          <p:cNvGrpSpPr/>
          <p:nvPr/>
        </p:nvGrpSpPr>
        <p:grpSpPr>
          <a:xfrm>
            <a:off x="5529064" y="2760522"/>
            <a:ext cx="3384376" cy="1820606"/>
            <a:chOff x="5313040" y="3560250"/>
            <a:chExt cx="3384376" cy="1820606"/>
          </a:xfrm>
        </p:grpSpPr>
        <p:sp>
          <p:nvSpPr>
            <p:cNvPr id="20" name="片側の 2 つの角を丸めた四角形 19"/>
            <p:cNvSpPr/>
            <p:nvPr/>
          </p:nvSpPr>
          <p:spPr>
            <a:xfrm>
              <a:off x="5313040" y="4090682"/>
              <a:ext cx="3384376" cy="1282990"/>
            </a:xfrm>
            <a:prstGeom prst="round2SameRect">
              <a:avLst>
                <a:gd name="adj1" fmla="val 0"/>
                <a:gd name="adj2" fmla="val 7442"/>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bIns="288000" rtlCol="0" anchor="b" anchorCtr="0"/>
            <a:lstStyle/>
            <a:p>
              <a:pPr algn="ctr">
                <a:lnSpc>
                  <a:spcPct val="113000"/>
                </a:lnSpc>
              </a:pPr>
              <a:endParaRPr lang="ja-JP" altLang="en-US" sz="2000" dirty="0">
                <a:solidFill>
                  <a:schemeClr val="tx1"/>
                </a:solidFill>
                <a:latin typeface="HGP創英角ｺﾞｼｯｸUB" panose="020B0900000000000000" pitchFamily="50" charset="-128"/>
                <a:ea typeface="HGP創英角ｺﾞｼｯｸUB" panose="020B0900000000000000" pitchFamily="50" charset="-128"/>
              </a:endParaRPr>
            </a:p>
          </p:txBody>
        </p:sp>
        <p:sp>
          <p:nvSpPr>
            <p:cNvPr id="23" name="テキスト ボックス 22"/>
            <p:cNvSpPr txBox="1"/>
            <p:nvPr/>
          </p:nvSpPr>
          <p:spPr>
            <a:xfrm>
              <a:off x="6733358" y="4981575"/>
              <a:ext cx="543739" cy="307777"/>
            </a:xfrm>
            <a:prstGeom prst="rect">
              <a:avLst/>
            </a:prstGeom>
            <a:noFill/>
          </p:spPr>
          <p:txBody>
            <a:bodyPr wrap="none" rtlCol="0">
              <a:spAutoFit/>
            </a:bodyPr>
            <a:lstStyle/>
            <a:p>
              <a:r>
                <a:rPr kumimoji="1" lang="ja-JP" altLang="en-US" sz="1400" dirty="0">
                  <a:solidFill>
                    <a:schemeClr val="accent5"/>
                  </a:solidFill>
                  <a:latin typeface="HGP創英角ｺﾞｼｯｸUB" panose="020B0900000000000000" pitchFamily="50" charset="-128"/>
                  <a:ea typeface="HGP創英角ｺﾞｼｯｸUB" panose="020B0900000000000000" pitchFamily="50" charset="-128"/>
                  <a:cs typeface="Arial" panose="020B0604020202020204" pitchFamily="34" charset="0"/>
                </a:rPr>
                <a:t>解禁</a:t>
              </a:r>
            </a:p>
          </p:txBody>
        </p:sp>
        <p:sp>
          <p:nvSpPr>
            <p:cNvPr id="19" name="片側の 2 つの角を丸めた四角形 18"/>
            <p:cNvSpPr/>
            <p:nvPr/>
          </p:nvSpPr>
          <p:spPr>
            <a:xfrm>
              <a:off x="5313040" y="3560250"/>
              <a:ext cx="3384376" cy="521040"/>
            </a:xfrm>
            <a:prstGeom prst="round2SameRect">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54000" rtlCol="0" anchor="ctr"/>
            <a:lstStyle/>
            <a:p>
              <a:pPr algn="ctr" fontAlgn="ctr"/>
              <a:r>
                <a:rPr lang="en-US" altLang="ja-JP"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15</a:t>
              </a:r>
              <a:r>
                <a:rPr lang="ja-JP" altLang="en-US"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付法令</a:t>
              </a:r>
              <a:r>
                <a:rPr lang="en-US" altLang="ja-JP"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13,097</a:t>
              </a:r>
              <a:r>
                <a:rPr lang="ja-JP" altLang="en-US"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号</a:t>
              </a:r>
              <a:endParaRPr lang="en-US" altLang="ja-JP"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2" name="円/楕円 21"/>
            <p:cNvSpPr/>
            <p:nvPr/>
          </p:nvSpPr>
          <p:spPr>
            <a:xfrm rot="2700000">
              <a:off x="6331402" y="4033203"/>
              <a:ext cx="1347653" cy="1347653"/>
            </a:xfrm>
            <a:prstGeom prst="ellipse">
              <a:avLst/>
            </a:prstGeom>
            <a:noFill/>
            <a:ln w="76200">
              <a:solidFill>
                <a:schemeClr val="accent5">
                  <a:lumMod val="60000"/>
                  <a:lumOff val="40000"/>
                </a:schemeClr>
              </a:solidFill>
            </a:ln>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noFill/>
              </a:endParaRPr>
            </a:p>
          </p:txBody>
        </p:sp>
        <p:sp>
          <p:nvSpPr>
            <p:cNvPr id="21" name="片側の 2 つの角を丸めた四角形 20"/>
            <p:cNvSpPr/>
            <p:nvPr/>
          </p:nvSpPr>
          <p:spPr>
            <a:xfrm>
              <a:off x="5313040" y="4081290"/>
              <a:ext cx="3384376" cy="1282990"/>
            </a:xfrm>
            <a:prstGeom prst="round2SameRect">
              <a:avLst>
                <a:gd name="adj1" fmla="val 0"/>
                <a:gd name="adj2" fmla="val 7442"/>
              </a:avLst>
            </a:prstGeom>
            <a:noFill/>
            <a:ln w="9525" cap="flat" cmpd="sng" algn="ctr">
              <a:noFill/>
              <a:prstDash val="solid"/>
            </a:ln>
            <a:effectLst/>
            <a:extLst>
              <a:ext uri="{909E8E84-426E-40DD-AFC4-6F175D3DCCD1}">
                <a14:hiddenFill xmlns:a14="http://schemas.microsoft.com/office/drawing/2010/main">
                  <a:solidFill>
                    <a:srgbClr val="E8E8E8"/>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bIns="288000" rtlCol="0" anchor="b" anchorCtr="0"/>
            <a:lstStyle/>
            <a:p>
              <a:pPr algn="ctr">
                <a:lnSpc>
                  <a:spcPct val="113000"/>
                </a:lnSpc>
              </a:pPr>
              <a:r>
                <a:rPr lang="ja-JP" altLang="en-US" dirty="0">
                  <a:solidFill>
                    <a:schemeClr val="tx1"/>
                  </a:solidFill>
                </a:rPr>
                <a:t>保健分野における外資企業の</a:t>
              </a:r>
              <a:br>
                <a:rPr lang="en-US" altLang="ja-JP" dirty="0">
                  <a:solidFill>
                    <a:schemeClr val="tx1"/>
                  </a:solidFill>
                </a:rPr>
              </a:br>
              <a:r>
                <a:rPr lang="ja-JP" altLang="en-US" sz="2000" dirty="0">
                  <a:solidFill>
                    <a:schemeClr val="tx1"/>
                  </a:solidFill>
                  <a:latin typeface="HGP創英角ｺﾞｼｯｸUB" panose="020B0900000000000000" pitchFamily="50" charset="-128"/>
                  <a:ea typeface="HGP創英角ｺﾞｼｯｸUB" panose="020B0900000000000000" pitchFamily="50" charset="-128"/>
                </a:rPr>
                <a:t>直接・間接の資本参加</a:t>
              </a:r>
            </a:p>
          </p:txBody>
        </p:sp>
      </p:grpSp>
      <p:sp>
        <p:nvSpPr>
          <p:cNvPr id="9" name="右矢印 8"/>
          <p:cNvSpPr/>
          <p:nvPr/>
        </p:nvSpPr>
        <p:spPr>
          <a:xfrm>
            <a:off x="4628964" y="3220683"/>
            <a:ext cx="648072" cy="900285"/>
          </a:xfrm>
          <a:prstGeom prst="rightArrow">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0" name="グループ化 7"/>
          <p:cNvGrpSpPr/>
          <p:nvPr/>
        </p:nvGrpSpPr>
        <p:grpSpPr>
          <a:xfrm>
            <a:off x="416496" y="4771459"/>
            <a:ext cx="9145016" cy="288032"/>
            <a:chOff x="4944173" y="2113806"/>
            <a:chExt cx="5861371" cy="288032"/>
          </a:xfrm>
        </p:grpSpPr>
        <p:cxnSp>
          <p:nvCxnSpPr>
            <p:cNvPr id="33" name="直線コネクタ 3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ホスピタラール」におけるホドリゴ・パバン氏（ブラジル最大の独立系投資銀行</a:t>
              </a:r>
              <a:r>
                <a:rPr lang="en-US" altLang="ja-JP" sz="1400" dirty="0">
                  <a:solidFill>
                    <a:srgbClr val="000000"/>
                  </a:solidFill>
                  <a:latin typeface="Arial Black" pitchFamily="34" charset="0"/>
                  <a:ea typeface="HGP創英角ｺﾞｼｯｸUB" pitchFamily="50" charset="-128"/>
                </a:rPr>
                <a:t>BTG</a:t>
              </a:r>
              <a:r>
                <a:rPr lang="ja-JP" altLang="en-US" sz="1400" dirty="0">
                  <a:solidFill>
                    <a:srgbClr val="000000"/>
                  </a:solidFill>
                  <a:latin typeface="Arial Black" pitchFamily="34" charset="0"/>
                  <a:ea typeface="HGP創英角ｺﾞｼｯｸUB" pitchFamily="50" charset="-128"/>
                </a:rPr>
                <a:t>パクチュアル）の発言</a:t>
              </a:r>
            </a:p>
          </p:txBody>
        </p:sp>
      </p:grpSp>
      <p:sp>
        <p:nvSpPr>
          <p:cNvPr id="38" name="テキスト ボックス 37"/>
          <p:cNvSpPr txBox="1"/>
          <p:nvPr/>
        </p:nvSpPr>
        <p:spPr>
          <a:xfrm>
            <a:off x="521789" y="5059491"/>
            <a:ext cx="9039723" cy="1393843"/>
          </a:xfrm>
          <a:prstGeom prst="rect">
            <a:avLst/>
          </a:prstGeom>
          <a:noFill/>
        </p:spPr>
        <p:txBody>
          <a:bodyPr wrap="square" rIns="0" rtlCol="0">
            <a:spAutoFit/>
          </a:bodyPr>
          <a:lstStyle/>
          <a:p>
            <a:pPr marL="130175" indent="-130175">
              <a:lnSpc>
                <a:spcPct val="113000"/>
              </a:lnSpc>
              <a:spcAft>
                <a:spcPts val="600"/>
              </a:spcAft>
              <a:buClr>
                <a:srgbClr val="3D6AA7"/>
              </a:buClr>
              <a:buSzPct val="80000"/>
              <a:buFont typeface="Wingdings" panose="05000000000000000000" pitchFamily="2" charset="2"/>
              <a:buChar char="l"/>
            </a:pPr>
            <a:r>
              <a:rPr lang="ja-JP" altLang="en-US" sz="1100" spc="-40" dirty="0"/>
              <a:t>同行は</a:t>
            </a:r>
            <a:r>
              <a:rPr lang="en-US" altLang="ja-JP" sz="1100" spc="-40" dirty="0"/>
              <a:t>2010 </a:t>
            </a:r>
            <a:r>
              <a:rPr lang="ja-JP" altLang="en-US" sz="1100" spc="-40" dirty="0"/>
              <a:t>年、ブラジル最大の民間病院ネットワークを有するヘッジドールサンルイスグループに出資を行ってブラジル最大の病院グループとし、外資の病院への参入が解禁されたことをきっかけとして、</a:t>
            </a:r>
            <a:r>
              <a:rPr lang="en-US" altLang="ja-JP" sz="1100" spc="-40" dirty="0"/>
              <a:t>2015</a:t>
            </a:r>
            <a:r>
              <a:rPr lang="ja-JP" altLang="en-US" sz="1100" spc="-40" dirty="0"/>
              <a:t>年</a:t>
            </a:r>
            <a:r>
              <a:rPr lang="en-US" altLang="ja-JP" sz="1100" spc="-40" dirty="0"/>
              <a:t>4 </a:t>
            </a:r>
            <a:r>
              <a:rPr lang="ja-JP" altLang="en-US" sz="1100" spc="-40" dirty="0"/>
              <a:t>月に米投資銀行カーライル、</a:t>
            </a:r>
            <a:r>
              <a:rPr lang="en-US" altLang="ja-JP" sz="1100" spc="-40" dirty="0"/>
              <a:t>5 </a:t>
            </a:r>
            <a:r>
              <a:rPr lang="ja-JP" altLang="en-US" sz="1100" spc="-40" dirty="0"/>
              <a:t>月にシンガポール財務省傘下の投資会社</a:t>
            </a:r>
            <a:r>
              <a:rPr lang="en-US" altLang="ja-JP" sz="1100" spc="-40" dirty="0"/>
              <a:t>GIC</a:t>
            </a:r>
            <a:r>
              <a:rPr lang="ja-JP" altLang="en-US" sz="1100" spc="-40" dirty="0"/>
              <a:t>（旧称：シンガポール政府投資公社）に出資分の一部を売却した。</a:t>
            </a:r>
            <a:endParaRPr lang="en-US" altLang="ja-JP" sz="1100" spc="-40" dirty="0"/>
          </a:p>
          <a:p>
            <a:pPr marL="130175" indent="-130175">
              <a:lnSpc>
                <a:spcPct val="113000"/>
              </a:lnSpc>
              <a:spcAft>
                <a:spcPts val="600"/>
              </a:spcAft>
              <a:buClr>
                <a:srgbClr val="3D6AA7"/>
              </a:buClr>
              <a:buSzPct val="80000"/>
              <a:buFont typeface="Wingdings" panose="05000000000000000000" pitchFamily="2" charset="2"/>
              <a:buChar char="l"/>
            </a:pPr>
            <a:r>
              <a:rPr lang="ja-JP" altLang="en-US" sz="1100" spc="-30" dirty="0"/>
              <a:t>民間病院が需要に対応できていないのは、資本調達手段が国内に限られ、新規投資も行われてこなかったためだとし、このたびの法改正で資金調達手法が増えることによってこれらの問題が改善される可能性が高まった。</a:t>
            </a:r>
            <a:endParaRPr lang="en-US" altLang="ja-JP" sz="1100" spc="-30" dirty="0"/>
          </a:p>
          <a:p>
            <a:pPr marL="130175" indent="-130175">
              <a:lnSpc>
                <a:spcPct val="113000"/>
              </a:lnSpc>
              <a:spcAft>
                <a:spcPts val="600"/>
              </a:spcAft>
              <a:buClr>
                <a:srgbClr val="3D6AA7"/>
              </a:buClr>
              <a:buSzPct val="80000"/>
              <a:buFont typeface="Wingdings" panose="05000000000000000000" pitchFamily="2" charset="2"/>
              <a:buChar char="l"/>
            </a:pPr>
            <a:r>
              <a:rPr lang="ja-JP" altLang="en-US" sz="1100" spc="-30" dirty="0"/>
              <a:t>今後は投資会社だけでなく、国外の医療機関も含めた外資の参入があり得る。</a:t>
            </a:r>
            <a:endParaRPr lang="en-US" altLang="ja-JP" sz="1100" spc="-30" dirty="0"/>
          </a:p>
        </p:txBody>
      </p:sp>
      <p:sp>
        <p:nvSpPr>
          <p:cNvPr id="39" name="片側の 2 つの角を丸めた四角形 38"/>
          <p:cNvSpPr/>
          <p:nvPr/>
        </p:nvSpPr>
        <p:spPr>
          <a:xfrm rot="5400000">
            <a:off x="4081799" y="829608"/>
            <a:ext cx="1814408" cy="9433046"/>
          </a:xfrm>
          <a:prstGeom prst="round2SameRect">
            <a:avLst>
              <a:gd name="adj1" fmla="val 16133"/>
              <a:gd name="adj2" fmla="val 14985"/>
            </a:avLst>
          </a:prstGeom>
          <a:noFill/>
          <a:ln w="28575" cap="flat" cmpd="sng" algn="ctr">
            <a:solidFill>
              <a:srgbClr val="5F8AC3"/>
            </a:solidFill>
            <a:prstDash val="solid"/>
            <a:round/>
            <a:headEnd type="none" w="med" len="med"/>
            <a:tailEnd type="none" w="med" len="med"/>
          </a:ln>
        </p:spPr>
        <p:txBody>
          <a:bodyPr vert="vert270" wrap="square" lIns="36000" tIns="36000" rIns="36000" bIns="72000" rtlCol="0" anchor="ctr" anchorCtr="0">
            <a:noAutofit/>
          </a:bodyPr>
          <a:lstStyle/>
          <a:p>
            <a:pPr marL="260350" indent="-130175">
              <a:lnSpc>
                <a:spcPct val="113000"/>
              </a:lnSpc>
              <a:spcAft>
                <a:spcPts val="200"/>
              </a:spcAft>
              <a:buClr>
                <a:srgbClr val="3D6AA7"/>
              </a:buClr>
              <a:buSzPct val="80000"/>
              <a:buFont typeface="Wingdings" panose="05000000000000000000" pitchFamily="2" charset="2"/>
              <a:buChar char="l"/>
            </a:pPr>
            <a:endParaRPr lang="ja-JP" altLang="en-US" sz="1050" dirty="0">
              <a:latin typeface="Arial" panose="020B0604020202020204" pitchFamily="34" charset="0"/>
              <a:ea typeface="ＭＳ Ｐゴシック" panose="020B0600070205080204" pitchFamily="50" charset="-128"/>
            </a:endParaRPr>
          </a:p>
        </p:txBody>
      </p:sp>
    </p:spTree>
    <p:extLst>
      <p:ext uri="{BB962C8B-B14F-4D97-AF65-F5344CB8AC3E}">
        <p14:creationId xmlns:p14="http://schemas.microsoft.com/office/powerpoint/2010/main" val="28596824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片側の 2 つの角を丸めた四角形 19"/>
          <p:cNvSpPr/>
          <p:nvPr/>
        </p:nvSpPr>
        <p:spPr>
          <a:xfrm>
            <a:off x="1928664" y="5373216"/>
            <a:ext cx="6048672" cy="936104"/>
          </a:xfrm>
          <a:prstGeom prst="round2SameRect">
            <a:avLst>
              <a:gd name="adj1" fmla="val 0"/>
              <a:gd name="adj2" fmla="val 5777"/>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ボックス 63"/>
          <p:cNvSpPr txBox="1"/>
          <p:nvPr/>
        </p:nvSpPr>
        <p:spPr>
          <a:xfrm>
            <a:off x="6825208" y="5632798"/>
            <a:ext cx="645825" cy="244523"/>
          </a:xfrm>
          <a:prstGeom prst="rect">
            <a:avLst/>
          </a:prstGeom>
          <a:noFill/>
          <a:ln cmpd="sng">
            <a:noFill/>
          </a:ln>
          <a:extLst>
            <a:ext uri="{909E8E84-426E-40DD-AFC4-6F175D3DCCD1}">
              <a14:hiddenFill xmlns:a14="http://schemas.microsoft.com/office/drawing/2010/main">
                <a:gradFill flip="none" rotWithShape="1">
                  <a:gsLst>
                    <a:gs pos="0">
                      <a:srgbClr val="F24A38"/>
                    </a:gs>
                    <a:gs pos="100000">
                      <a:srgbClr val="DDE6F3"/>
                    </a:gs>
                  </a:gsLst>
                  <a:path path="shape">
                    <a:fillToRect l="50000" t="50000" r="50000" b="50000"/>
                  </a:path>
                  <a:tileRect/>
                </a:gradFill>
              </a14:hiddenFill>
            </a:ext>
          </a:extLst>
        </p:spPr>
        <p:txBody>
          <a:bodyPr wrap="none" lIns="36000" tIns="36000" rIns="36000" bIns="36000" rtlCol="0" anchor="ctr" anchorCtr="0">
            <a:noAutofit/>
          </a:bodyPr>
          <a:lstStyle/>
          <a:p>
            <a:pPr algn="ctr" fontAlgn="ctr"/>
            <a:r>
              <a:rPr lang="ja-JP" altLang="en-US" sz="1400" spc="-20" dirty="0">
                <a:latin typeface="HGP創英角ｺﾞｼｯｸUB" panose="020B0900000000000000" pitchFamily="50" charset="-128"/>
                <a:ea typeface="HGP創英角ｺﾞｼｯｸUB" panose="020B0900000000000000" pitchFamily="50" charset="-128"/>
              </a:rPr>
              <a:t>設 立</a:t>
            </a:r>
          </a:p>
        </p:txBody>
      </p:sp>
      <p:sp>
        <p:nvSpPr>
          <p:cNvPr id="23" name="片側の 2 つの角を丸めた四角形 22"/>
          <p:cNvSpPr/>
          <p:nvPr/>
        </p:nvSpPr>
        <p:spPr bwMode="auto">
          <a:xfrm>
            <a:off x="1928664" y="5013176"/>
            <a:ext cx="6048672" cy="360040"/>
          </a:xfrm>
          <a:prstGeom prst="round2SameRect">
            <a:avLst>
              <a:gd name="adj1" fmla="val 17329"/>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14400" rtlCol="0" anchor="ctr"/>
          <a:lstStyle/>
          <a:p>
            <a:pPr algn="ctr" fontAlgn="ctr"/>
            <a:r>
              <a:rPr lang="ja-JP"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までの準備期間</a:t>
            </a:r>
          </a:p>
        </p:txBody>
      </p:sp>
      <p:sp>
        <p:nvSpPr>
          <p:cNvPr id="27" name="片側の 2 つの角を丸めた四角形 26"/>
          <p:cNvSpPr/>
          <p:nvPr/>
        </p:nvSpPr>
        <p:spPr>
          <a:xfrm>
            <a:off x="1928664" y="2589891"/>
            <a:ext cx="6048672" cy="911117"/>
          </a:xfrm>
          <a:prstGeom prst="round2SameRect">
            <a:avLst>
              <a:gd name="adj1" fmla="val 0"/>
              <a:gd name="adj2" fmla="val 8632"/>
            </a:avLst>
          </a:prstGeom>
          <a:solidFill>
            <a:srgbClr val="DDE6F3"/>
          </a:solidFill>
          <a:effectLst/>
        </p:spPr>
        <p:txBody>
          <a:bodyPr wrap="square" lIns="144000" tIns="144000" rIns="144000" bIns="0" anchor="t" anchorCtr="0">
            <a:noAutofit/>
          </a:bodyPr>
          <a:lstStyle/>
          <a:p>
            <a:pPr marL="171450" lvl="0" indent="-171450">
              <a:lnSpc>
                <a:spcPct val="113000"/>
              </a:lnSpc>
              <a:spcAft>
                <a:spcPts val="400"/>
              </a:spcAft>
              <a:buClr>
                <a:srgbClr val="3D6AA7"/>
              </a:buClr>
              <a:buSzPct val="90000"/>
              <a:buFont typeface="Wingdings" panose="05000000000000000000" pitchFamily="2" charset="2"/>
              <a:buChar char="l"/>
            </a:pPr>
            <a:r>
              <a:rPr lang="ja-JP" altLang="en-US" sz="1100" dirty="0">
                <a:solidFill>
                  <a:srgbClr val="000000"/>
                </a:solidFill>
                <a:latin typeface="ＭＳ Ｐゴシック" panose="020B0600070205080204" pitchFamily="50" charset="-128"/>
                <a:ea typeface="ＭＳ Ｐゴシック" panose="020B0600070205080204" pitchFamily="50" charset="-128"/>
              </a:rPr>
              <a:t>会社設立手続きは、煩雑で、言語の問題もあるため、</a:t>
            </a:r>
            <a:r>
              <a:rPr lang="ja-JP" altLang="en-US" sz="1100" b="1" dirty="0">
                <a:solidFill>
                  <a:srgbClr val="000000"/>
                </a:solidFill>
                <a:latin typeface="ＭＳ Ｐゴシック" panose="020B0600070205080204" pitchFamily="50" charset="-128"/>
                <a:ea typeface="ＭＳ Ｐゴシック" panose="020B0600070205080204" pitchFamily="50" charset="-128"/>
              </a:rPr>
              <a:t>現地の弁護士事務所や会計事務所に委託</a:t>
            </a:r>
            <a:r>
              <a:rPr lang="ja-JP" altLang="en-US" sz="1100" dirty="0">
                <a:solidFill>
                  <a:srgbClr val="000000"/>
                </a:solidFill>
                <a:latin typeface="ＭＳ Ｐゴシック" panose="020B0600070205080204" pitchFamily="50" charset="-128"/>
                <a:ea typeface="ＭＳ Ｐゴシック" panose="020B0600070205080204" pitchFamily="50" charset="-128"/>
              </a:rPr>
              <a:t>するケースが多い。日本語や英語の堪能なスタッフがいる事務所も複数ある。</a:t>
            </a:r>
            <a:endParaRPr lang="en-US" altLang="ja-JP" sz="1100" dirty="0">
              <a:solidFill>
                <a:srgbClr val="000000"/>
              </a:solidFill>
              <a:latin typeface="ＭＳ Ｐゴシック" panose="020B0600070205080204" pitchFamily="50" charset="-128"/>
              <a:ea typeface="ＭＳ Ｐゴシック" panose="020B0600070205080204" pitchFamily="50" charset="-128"/>
            </a:endParaRPr>
          </a:p>
        </p:txBody>
      </p:sp>
      <p:sp>
        <p:nvSpPr>
          <p:cNvPr id="16" name="片側の 2 つの角を丸めた四角形 15"/>
          <p:cNvSpPr/>
          <p:nvPr/>
        </p:nvSpPr>
        <p:spPr bwMode="auto">
          <a:xfrm>
            <a:off x="1928664" y="3645024"/>
            <a:ext cx="6048672" cy="360040"/>
          </a:xfrm>
          <a:prstGeom prst="round2SameRect">
            <a:avLst>
              <a:gd name="adj1" fmla="val 14457"/>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14400" rtlCol="0" anchor="ctr"/>
          <a:lstStyle/>
          <a:p>
            <a:pPr algn="ctr" fontAlgn="ctr"/>
            <a:r>
              <a:rPr lang="ja-JP"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形態</a:t>
            </a:r>
          </a:p>
        </p:txBody>
      </p:sp>
      <p:sp>
        <p:nvSpPr>
          <p:cNvPr id="46" name="片側の 2 つの角を丸めた四角形 45"/>
          <p:cNvSpPr/>
          <p:nvPr/>
        </p:nvSpPr>
        <p:spPr bwMode="auto">
          <a:xfrm>
            <a:off x="1928664" y="2229851"/>
            <a:ext cx="6048672" cy="360040"/>
          </a:xfrm>
          <a:prstGeom prst="round2SameRect">
            <a:avLst>
              <a:gd name="adj1" fmla="val 20655"/>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14400" rtlCol="0" anchor="ctr"/>
          <a:lstStyle/>
          <a:p>
            <a:pPr algn="ctr" fontAlgn="ctr"/>
            <a:r>
              <a:rPr lang="ja-JP"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社設立手続き</a:t>
            </a:r>
          </a:p>
        </p:txBody>
      </p:sp>
      <p:sp>
        <p:nvSpPr>
          <p:cNvPr id="2" name="タイトル 1"/>
          <p:cNvSpPr>
            <a:spLocks noGrp="1"/>
          </p:cNvSpPr>
          <p:nvPr>
            <p:ph type="title"/>
          </p:nvPr>
        </p:nvSpPr>
        <p:spPr/>
        <p:txBody>
          <a:bodyPr/>
          <a:lstStyle/>
          <a:p>
            <a:r>
              <a:rPr lang="ja-JP" altLang="en-US" dirty="0"/>
              <a:t>ブラジル／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a:t>
            </a:r>
          </a:p>
        </p:txBody>
      </p:sp>
      <p:sp>
        <p:nvSpPr>
          <p:cNvPr id="34" name="テキスト ボックス 33"/>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solidFill>
                  <a:srgbClr val="000000"/>
                </a:solidFill>
              </a:rPr>
              <a:t>JETRO</a:t>
            </a:r>
            <a:r>
              <a:rPr lang="ja-JP" altLang="en-US" sz="800" dirty="0">
                <a:solidFill>
                  <a:srgbClr val="000000"/>
                </a:solidFill>
              </a:rPr>
              <a:t> ホームページ</a:t>
            </a:r>
          </a:p>
        </p:txBody>
      </p:sp>
      <p:sp>
        <p:nvSpPr>
          <p:cNvPr id="47" name="テキスト ボックス 46"/>
          <p:cNvSpPr txBox="1"/>
          <p:nvPr/>
        </p:nvSpPr>
        <p:spPr>
          <a:xfrm>
            <a:off x="200472" y="1125538"/>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ブラジルにおいては、比較的簡単な有限会社形式での設立が多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会社設立手続きは、煩雑で言葉の問題もあるため、現地の弁護士事務所や会計事務所に委託するケースが多い。</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0" name="グループ化 7"/>
          <p:cNvGrpSpPr/>
          <p:nvPr/>
        </p:nvGrpSpPr>
        <p:grpSpPr>
          <a:xfrm>
            <a:off x="1640632" y="1700808"/>
            <a:ext cx="6624736" cy="288032"/>
            <a:chOff x="4944173" y="2113806"/>
            <a:chExt cx="5861371" cy="288032"/>
          </a:xfrm>
        </p:grpSpPr>
        <p:cxnSp>
          <p:nvCxnSpPr>
            <p:cNvPr id="51" name="直線コネクタ 50"/>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2"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会社法</a:t>
              </a:r>
            </a:p>
          </p:txBody>
        </p:sp>
      </p:grpSp>
      <p:grpSp>
        <p:nvGrpSpPr>
          <p:cNvPr id="45" name="グループ化 44"/>
          <p:cNvGrpSpPr/>
          <p:nvPr/>
        </p:nvGrpSpPr>
        <p:grpSpPr>
          <a:xfrm>
            <a:off x="7367084" y="3697408"/>
            <a:ext cx="440284" cy="332831"/>
            <a:chOff x="3644601" y="3978082"/>
            <a:chExt cx="440284" cy="332831"/>
          </a:xfrm>
        </p:grpSpPr>
        <p:grpSp>
          <p:nvGrpSpPr>
            <p:cNvPr id="48" name="グループ化 47"/>
            <p:cNvGrpSpPr/>
            <p:nvPr/>
          </p:nvGrpSpPr>
          <p:grpSpPr>
            <a:xfrm>
              <a:off x="3644601" y="3978082"/>
              <a:ext cx="440284" cy="332831"/>
              <a:chOff x="3644601" y="3978082"/>
              <a:chExt cx="440284" cy="332831"/>
            </a:xfrm>
          </p:grpSpPr>
          <p:sp>
            <p:nvSpPr>
              <p:cNvPr id="54" name="正方形/長方形 53"/>
              <p:cNvSpPr/>
              <p:nvPr/>
            </p:nvSpPr>
            <p:spPr>
              <a:xfrm>
                <a:off x="3644601" y="3983320"/>
                <a:ext cx="342443" cy="326730"/>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3669506" y="4004748"/>
                <a:ext cx="292497" cy="92603"/>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3744914" y="4167401"/>
                <a:ext cx="69849" cy="142649"/>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直角三角形 56"/>
              <p:cNvSpPr/>
              <p:nvPr/>
            </p:nvSpPr>
            <p:spPr>
              <a:xfrm>
                <a:off x="3987044" y="3978082"/>
                <a:ext cx="97841" cy="97841"/>
              </a:xfrm>
              <a:prstGeom prst="rtTriangl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3987044" y="4075922"/>
                <a:ext cx="97841" cy="234991"/>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3" name="正方形/長方形 52"/>
            <p:cNvSpPr/>
            <p:nvPr/>
          </p:nvSpPr>
          <p:spPr>
            <a:xfrm>
              <a:off x="3823495" y="4167401"/>
              <a:ext cx="69849" cy="142649"/>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7" name="グループ化 6"/>
          <p:cNvGrpSpPr/>
          <p:nvPr/>
        </p:nvGrpSpPr>
        <p:grpSpPr>
          <a:xfrm>
            <a:off x="7244258" y="2145312"/>
            <a:ext cx="523714" cy="476233"/>
            <a:chOff x="6794156" y="2660577"/>
            <a:chExt cx="668269" cy="607683"/>
          </a:xfrm>
        </p:grpSpPr>
        <p:grpSp>
          <p:nvGrpSpPr>
            <p:cNvPr id="6" name="グループ化 5"/>
            <p:cNvGrpSpPr/>
            <p:nvPr/>
          </p:nvGrpSpPr>
          <p:grpSpPr>
            <a:xfrm>
              <a:off x="6794156" y="2660577"/>
              <a:ext cx="607348" cy="488562"/>
              <a:chOff x="6794156" y="2660577"/>
              <a:chExt cx="607348" cy="488562"/>
            </a:xfrm>
          </p:grpSpPr>
          <p:sp>
            <p:nvSpPr>
              <p:cNvPr id="12" name="Freeform 6"/>
              <p:cNvSpPr>
                <a:spLocks/>
              </p:cNvSpPr>
              <p:nvPr/>
            </p:nvSpPr>
            <p:spPr bwMode="auto">
              <a:xfrm>
                <a:off x="6794156" y="2660577"/>
                <a:ext cx="607348" cy="48856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DDE6F3"/>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2" name="Freeform 6"/>
              <p:cNvSpPr>
                <a:spLocks/>
              </p:cNvSpPr>
              <p:nvPr/>
            </p:nvSpPr>
            <p:spPr bwMode="auto">
              <a:xfrm>
                <a:off x="7085103" y="2732847"/>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Freeform 6"/>
              <p:cNvSpPr>
                <a:spLocks/>
              </p:cNvSpPr>
              <p:nvPr/>
            </p:nvSpPr>
            <p:spPr bwMode="auto">
              <a:xfrm>
                <a:off x="7037483" y="2794758"/>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36" name="Freeform 6"/>
              <p:cNvSpPr>
                <a:spLocks/>
              </p:cNvSpPr>
              <p:nvPr/>
            </p:nvSpPr>
            <p:spPr bwMode="auto">
              <a:xfrm>
                <a:off x="6987482" y="2851911"/>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38" name="Freeform 6"/>
              <p:cNvSpPr>
                <a:spLocks/>
              </p:cNvSpPr>
              <p:nvPr/>
            </p:nvSpPr>
            <p:spPr bwMode="auto">
              <a:xfrm rot="158526">
                <a:off x="6935100" y="2904301"/>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39" name="Freeform 6"/>
              <p:cNvSpPr>
                <a:spLocks/>
              </p:cNvSpPr>
              <p:nvPr/>
            </p:nvSpPr>
            <p:spPr bwMode="auto">
              <a:xfrm rot="235701">
                <a:off x="6877956" y="2966213"/>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40" name="グループ化 39"/>
            <p:cNvGrpSpPr/>
            <p:nvPr/>
          </p:nvGrpSpPr>
          <p:grpSpPr>
            <a:xfrm>
              <a:off x="6855077" y="2779698"/>
              <a:ext cx="607348" cy="488562"/>
              <a:chOff x="6794156" y="2660577"/>
              <a:chExt cx="607348" cy="488562"/>
            </a:xfrm>
          </p:grpSpPr>
          <p:sp>
            <p:nvSpPr>
              <p:cNvPr id="41" name="Freeform 6"/>
              <p:cNvSpPr>
                <a:spLocks/>
              </p:cNvSpPr>
              <p:nvPr/>
            </p:nvSpPr>
            <p:spPr bwMode="auto">
              <a:xfrm>
                <a:off x="6794156" y="2660577"/>
                <a:ext cx="607348" cy="48856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DDE6F3"/>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2" name="Freeform 6"/>
              <p:cNvSpPr>
                <a:spLocks/>
              </p:cNvSpPr>
              <p:nvPr/>
            </p:nvSpPr>
            <p:spPr bwMode="auto">
              <a:xfrm>
                <a:off x="7085103" y="2732847"/>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43" name="Freeform 6"/>
              <p:cNvSpPr>
                <a:spLocks/>
              </p:cNvSpPr>
              <p:nvPr/>
            </p:nvSpPr>
            <p:spPr bwMode="auto">
              <a:xfrm>
                <a:off x="7037483" y="2794758"/>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59" name="Freeform 6"/>
              <p:cNvSpPr>
                <a:spLocks/>
              </p:cNvSpPr>
              <p:nvPr/>
            </p:nvSpPr>
            <p:spPr bwMode="auto">
              <a:xfrm>
                <a:off x="6987482" y="2851911"/>
                <a:ext cx="242535"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60" name="Freeform 6"/>
              <p:cNvSpPr>
                <a:spLocks/>
              </p:cNvSpPr>
              <p:nvPr/>
            </p:nvSpPr>
            <p:spPr bwMode="auto">
              <a:xfrm rot="158526">
                <a:off x="6935100" y="2904301"/>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61" name="Freeform 6"/>
              <p:cNvSpPr>
                <a:spLocks/>
              </p:cNvSpPr>
              <p:nvPr/>
            </p:nvSpPr>
            <p:spPr bwMode="auto">
              <a:xfrm rot="235701">
                <a:off x="6877956" y="2966213"/>
                <a:ext cx="242536" cy="93702"/>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2614"/>
                  <a:gd name="connsiteX1" fmla="*/ 0 w 10000"/>
                  <a:gd name="connsiteY1" fmla="*/ 6804 h 12614"/>
                  <a:gd name="connsiteX2" fmla="*/ 4987 w 10000"/>
                  <a:gd name="connsiteY2" fmla="*/ 0 h 12614"/>
                  <a:gd name="connsiteX3" fmla="*/ 10000 w 10000"/>
                  <a:gd name="connsiteY3" fmla="*/ 2405 h 12614"/>
                  <a:gd name="connsiteX4" fmla="*/ 6646 w 10000"/>
                  <a:gd name="connsiteY4" fmla="*/ 11872 h 12614"/>
                  <a:gd name="connsiteX5" fmla="*/ 6791 w 10000"/>
                  <a:gd name="connsiteY5" fmla="*/ 12009 h 12614"/>
                  <a:gd name="connsiteX0" fmla="*/ 5140 w 10000"/>
                  <a:gd name="connsiteY0" fmla="*/ 10000 h 11872"/>
                  <a:gd name="connsiteX1" fmla="*/ 0 w 10000"/>
                  <a:gd name="connsiteY1" fmla="*/ 6804 h 11872"/>
                  <a:gd name="connsiteX2" fmla="*/ 4987 w 10000"/>
                  <a:gd name="connsiteY2" fmla="*/ 0 h 11872"/>
                  <a:gd name="connsiteX3" fmla="*/ 10000 w 10000"/>
                  <a:gd name="connsiteY3" fmla="*/ 2405 h 11872"/>
                  <a:gd name="connsiteX4" fmla="*/ 6646 w 10000"/>
                  <a:gd name="connsiteY4" fmla="*/ 11872 h 11872"/>
                  <a:gd name="connsiteX0" fmla="*/ 5140 w 10000"/>
                  <a:gd name="connsiteY0" fmla="*/ 10000 h 10000"/>
                  <a:gd name="connsiteX1" fmla="*/ 0 w 10000"/>
                  <a:gd name="connsiteY1" fmla="*/ 6804 h 10000"/>
                  <a:gd name="connsiteX2" fmla="*/ 4987 w 10000"/>
                  <a:gd name="connsiteY2" fmla="*/ 0 h 10000"/>
                  <a:gd name="connsiteX3" fmla="*/ 10000 w 10000"/>
                  <a:gd name="connsiteY3" fmla="*/ 2405 h 10000"/>
                  <a:gd name="connsiteX0" fmla="*/ 0 w 10000"/>
                  <a:gd name="connsiteY0" fmla="*/ 6804 h 6804"/>
                  <a:gd name="connsiteX1" fmla="*/ 4987 w 10000"/>
                  <a:gd name="connsiteY1" fmla="*/ 0 h 6804"/>
                  <a:gd name="connsiteX2" fmla="*/ 10000 w 10000"/>
                  <a:gd name="connsiteY2" fmla="*/ 2405 h 6804"/>
                  <a:gd name="connsiteX0" fmla="*/ 0 w 5013"/>
                  <a:gd name="connsiteY0" fmla="*/ 0 h 3535"/>
                  <a:gd name="connsiteX1" fmla="*/ 5013 w 5013"/>
                  <a:gd name="connsiteY1" fmla="*/ 3535 h 3535"/>
                  <a:gd name="connsiteX0" fmla="*/ 0 w 7966"/>
                  <a:gd name="connsiteY0" fmla="*/ 0 h 7974"/>
                  <a:gd name="connsiteX1" fmla="*/ 7966 w 7966"/>
                  <a:gd name="connsiteY1" fmla="*/ 7974 h 7974"/>
                </a:gdLst>
                <a:ahLst/>
                <a:cxnLst>
                  <a:cxn ang="0">
                    <a:pos x="connsiteX0" y="connsiteY0"/>
                  </a:cxn>
                  <a:cxn ang="0">
                    <a:pos x="connsiteX1" y="connsiteY1"/>
                  </a:cxn>
                </a:cxnLst>
                <a:rect l="l" t="t" r="r" b="b"/>
                <a:pathLst>
                  <a:path w="7966" h="7974">
                    <a:moveTo>
                      <a:pt x="0" y="0"/>
                    </a:moveTo>
                    <a:cubicBezTo>
                      <a:pt x="0" y="0"/>
                      <a:pt x="3145" y="5340"/>
                      <a:pt x="7966" y="7974"/>
                    </a:cubicBezTo>
                  </a:path>
                </a:pathLst>
              </a:custGeom>
              <a:noFill/>
              <a:ln w="9525" cap="flat" cmpd="sng" algn="ctr">
                <a:solidFill>
                  <a:srgbClr val="83A4D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44" name="ホームベース 43"/>
          <p:cNvSpPr/>
          <p:nvPr/>
        </p:nvSpPr>
        <p:spPr>
          <a:xfrm>
            <a:off x="2648744" y="5992838"/>
            <a:ext cx="4361656" cy="103432"/>
          </a:xfrm>
          <a:prstGeom prst="homePlate">
            <a:avLst>
              <a:gd name="adj" fmla="val 104657"/>
            </a:avLst>
          </a:prstGeom>
          <a:gradFill flip="none" rotWithShape="1">
            <a:gsLst>
              <a:gs pos="0">
                <a:srgbClr val="83A4D1"/>
              </a:gs>
              <a:gs pos="100000">
                <a:srgbClr val="A2BBDC"/>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3D6AA7"/>
              </a:buClr>
              <a:buSzPct val="90000"/>
            </a:pPr>
            <a:endParaRPr lang="ja-JP" altLang="en-US" sz="1050" spc="110" dirty="0">
              <a:solidFill>
                <a:schemeClr val="tx1"/>
              </a:solidFill>
              <a:latin typeface="ＭＳ Ｐゴシック" panose="020B0600070205080204" pitchFamily="50" charset="-128"/>
              <a:ea typeface="ＭＳ Ｐゴシック" panose="020B0600070205080204" pitchFamily="50" charset="-128"/>
            </a:endParaRPr>
          </a:p>
        </p:txBody>
      </p:sp>
      <p:sp>
        <p:nvSpPr>
          <p:cNvPr id="63" name="円/楕円 62"/>
          <p:cNvSpPr/>
          <p:nvPr/>
        </p:nvSpPr>
        <p:spPr>
          <a:xfrm rot="16200000">
            <a:off x="2472780" y="5920830"/>
            <a:ext cx="244474" cy="244474"/>
          </a:xfrm>
          <a:prstGeom prst="ellipse">
            <a:avLst/>
          </a:prstGeom>
          <a:solidFill>
            <a:srgbClr val="3D6AA7"/>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円/楕円 61"/>
          <p:cNvSpPr/>
          <p:nvPr/>
        </p:nvSpPr>
        <p:spPr>
          <a:xfrm rot="16200000">
            <a:off x="7033453" y="5920830"/>
            <a:ext cx="244474" cy="244474"/>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2870552" y="5524290"/>
            <a:ext cx="3816424" cy="461537"/>
          </a:xfrm>
          <a:prstGeom prst="rect">
            <a:avLst/>
          </a:prstGeom>
        </p:spPr>
        <p:txBody>
          <a:bodyPr wrap="square">
            <a:spAutoFit/>
          </a:bodyPr>
          <a:lstStyle/>
          <a:p>
            <a:pPr algn="ctr">
              <a:lnSpc>
                <a:spcPct val="113000"/>
              </a:lnSpc>
              <a:spcAft>
                <a:spcPts val="400"/>
              </a:spcAft>
              <a:buClr>
                <a:srgbClr val="3D6AA7"/>
              </a:buClr>
              <a:buSzPct val="90000"/>
            </a:pPr>
            <a:r>
              <a:rPr lang="ja-JP" altLang="en-US" sz="1100" dirty="0">
                <a:latin typeface="ＭＳ Ｐゴシック" panose="020B0600070205080204" pitchFamily="50" charset="-128"/>
                <a:ea typeface="ＭＳ Ｐゴシック" panose="020B0600070205080204" pitchFamily="50" charset="-128"/>
              </a:rPr>
              <a:t>現地</a:t>
            </a:r>
            <a:r>
              <a:rPr lang="ja-JP" altLang="en-US" sz="1100" dirty="0">
                <a:solidFill>
                  <a:srgbClr val="000000"/>
                </a:solidFill>
                <a:latin typeface="ＭＳ Ｐゴシック" panose="020B0600070205080204" pitchFamily="50" charset="-128"/>
                <a:ea typeface="ＭＳ Ｐゴシック" panose="020B0600070205080204" pitchFamily="50" charset="-128"/>
              </a:rPr>
              <a:t>法人登記や必須ライセンスの申請・取得が必要なため</a:t>
            </a:r>
            <a:br>
              <a:rPr lang="en-US" altLang="ja-JP" sz="1100" dirty="0">
                <a:solidFill>
                  <a:srgbClr val="000000"/>
                </a:solidFill>
                <a:latin typeface="ＭＳ Ｐゴシック" panose="020B0600070205080204" pitchFamily="50" charset="-128"/>
                <a:ea typeface="ＭＳ Ｐゴシック" panose="020B0600070205080204" pitchFamily="50" charset="-128"/>
              </a:rPr>
            </a:br>
            <a:r>
              <a:rPr lang="ja-JP" altLang="en-US" sz="1100" b="1" dirty="0">
                <a:solidFill>
                  <a:srgbClr val="000000"/>
                </a:solidFill>
                <a:latin typeface="ＭＳ Ｐゴシック" panose="020B0600070205080204" pitchFamily="50" charset="-128"/>
                <a:ea typeface="ＭＳ Ｐゴシック" panose="020B0600070205080204" pitchFamily="50" charset="-128"/>
              </a:rPr>
              <a:t>半年から</a:t>
            </a:r>
            <a:r>
              <a:rPr lang="en-US" altLang="ja-JP" sz="1100" b="1" dirty="0">
                <a:solidFill>
                  <a:srgbClr val="000000"/>
                </a:solidFill>
                <a:latin typeface="ＭＳ Ｐゴシック" panose="020B0600070205080204" pitchFamily="50" charset="-128"/>
                <a:ea typeface="ＭＳ Ｐゴシック" panose="020B0600070205080204" pitchFamily="50" charset="-128"/>
              </a:rPr>
              <a:t>1</a:t>
            </a:r>
            <a:r>
              <a:rPr lang="ja-JP" altLang="en-US" sz="1100" b="1" dirty="0">
                <a:solidFill>
                  <a:srgbClr val="000000"/>
                </a:solidFill>
                <a:latin typeface="ＭＳ Ｐゴシック" panose="020B0600070205080204" pitchFamily="50" charset="-128"/>
                <a:ea typeface="ＭＳ Ｐゴシック" panose="020B0600070205080204" pitchFamily="50" charset="-128"/>
              </a:rPr>
              <a:t>年以上かかることもある。</a:t>
            </a:r>
          </a:p>
        </p:txBody>
      </p:sp>
      <p:sp>
        <p:nvSpPr>
          <p:cNvPr id="65" name="片側の 2 つの角を丸めた四角形 64"/>
          <p:cNvSpPr/>
          <p:nvPr/>
        </p:nvSpPr>
        <p:spPr>
          <a:xfrm>
            <a:off x="1928664" y="4005065"/>
            <a:ext cx="6048672" cy="864096"/>
          </a:xfrm>
          <a:prstGeom prst="round2SameRect">
            <a:avLst>
              <a:gd name="adj1" fmla="val 0"/>
              <a:gd name="adj2" fmla="val 8632"/>
            </a:avLst>
          </a:prstGeom>
          <a:solidFill>
            <a:srgbClr val="DDE6F3"/>
          </a:solidFill>
          <a:effectLst/>
        </p:spPr>
        <p:txBody>
          <a:bodyPr wrap="square" lIns="144000" tIns="144000" rIns="144000" bIns="0" anchor="t" anchorCtr="0">
            <a:noAutofit/>
          </a:bodyPr>
          <a:lstStyle/>
          <a:p>
            <a:pPr marL="171450" lvl="0" indent="-171450">
              <a:lnSpc>
                <a:spcPct val="113000"/>
              </a:lnSpc>
              <a:spcAft>
                <a:spcPts val="400"/>
              </a:spcAft>
              <a:buClr>
                <a:srgbClr val="3D6AA7"/>
              </a:buClr>
              <a:buSzPct val="90000"/>
              <a:buFont typeface="Wingdings" panose="05000000000000000000" pitchFamily="2" charset="2"/>
              <a:buChar char="l"/>
            </a:pPr>
            <a:r>
              <a:rPr lang="ja-JP" altLang="en-US" sz="1100" dirty="0">
                <a:solidFill>
                  <a:srgbClr val="000000"/>
                </a:solidFill>
                <a:latin typeface="ＭＳ Ｐゴシック" panose="020B0600070205080204" pitchFamily="50" charset="-128"/>
                <a:ea typeface="ＭＳ Ｐゴシック" panose="020B0600070205080204" pitchFamily="50" charset="-128"/>
              </a:rPr>
              <a:t>設立が比較的簡単な</a:t>
            </a:r>
            <a:r>
              <a:rPr lang="ja-JP" altLang="en-US" sz="1100" b="1" dirty="0">
                <a:solidFill>
                  <a:srgbClr val="000000"/>
                </a:solidFill>
                <a:latin typeface="ＭＳ Ｐゴシック" panose="020B0600070205080204" pitchFamily="50" charset="-128"/>
                <a:ea typeface="ＭＳ Ｐゴシック" panose="020B0600070205080204" pitchFamily="50" charset="-128"/>
              </a:rPr>
              <a:t>有限会社形式</a:t>
            </a:r>
            <a:r>
              <a:rPr lang="ja-JP" altLang="en-US" sz="1100" dirty="0">
                <a:solidFill>
                  <a:srgbClr val="000000"/>
                </a:solidFill>
                <a:latin typeface="ＭＳ Ｐゴシック" panose="020B0600070205080204" pitchFamily="50" charset="-128"/>
                <a:ea typeface="ＭＳ Ｐゴシック" panose="020B0600070205080204" pitchFamily="50" charset="-128"/>
              </a:rPr>
              <a:t>での設立が多い。</a:t>
            </a:r>
            <a:endParaRPr lang="en-US" altLang="ja-JP" sz="1100" dirty="0">
              <a:solidFill>
                <a:srgbClr val="000000"/>
              </a:solidFill>
              <a:latin typeface="ＭＳ Ｐゴシック" panose="020B0600070205080204" pitchFamily="50" charset="-128"/>
              <a:ea typeface="ＭＳ Ｐゴシック" panose="020B0600070205080204" pitchFamily="50" charset="-128"/>
            </a:endParaRPr>
          </a:p>
          <a:p>
            <a:pPr marL="171450" lvl="0" indent="-171450">
              <a:lnSpc>
                <a:spcPct val="113000"/>
              </a:lnSpc>
              <a:spcAft>
                <a:spcPts val="400"/>
              </a:spcAft>
              <a:buClr>
                <a:srgbClr val="3D6AA7"/>
              </a:buClr>
              <a:buSzPct val="90000"/>
              <a:buFont typeface="Wingdings" panose="05000000000000000000" pitchFamily="2" charset="2"/>
              <a:buChar char="l"/>
            </a:pPr>
            <a:r>
              <a:rPr lang="ja-JP" altLang="en-US" sz="1100" dirty="0">
                <a:solidFill>
                  <a:srgbClr val="000000"/>
                </a:solidFill>
                <a:latin typeface="ＭＳ Ｐゴシック" panose="020B0600070205080204" pitchFamily="50" charset="-128"/>
                <a:ea typeface="ＭＳ Ｐゴシック" panose="020B0600070205080204" pitchFamily="50" charset="-128"/>
              </a:rPr>
              <a:t>現地法人を設立せずに駐在員事務所を設立することは、特別なケースを除き認められない。</a:t>
            </a:r>
          </a:p>
        </p:txBody>
      </p:sp>
      <p:sp>
        <p:nvSpPr>
          <p:cNvPr id="66" name="テキスト ボックス 65"/>
          <p:cNvSpPr txBox="1"/>
          <p:nvPr/>
        </p:nvSpPr>
        <p:spPr>
          <a:xfrm>
            <a:off x="2288704" y="5632798"/>
            <a:ext cx="645825" cy="244523"/>
          </a:xfrm>
          <a:prstGeom prst="rect">
            <a:avLst/>
          </a:prstGeom>
          <a:noFill/>
          <a:ln cmpd="sng">
            <a:noFill/>
          </a:ln>
          <a:extLst>
            <a:ext uri="{909E8E84-426E-40DD-AFC4-6F175D3DCCD1}">
              <a14:hiddenFill xmlns:a14="http://schemas.microsoft.com/office/drawing/2010/main">
                <a:gradFill flip="none" rotWithShape="1">
                  <a:gsLst>
                    <a:gs pos="0">
                      <a:srgbClr val="F24A38"/>
                    </a:gs>
                    <a:gs pos="100000">
                      <a:srgbClr val="DDE6F3"/>
                    </a:gs>
                  </a:gsLst>
                  <a:path path="shape">
                    <a:fillToRect l="50000" t="50000" r="50000" b="50000"/>
                  </a:path>
                  <a:tileRect/>
                </a:gradFill>
              </a14:hiddenFill>
            </a:ext>
          </a:extLst>
        </p:spPr>
        <p:txBody>
          <a:bodyPr wrap="none" lIns="36000" tIns="36000" rIns="36000" bIns="36000" rtlCol="0" anchor="ctr" anchorCtr="0">
            <a:noAutofit/>
          </a:bodyPr>
          <a:lstStyle/>
          <a:p>
            <a:pPr algn="ctr" fontAlgn="ctr"/>
            <a:r>
              <a:rPr lang="ja-JP" altLang="en-US" sz="1400" spc="-20" dirty="0">
                <a:latin typeface="HGP創英角ｺﾞｼｯｸUB" panose="020B0900000000000000" pitchFamily="50" charset="-128"/>
                <a:ea typeface="HGP創英角ｺﾞｼｯｸUB" panose="020B0900000000000000" pitchFamily="50" charset="-128"/>
              </a:rPr>
              <a:t>申 請</a:t>
            </a:r>
          </a:p>
        </p:txBody>
      </p:sp>
    </p:spTree>
    <p:extLst>
      <p:ext uri="{BB962C8B-B14F-4D97-AF65-F5344CB8AC3E}">
        <p14:creationId xmlns:p14="http://schemas.microsoft.com/office/powerpoint/2010/main" val="11302739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グループ化 7"/>
          <p:cNvGrpSpPr/>
          <p:nvPr/>
        </p:nvGrpSpPr>
        <p:grpSpPr>
          <a:xfrm>
            <a:off x="5745088" y="2636912"/>
            <a:ext cx="3306271" cy="3500946"/>
            <a:chOff x="6536775" y="60127"/>
            <a:chExt cx="3795713" cy="4019207"/>
          </a:xfrm>
        </p:grpSpPr>
        <p:sp>
          <p:nvSpPr>
            <p:cNvPr id="26" name="Freeform 7"/>
            <p:cNvSpPr>
              <a:spLocks/>
            </p:cNvSpPr>
            <p:nvPr/>
          </p:nvSpPr>
          <p:spPr bwMode="auto">
            <a:xfrm>
              <a:off x="6536775" y="134397"/>
              <a:ext cx="3795713" cy="3944937"/>
            </a:xfrm>
            <a:custGeom>
              <a:avLst/>
              <a:gdLst>
                <a:gd name="T0" fmla="*/ 2242 w 2391"/>
                <a:gd name="T1" fmla="*/ 667 h 2485"/>
                <a:gd name="T2" fmla="*/ 2099 w 2391"/>
                <a:gd name="T3" fmla="*/ 573 h 2485"/>
                <a:gd name="T4" fmla="*/ 1956 w 2391"/>
                <a:gd name="T5" fmla="*/ 524 h 2485"/>
                <a:gd name="T6" fmla="*/ 1818 w 2391"/>
                <a:gd name="T7" fmla="*/ 481 h 2485"/>
                <a:gd name="T8" fmla="*/ 1723 w 2391"/>
                <a:gd name="T9" fmla="*/ 381 h 2485"/>
                <a:gd name="T10" fmla="*/ 1575 w 2391"/>
                <a:gd name="T11" fmla="*/ 332 h 2485"/>
                <a:gd name="T12" fmla="*/ 1483 w 2391"/>
                <a:gd name="T13" fmla="*/ 238 h 2485"/>
                <a:gd name="T14" fmla="*/ 1388 w 2391"/>
                <a:gd name="T15" fmla="*/ 100 h 2485"/>
                <a:gd name="T16" fmla="*/ 1289 w 2391"/>
                <a:gd name="T17" fmla="*/ 143 h 2485"/>
                <a:gd name="T18" fmla="*/ 1197 w 2391"/>
                <a:gd name="T19" fmla="*/ 189 h 2485"/>
                <a:gd name="T20" fmla="*/ 1048 w 2391"/>
                <a:gd name="T21" fmla="*/ 238 h 2485"/>
                <a:gd name="T22" fmla="*/ 910 w 2391"/>
                <a:gd name="T23" fmla="*/ 238 h 2485"/>
                <a:gd name="T24" fmla="*/ 910 w 2391"/>
                <a:gd name="T25" fmla="*/ 100 h 2485"/>
                <a:gd name="T26" fmla="*/ 859 w 2391"/>
                <a:gd name="T27" fmla="*/ 0 h 2485"/>
                <a:gd name="T28" fmla="*/ 716 w 2391"/>
                <a:gd name="T29" fmla="*/ 95 h 2485"/>
                <a:gd name="T30" fmla="*/ 573 w 2391"/>
                <a:gd name="T31" fmla="*/ 46 h 2485"/>
                <a:gd name="T32" fmla="*/ 524 w 2391"/>
                <a:gd name="T33" fmla="*/ 194 h 2485"/>
                <a:gd name="T34" fmla="*/ 573 w 2391"/>
                <a:gd name="T35" fmla="*/ 286 h 2485"/>
                <a:gd name="T36" fmla="*/ 481 w 2391"/>
                <a:gd name="T37" fmla="*/ 238 h 2485"/>
                <a:gd name="T38" fmla="*/ 333 w 2391"/>
                <a:gd name="T39" fmla="*/ 238 h 2485"/>
                <a:gd name="T40" fmla="*/ 287 w 2391"/>
                <a:gd name="T41" fmla="*/ 332 h 2485"/>
                <a:gd name="T42" fmla="*/ 287 w 2391"/>
                <a:gd name="T43" fmla="*/ 476 h 2485"/>
                <a:gd name="T44" fmla="*/ 190 w 2391"/>
                <a:gd name="T45" fmla="*/ 573 h 2485"/>
                <a:gd name="T46" fmla="*/ 46 w 2391"/>
                <a:gd name="T47" fmla="*/ 716 h 2485"/>
                <a:gd name="T48" fmla="*/ 0 w 2391"/>
                <a:gd name="T49" fmla="*/ 859 h 2485"/>
                <a:gd name="T50" fmla="*/ 100 w 2391"/>
                <a:gd name="T51" fmla="*/ 959 h 2485"/>
                <a:gd name="T52" fmla="*/ 238 w 2391"/>
                <a:gd name="T53" fmla="*/ 954 h 2485"/>
                <a:gd name="T54" fmla="*/ 292 w 2391"/>
                <a:gd name="T55" fmla="*/ 1053 h 2485"/>
                <a:gd name="T56" fmla="*/ 435 w 2391"/>
                <a:gd name="T57" fmla="*/ 959 h 2485"/>
                <a:gd name="T58" fmla="*/ 524 w 2391"/>
                <a:gd name="T59" fmla="*/ 1048 h 2485"/>
                <a:gd name="T60" fmla="*/ 619 w 2391"/>
                <a:gd name="T61" fmla="*/ 1151 h 2485"/>
                <a:gd name="T62" fmla="*/ 762 w 2391"/>
                <a:gd name="T63" fmla="*/ 1245 h 2485"/>
                <a:gd name="T64" fmla="*/ 811 w 2391"/>
                <a:gd name="T65" fmla="*/ 1388 h 2485"/>
                <a:gd name="T66" fmla="*/ 954 w 2391"/>
                <a:gd name="T67" fmla="*/ 1483 h 2485"/>
                <a:gd name="T68" fmla="*/ 1002 w 2391"/>
                <a:gd name="T69" fmla="*/ 1621 h 2485"/>
                <a:gd name="T70" fmla="*/ 1054 w 2391"/>
                <a:gd name="T71" fmla="*/ 1723 h 2485"/>
                <a:gd name="T72" fmla="*/ 1146 w 2391"/>
                <a:gd name="T73" fmla="*/ 1866 h 2485"/>
                <a:gd name="T74" fmla="*/ 1240 w 2391"/>
                <a:gd name="T75" fmla="*/ 2004 h 2485"/>
                <a:gd name="T76" fmla="*/ 1146 w 2391"/>
                <a:gd name="T77" fmla="*/ 2099 h 2485"/>
                <a:gd name="T78" fmla="*/ 1002 w 2391"/>
                <a:gd name="T79" fmla="*/ 2242 h 2485"/>
                <a:gd name="T80" fmla="*/ 1102 w 2391"/>
                <a:gd name="T81" fmla="*/ 2342 h 2485"/>
                <a:gd name="T82" fmla="*/ 1240 w 2391"/>
                <a:gd name="T83" fmla="*/ 2485 h 2485"/>
                <a:gd name="T84" fmla="*/ 1388 w 2391"/>
                <a:gd name="T85" fmla="*/ 2342 h 2485"/>
                <a:gd name="T86" fmla="*/ 1437 w 2391"/>
                <a:gd name="T87" fmla="*/ 2199 h 2485"/>
                <a:gd name="T88" fmla="*/ 1532 w 2391"/>
                <a:gd name="T89" fmla="*/ 2056 h 2485"/>
                <a:gd name="T90" fmla="*/ 1580 w 2391"/>
                <a:gd name="T91" fmla="*/ 1912 h 2485"/>
                <a:gd name="T92" fmla="*/ 1723 w 2391"/>
                <a:gd name="T93" fmla="*/ 1866 h 2485"/>
                <a:gd name="T94" fmla="*/ 1867 w 2391"/>
                <a:gd name="T95" fmla="*/ 1818 h 2485"/>
                <a:gd name="T96" fmla="*/ 2010 w 2391"/>
                <a:gd name="T97" fmla="*/ 1675 h 2485"/>
                <a:gd name="T98" fmla="*/ 2104 w 2391"/>
                <a:gd name="T99" fmla="*/ 1531 h 2485"/>
                <a:gd name="T100" fmla="*/ 2104 w 2391"/>
                <a:gd name="T101" fmla="*/ 1388 h 2485"/>
                <a:gd name="T102" fmla="*/ 2153 w 2391"/>
                <a:gd name="T103" fmla="*/ 1245 h 2485"/>
                <a:gd name="T104" fmla="*/ 2247 w 2391"/>
                <a:gd name="T105" fmla="*/ 1102 h 2485"/>
                <a:gd name="T106" fmla="*/ 2342 w 2391"/>
                <a:gd name="T107" fmla="*/ 959 h 2485"/>
                <a:gd name="T108" fmla="*/ 2391 w 2391"/>
                <a:gd name="T109" fmla="*/ 816 h 2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91" h="2485">
                  <a:moveTo>
                    <a:pt x="2342" y="716"/>
                  </a:moveTo>
                  <a:lnTo>
                    <a:pt x="2342" y="667"/>
                  </a:lnTo>
                  <a:lnTo>
                    <a:pt x="2296" y="667"/>
                  </a:lnTo>
                  <a:lnTo>
                    <a:pt x="2291" y="667"/>
                  </a:lnTo>
                  <a:lnTo>
                    <a:pt x="2247" y="667"/>
                  </a:lnTo>
                  <a:lnTo>
                    <a:pt x="2242" y="667"/>
                  </a:lnTo>
                  <a:lnTo>
                    <a:pt x="2199" y="667"/>
                  </a:lnTo>
                  <a:lnTo>
                    <a:pt x="2199" y="619"/>
                  </a:lnTo>
                  <a:lnTo>
                    <a:pt x="2153" y="619"/>
                  </a:lnTo>
                  <a:lnTo>
                    <a:pt x="2153" y="573"/>
                  </a:lnTo>
                  <a:lnTo>
                    <a:pt x="2104" y="573"/>
                  </a:lnTo>
                  <a:lnTo>
                    <a:pt x="2099" y="573"/>
                  </a:lnTo>
                  <a:lnTo>
                    <a:pt x="2056" y="573"/>
                  </a:lnTo>
                  <a:lnTo>
                    <a:pt x="2056" y="524"/>
                  </a:lnTo>
                  <a:lnTo>
                    <a:pt x="2010" y="524"/>
                  </a:lnTo>
                  <a:lnTo>
                    <a:pt x="2005" y="524"/>
                  </a:lnTo>
                  <a:lnTo>
                    <a:pt x="1961" y="524"/>
                  </a:lnTo>
                  <a:lnTo>
                    <a:pt x="1956" y="524"/>
                  </a:lnTo>
                  <a:lnTo>
                    <a:pt x="1913" y="524"/>
                  </a:lnTo>
                  <a:lnTo>
                    <a:pt x="1907" y="524"/>
                  </a:lnTo>
                  <a:lnTo>
                    <a:pt x="1867" y="524"/>
                  </a:lnTo>
                  <a:lnTo>
                    <a:pt x="1861" y="524"/>
                  </a:lnTo>
                  <a:lnTo>
                    <a:pt x="1818" y="524"/>
                  </a:lnTo>
                  <a:lnTo>
                    <a:pt x="1818" y="481"/>
                  </a:lnTo>
                  <a:lnTo>
                    <a:pt x="1818" y="476"/>
                  </a:lnTo>
                  <a:lnTo>
                    <a:pt x="1818" y="430"/>
                  </a:lnTo>
                  <a:lnTo>
                    <a:pt x="1769" y="430"/>
                  </a:lnTo>
                  <a:lnTo>
                    <a:pt x="1764" y="430"/>
                  </a:lnTo>
                  <a:lnTo>
                    <a:pt x="1723" y="430"/>
                  </a:lnTo>
                  <a:lnTo>
                    <a:pt x="1723" y="381"/>
                  </a:lnTo>
                  <a:lnTo>
                    <a:pt x="1675" y="381"/>
                  </a:lnTo>
                  <a:lnTo>
                    <a:pt x="1670" y="381"/>
                  </a:lnTo>
                  <a:lnTo>
                    <a:pt x="1626" y="381"/>
                  </a:lnTo>
                  <a:lnTo>
                    <a:pt x="1626" y="332"/>
                  </a:lnTo>
                  <a:lnTo>
                    <a:pt x="1580" y="332"/>
                  </a:lnTo>
                  <a:lnTo>
                    <a:pt x="1575" y="332"/>
                  </a:lnTo>
                  <a:lnTo>
                    <a:pt x="1532" y="332"/>
                  </a:lnTo>
                  <a:lnTo>
                    <a:pt x="1527" y="332"/>
                  </a:lnTo>
                  <a:lnTo>
                    <a:pt x="1483" y="332"/>
                  </a:lnTo>
                  <a:lnTo>
                    <a:pt x="1483" y="292"/>
                  </a:lnTo>
                  <a:lnTo>
                    <a:pt x="1483" y="286"/>
                  </a:lnTo>
                  <a:lnTo>
                    <a:pt x="1483" y="238"/>
                  </a:lnTo>
                  <a:lnTo>
                    <a:pt x="1437" y="238"/>
                  </a:lnTo>
                  <a:lnTo>
                    <a:pt x="1437" y="194"/>
                  </a:lnTo>
                  <a:lnTo>
                    <a:pt x="1437" y="189"/>
                  </a:lnTo>
                  <a:lnTo>
                    <a:pt x="1437" y="143"/>
                  </a:lnTo>
                  <a:lnTo>
                    <a:pt x="1388" y="143"/>
                  </a:lnTo>
                  <a:lnTo>
                    <a:pt x="1388" y="100"/>
                  </a:lnTo>
                  <a:lnTo>
                    <a:pt x="1388" y="95"/>
                  </a:lnTo>
                  <a:lnTo>
                    <a:pt x="1388" y="46"/>
                  </a:lnTo>
                  <a:lnTo>
                    <a:pt x="1335" y="46"/>
                  </a:lnTo>
                  <a:lnTo>
                    <a:pt x="1335" y="95"/>
                  </a:lnTo>
                  <a:lnTo>
                    <a:pt x="1289" y="95"/>
                  </a:lnTo>
                  <a:lnTo>
                    <a:pt x="1289" y="143"/>
                  </a:lnTo>
                  <a:lnTo>
                    <a:pt x="1289" y="148"/>
                  </a:lnTo>
                  <a:lnTo>
                    <a:pt x="1289" y="189"/>
                  </a:lnTo>
                  <a:lnTo>
                    <a:pt x="1240" y="189"/>
                  </a:lnTo>
                  <a:lnTo>
                    <a:pt x="1240" y="238"/>
                  </a:lnTo>
                  <a:lnTo>
                    <a:pt x="1197" y="238"/>
                  </a:lnTo>
                  <a:lnTo>
                    <a:pt x="1197" y="189"/>
                  </a:lnTo>
                  <a:lnTo>
                    <a:pt x="1151" y="189"/>
                  </a:lnTo>
                  <a:lnTo>
                    <a:pt x="1146" y="189"/>
                  </a:lnTo>
                  <a:lnTo>
                    <a:pt x="1102" y="189"/>
                  </a:lnTo>
                  <a:lnTo>
                    <a:pt x="1097" y="189"/>
                  </a:lnTo>
                  <a:lnTo>
                    <a:pt x="1048" y="189"/>
                  </a:lnTo>
                  <a:lnTo>
                    <a:pt x="1048" y="238"/>
                  </a:lnTo>
                  <a:lnTo>
                    <a:pt x="1008" y="238"/>
                  </a:lnTo>
                  <a:lnTo>
                    <a:pt x="1002" y="238"/>
                  </a:lnTo>
                  <a:lnTo>
                    <a:pt x="954" y="238"/>
                  </a:lnTo>
                  <a:lnTo>
                    <a:pt x="954" y="286"/>
                  </a:lnTo>
                  <a:lnTo>
                    <a:pt x="910" y="286"/>
                  </a:lnTo>
                  <a:lnTo>
                    <a:pt x="910" y="238"/>
                  </a:lnTo>
                  <a:lnTo>
                    <a:pt x="864" y="238"/>
                  </a:lnTo>
                  <a:lnTo>
                    <a:pt x="864" y="194"/>
                  </a:lnTo>
                  <a:lnTo>
                    <a:pt x="864" y="189"/>
                  </a:lnTo>
                  <a:lnTo>
                    <a:pt x="864" y="148"/>
                  </a:lnTo>
                  <a:lnTo>
                    <a:pt x="910" y="148"/>
                  </a:lnTo>
                  <a:lnTo>
                    <a:pt x="910" y="100"/>
                  </a:lnTo>
                  <a:lnTo>
                    <a:pt x="910" y="95"/>
                  </a:lnTo>
                  <a:lnTo>
                    <a:pt x="910" y="51"/>
                  </a:lnTo>
                  <a:lnTo>
                    <a:pt x="910" y="46"/>
                  </a:lnTo>
                  <a:lnTo>
                    <a:pt x="910" y="0"/>
                  </a:lnTo>
                  <a:lnTo>
                    <a:pt x="864" y="0"/>
                  </a:lnTo>
                  <a:lnTo>
                    <a:pt x="859" y="0"/>
                  </a:lnTo>
                  <a:lnTo>
                    <a:pt x="811" y="0"/>
                  </a:lnTo>
                  <a:lnTo>
                    <a:pt x="811" y="46"/>
                  </a:lnTo>
                  <a:lnTo>
                    <a:pt x="767" y="46"/>
                  </a:lnTo>
                  <a:lnTo>
                    <a:pt x="762" y="46"/>
                  </a:lnTo>
                  <a:lnTo>
                    <a:pt x="716" y="46"/>
                  </a:lnTo>
                  <a:lnTo>
                    <a:pt x="716" y="95"/>
                  </a:lnTo>
                  <a:lnTo>
                    <a:pt x="673" y="95"/>
                  </a:lnTo>
                  <a:lnTo>
                    <a:pt x="668" y="95"/>
                  </a:lnTo>
                  <a:lnTo>
                    <a:pt x="624" y="95"/>
                  </a:lnTo>
                  <a:lnTo>
                    <a:pt x="624" y="46"/>
                  </a:lnTo>
                  <a:lnTo>
                    <a:pt x="578" y="46"/>
                  </a:lnTo>
                  <a:lnTo>
                    <a:pt x="573" y="46"/>
                  </a:lnTo>
                  <a:lnTo>
                    <a:pt x="524" y="46"/>
                  </a:lnTo>
                  <a:lnTo>
                    <a:pt x="524" y="95"/>
                  </a:lnTo>
                  <a:lnTo>
                    <a:pt x="524" y="100"/>
                  </a:lnTo>
                  <a:lnTo>
                    <a:pt x="524" y="143"/>
                  </a:lnTo>
                  <a:lnTo>
                    <a:pt x="524" y="148"/>
                  </a:lnTo>
                  <a:lnTo>
                    <a:pt x="524" y="194"/>
                  </a:lnTo>
                  <a:lnTo>
                    <a:pt x="573" y="194"/>
                  </a:lnTo>
                  <a:lnTo>
                    <a:pt x="578" y="194"/>
                  </a:lnTo>
                  <a:lnTo>
                    <a:pt x="619" y="194"/>
                  </a:lnTo>
                  <a:lnTo>
                    <a:pt x="619" y="238"/>
                  </a:lnTo>
                  <a:lnTo>
                    <a:pt x="573" y="238"/>
                  </a:lnTo>
                  <a:lnTo>
                    <a:pt x="573" y="286"/>
                  </a:lnTo>
                  <a:lnTo>
                    <a:pt x="524" y="286"/>
                  </a:lnTo>
                  <a:lnTo>
                    <a:pt x="524" y="332"/>
                  </a:lnTo>
                  <a:lnTo>
                    <a:pt x="481" y="332"/>
                  </a:lnTo>
                  <a:lnTo>
                    <a:pt x="481" y="292"/>
                  </a:lnTo>
                  <a:lnTo>
                    <a:pt x="481" y="286"/>
                  </a:lnTo>
                  <a:lnTo>
                    <a:pt x="481" y="238"/>
                  </a:lnTo>
                  <a:lnTo>
                    <a:pt x="435" y="238"/>
                  </a:lnTo>
                  <a:lnTo>
                    <a:pt x="435" y="189"/>
                  </a:lnTo>
                  <a:lnTo>
                    <a:pt x="386" y="189"/>
                  </a:lnTo>
                  <a:lnTo>
                    <a:pt x="381" y="189"/>
                  </a:lnTo>
                  <a:lnTo>
                    <a:pt x="333" y="189"/>
                  </a:lnTo>
                  <a:lnTo>
                    <a:pt x="333" y="238"/>
                  </a:lnTo>
                  <a:lnTo>
                    <a:pt x="292" y="238"/>
                  </a:lnTo>
                  <a:lnTo>
                    <a:pt x="287" y="238"/>
                  </a:lnTo>
                  <a:lnTo>
                    <a:pt x="238" y="238"/>
                  </a:lnTo>
                  <a:lnTo>
                    <a:pt x="238" y="292"/>
                  </a:lnTo>
                  <a:lnTo>
                    <a:pt x="287" y="292"/>
                  </a:lnTo>
                  <a:lnTo>
                    <a:pt x="287" y="332"/>
                  </a:lnTo>
                  <a:lnTo>
                    <a:pt x="238" y="332"/>
                  </a:lnTo>
                  <a:lnTo>
                    <a:pt x="238" y="386"/>
                  </a:lnTo>
                  <a:lnTo>
                    <a:pt x="287" y="386"/>
                  </a:lnTo>
                  <a:lnTo>
                    <a:pt x="287" y="430"/>
                  </a:lnTo>
                  <a:lnTo>
                    <a:pt x="287" y="435"/>
                  </a:lnTo>
                  <a:lnTo>
                    <a:pt x="287" y="476"/>
                  </a:lnTo>
                  <a:lnTo>
                    <a:pt x="287" y="481"/>
                  </a:lnTo>
                  <a:lnTo>
                    <a:pt x="287" y="524"/>
                  </a:lnTo>
                  <a:lnTo>
                    <a:pt x="238" y="524"/>
                  </a:lnTo>
                  <a:lnTo>
                    <a:pt x="238" y="573"/>
                  </a:lnTo>
                  <a:lnTo>
                    <a:pt x="195" y="573"/>
                  </a:lnTo>
                  <a:lnTo>
                    <a:pt x="190" y="573"/>
                  </a:lnTo>
                  <a:lnTo>
                    <a:pt x="143" y="573"/>
                  </a:lnTo>
                  <a:lnTo>
                    <a:pt x="143" y="619"/>
                  </a:lnTo>
                  <a:lnTo>
                    <a:pt x="95" y="619"/>
                  </a:lnTo>
                  <a:lnTo>
                    <a:pt x="95" y="667"/>
                  </a:lnTo>
                  <a:lnTo>
                    <a:pt x="46" y="667"/>
                  </a:lnTo>
                  <a:lnTo>
                    <a:pt x="46" y="716"/>
                  </a:lnTo>
                  <a:lnTo>
                    <a:pt x="46" y="721"/>
                  </a:lnTo>
                  <a:lnTo>
                    <a:pt x="46" y="762"/>
                  </a:lnTo>
                  <a:lnTo>
                    <a:pt x="0" y="762"/>
                  </a:lnTo>
                  <a:lnTo>
                    <a:pt x="0" y="811"/>
                  </a:lnTo>
                  <a:lnTo>
                    <a:pt x="0" y="816"/>
                  </a:lnTo>
                  <a:lnTo>
                    <a:pt x="0" y="859"/>
                  </a:lnTo>
                  <a:lnTo>
                    <a:pt x="0" y="864"/>
                  </a:lnTo>
                  <a:lnTo>
                    <a:pt x="0" y="910"/>
                  </a:lnTo>
                  <a:lnTo>
                    <a:pt x="46" y="910"/>
                  </a:lnTo>
                  <a:lnTo>
                    <a:pt x="46" y="959"/>
                  </a:lnTo>
                  <a:lnTo>
                    <a:pt x="95" y="959"/>
                  </a:lnTo>
                  <a:lnTo>
                    <a:pt x="100" y="959"/>
                  </a:lnTo>
                  <a:lnTo>
                    <a:pt x="143" y="959"/>
                  </a:lnTo>
                  <a:lnTo>
                    <a:pt x="149" y="959"/>
                  </a:lnTo>
                  <a:lnTo>
                    <a:pt x="195" y="959"/>
                  </a:lnTo>
                  <a:lnTo>
                    <a:pt x="195" y="910"/>
                  </a:lnTo>
                  <a:lnTo>
                    <a:pt x="238" y="910"/>
                  </a:lnTo>
                  <a:lnTo>
                    <a:pt x="238" y="954"/>
                  </a:lnTo>
                  <a:lnTo>
                    <a:pt x="238" y="959"/>
                  </a:lnTo>
                  <a:lnTo>
                    <a:pt x="238" y="1002"/>
                  </a:lnTo>
                  <a:lnTo>
                    <a:pt x="238" y="1007"/>
                  </a:lnTo>
                  <a:lnTo>
                    <a:pt x="238" y="1053"/>
                  </a:lnTo>
                  <a:lnTo>
                    <a:pt x="287" y="1053"/>
                  </a:lnTo>
                  <a:lnTo>
                    <a:pt x="292" y="1053"/>
                  </a:lnTo>
                  <a:lnTo>
                    <a:pt x="333" y="1053"/>
                  </a:lnTo>
                  <a:lnTo>
                    <a:pt x="338" y="1053"/>
                  </a:lnTo>
                  <a:lnTo>
                    <a:pt x="386" y="1053"/>
                  </a:lnTo>
                  <a:lnTo>
                    <a:pt x="386" y="1007"/>
                  </a:lnTo>
                  <a:lnTo>
                    <a:pt x="435" y="1007"/>
                  </a:lnTo>
                  <a:lnTo>
                    <a:pt x="435" y="959"/>
                  </a:lnTo>
                  <a:lnTo>
                    <a:pt x="476" y="959"/>
                  </a:lnTo>
                  <a:lnTo>
                    <a:pt x="481" y="959"/>
                  </a:lnTo>
                  <a:lnTo>
                    <a:pt x="524" y="959"/>
                  </a:lnTo>
                  <a:lnTo>
                    <a:pt x="524" y="1002"/>
                  </a:lnTo>
                  <a:lnTo>
                    <a:pt x="524" y="1007"/>
                  </a:lnTo>
                  <a:lnTo>
                    <a:pt x="524" y="1048"/>
                  </a:lnTo>
                  <a:lnTo>
                    <a:pt x="524" y="1053"/>
                  </a:lnTo>
                  <a:lnTo>
                    <a:pt x="524" y="1102"/>
                  </a:lnTo>
                  <a:lnTo>
                    <a:pt x="573" y="1102"/>
                  </a:lnTo>
                  <a:lnTo>
                    <a:pt x="578" y="1102"/>
                  </a:lnTo>
                  <a:lnTo>
                    <a:pt x="619" y="1102"/>
                  </a:lnTo>
                  <a:lnTo>
                    <a:pt x="619" y="1151"/>
                  </a:lnTo>
                  <a:lnTo>
                    <a:pt x="668" y="1151"/>
                  </a:lnTo>
                  <a:lnTo>
                    <a:pt x="673" y="1151"/>
                  </a:lnTo>
                  <a:lnTo>
                    <a:pt x="716" y="1151"/>
                  </a:lnTo>
                  <a:lnTo>
                    <a:pt x="716" y="1197"/>
                  </a:lnTo>
                  <a:lnTo>
                    <a:pt x="762" y="1197"/>
                  </a:lnTo>
                  <a:lnTo>
                    <a:pt x="762" y="1245"/>
                  </a:lnTo>
                  <a:lnTo>
                    <a:pt x="811" y="1245"/>
                  </a:lnTo>
                  <a:lnTo>
                    <a:pt x="811" y="1289"/>
                  </a:lnTo>
                  <a:lnTo>
                    <a:pt x="811" y="1294"/>
                  </a:lnTo>
                  <a:lnTo>
                    <a:pt x="811" y="1335"/>
                  </a:lnTo>
                  <a:lnTo>
                    <a:pt x="811" y="1340"/>
                  </a:lnTo>
                  <a:lnTo>
                    <a:pt x="811" y="1388"/>
                  </a:lnTo>
                  <a:lnTo>
                    <a:pt x="859" y="1388"/>
                  </a:lnTo>
                  <a:lnTo>
                    <a:pt x="864" y="1388"/>
                  </a:lnTo>
                  <a:lnTo>
                    <a:pt x="905" y="1388"/>
                  </a:lnTo>
                  <a:lnTo>
                    <a:pt x="905" y="1437"/>
                  </a:lnTo>
                  <a:lnTo>
                    <a:pt x="954" y="1437"/>
                  </a:lnTo>
                  <a:lnTo>
                    <a:pt x="954" y="1483"/>
                  </a:lnTo>
                  <a:lnTo>
                    <a:pt x="1002" y="1483"/>
                  </a:lnTo>
                  <a:lnTo>
                    <a:pt x="1002" y="1526"/>
                  </a:lnTo>
                  <a:lnTo>
                    <a:pt x="1002" y="1531"/>
                  </a:lnTo>
                  <a:lnTo>
                    <a:pt x="1002" y="1575"/>
                  </a:lnTo>
                  <a:lnTo>
                    <a:pt x="1002" y="1580"/>
                  </a:lnTo>
                  <a:lnTo>
                    <a:pt x="1002" y="1621"/>
                  </a:lnTo>
                  <a:lnTo>
                    <a:pt x="1002" y="1626"/>
                  </a:lnTo>
                  <a:lnTo>
                    <a:pt x="1002" y="1670"/>
                  </a:lnTo>
                  <a:lnTo>
                    <a:pt x="1002" y="1675"/>
                  </a:lnTo>
                  <a:lnTo>
                    <a:pt x="1002" y="1723"/>
                  </a:lnTo>
                  <a:lnTo>
                    <a:pt x="1048" y="1723"/>
                  </a:lnTo>
                  <a:lnTo>
                    <a:pt x="1054" y="1723"/>
                  </a:lnTo>
                  <a:lnTo>
                    <a:pt x="1097" y="1723"/>
                  </a:lnTo>
                  <a:lnTo>
                    <a:pt x="1097" y="1764"/>
                  </a:lnTo>
                  <a:lnTo>
                    <a:pt x="1097" y="1769"/>
                  </a:lnTo>
                  <a:lnTo>
                    <a:pt x="1097" y="1818"/>
                  </a:lnTo>
                  <a:lnTo>
                    <a:pt x="1146" y="1818"/>
                  </a:lnTo>
                  <a:lnTo>
                    <a:pt x="1146" y="1866"/>
                  </a:lnTo>
                  <a:lnTo>
                    <a:pt x="1192" y="1866"/>
                  </a:lnTo>
                  <a:lnTo>
                    <a:pt x="1192" y="1907"/>
                  </a:lnTo>
                  <a:lnTo>
                    <a:pt x="1192" y="1912"/>
                  </a:lnTo>
                  <a:lnTo>
                    <a:pt x="1192" y="1961"/>
                  </a:lnTo>
                  <a:lnTo>
                    <a:pt x="1240" y="1961"/>
                  </a:lnTo>
                  <a:lnTo>
                    <a:pt x="1240" y="2004"/>
                  </a:lnTo>
                  <a:lnTo>
                    <a:pt x="1240" y="2010"/>
                  </a:lnTo>
                  <a:lnTo>
                    <a:pt x="1240" y="2050"/>
                  </a:lnTo>
                  <a:lnTo>
                    <a:pt x="1197" y="2050"/>
                  </a:lnTo>
                  <a:lnTo>
                    <a:pt x="1192" y="2050"/>
                  </a:lnTo>
                  <a:lnTo>
                    <a:pt x="1146" y="2050"/>
                  </a:lnTo>
                  <a:lnTo>
                    <a:pt x="1146" y="2099"/>
                  </a:lnTo>
                  <a:lnTo>
                    <a:pt x="1097" y="2099"/>
                  </a:lnTo>
                  <a:lnTo>
                    <a:pt x="1097" y="2148"/>
                  </a:lnTo>
                  <a:lnTo>
                    <a:pt x="1048" y="2148"/>
                  </a:lnTo>
                  <a:lnTo>
                    <a:pt x="1048" y="2194"/>
                  </a:lnTo>
                  <a:lnTo>
                    <a:pt x="1002" y="2194"/>
                  </a:lnTo>
                  <a:lnTo>
                    <a:pt x="1002" y="2242"/>
                  </a:lnTo>
                  <a:lnTo>
                    <a:pt x="1002" y="2247"/>
                  </a:lnTo>
                  <a:lnTo>
                    <a:pt x="1002" y="2296"/>
                  </a:lnTo>
                  <a:lnTo>
                    <a:pt x="1048" y="2296"/>
                  </a:lnTo>
                  <a:lnTo>
                    <a:pt x="1048" y="2342"/>
                  </a:lnTo>
                  <a:lnTo>
                    <a:pt x="1097" y="2342"/>
                  </a:lnTo>
                  <a:lnTo>
                    <a:pt x="1102" y="2342"/>
                  </a:lnTo>
                  <a:lnTo>
                    <a:pt x="1146" y="2342"/>
                  </a:lnTo>
                  <a:lnTo>
                    <a:pt x="1146" y="2390"/>
                  </a:lnTo>
                  <a:lnTo>
                    <a:pt x="1192" y="2390"/>
                  </a:lnTo>
                  <a:lnTo>
                    <a:pt x="1192" y="2439"/>
                  </a:lnTo>
                  <a:lnTo>
                    <a:pt x="1240" y="2439"/>
                  </a:lnTo>
                  <a:lnTo>
                    <a:pt x="1240" y="2485"/>
                  </a:lnTo>
                  <a:lnTo>
                    <a:pt x="1294" y="2485"/>
                  </a:lnTo>
                  <a:lnTo>
                    <a:pt x="1294" y="2439"/>
                  </a:lnTo>
                  <a:lnTo>
                    <a:pt x="1340" y="2439"/>
                  </a:lnTo>
                  <a:lnTo>
                    <a:pt x="1340" y="2390"/>
                  </a:lnTo>
                  <a:lnTo>
                    <a:pt x="1388" y="2390"/>
                  </a:lnTo>
                  <a:lnTo>
                    <a:pt x="1388" y="2342"/>
                  </a:lnTo>
                  <a:lnTo>
                    <a:pt x="1388" y="2337"/>
                  </a:lnTo>
                  <a:lnTo>
                    <a:pt x="1388" y="2296"/>
                  </a:lnTo>
                  <a:lnTo>
                    <a:pt x="1437" y="2296"/>
                  </a:lnTo>
                  <a:lnTo>
                    <a:pt x="1437" y="2247"/>
                  </a:lnTo>
                  <a:lnTo>
                    <a:pt x="1437" y="2242"/>
                  </a:lnTo>
                  <a:lnTo>
                    <a:pt x="1437" y="2199"/>
                  </a:lnTo>
                  <a:lnTo>
                    <a:pt x="1483" y="2199"/>
                  </a:lnTo>
                  <a:lnTo>
                    <a:pt x="1483" y="2153"/>
                  </a:lnTo>
                  <a:lnTo>
                    <a:pt x="1532" y="2153"/>
                  </a:lnTo>
                  <a:lnTo>
                    <a:pt x="1532" y="2104"/>
                  </a:lnTo>
                  <a:lnTo>
                    <a:pt x="1532" y="2099"/>
                  </a:lnTo>
                  <a:lnTo>
                    <a:pt x="1532" y="2056"/>
                  </a:lnTo>
                  <a:lnTo>
                    <a:pt x="1532" y="2050"/>
                  </a:lnTo>
                  <a:lnTo>
                    <a:pt x="1532" y="2010"/>
                  </a:lnTo>
                  <a:lnTo>
                    <a:pt x="1532" y="2004"/>
                  </a:lnTo>
                  <a:lnTo>
                    <a:pt x="1532" y="1961"/>
                  </a:lnTo>
                  <a:lnTo>
                    <a:pt x="1580" y="1961"/>
                  </a:lnTo>
                  <a:lnTo>
                    <a:pt x="1580" y="1912"/>
                  </a:lnTo>
                  <a:lnTo>
                    <a:pt x="1626" y="1912"/>
                  </a:lnTo>
                  <a:lnTo>
                    <a:pt x="1626" y="1866"/>
                  </a:lnTo>
                  <a:lnTo>
                    <a:pt x="1670" y="1866"/>
                  </a:lnTo>
                  <a:lnTo>
                    <a:pt x="1675" y="1866"/>
                  </a:lnTo>
                  <a:lnTo>
                    <a:pt x="1718" y="1866"/>
                  </a:lnTo>
                  <a:lnTo>
                    <a:pt x="1723" y="1866"/>
                  </a:lnTo>
                  <a:lnTo>
                    <a:pt x="1764" y="1866"/>
                  </a:lnTo>
                  <a:lnTo>
                    <a:pt x="1769" y="1866"/>
                  </a:lnTo>
                  <a:lnTo>
                    <a:pt x="1818" y="1866"/>
                  </a:lnTo>
                  <a:lnTo>
                    <a:pt x="1818" y="1818"/>
                  </a:lnTo>
                  <a:lnTo>
                    <a:pt x="1861" y="1818"/>
                  </a:lnTo>
                  <a:lnTo>
                    <a:pt x="1867" y="1818"/>
                  </a:lnTo>
                  <a:lnTo>
                    <a:pt x="1913" y="1818"/>
                  </a:lnTo>
                  <a:lnTo>
                    <a:pt x="1913" y="1769"/>
                  </a:lnTo>
                  <a:lnTo>
                    <a:pt x="1961" y="1769"/>
                  </a:lnTo>
                  <a:lnTo>
                    <a:pt x="1961" y="1723"/>
                  </a:lnTo>
                  <a:lnTo>
                    <a:pt x="2010" y="1723"/>
                  </a:lnTo>
                  <a:lnTo>
                    <a:pt x="2010" y="1675"/>
                  </a:lnTo>
                  <a:lnTo>
                    <a:pt x="2056" y="1675"/>
                  </a:lnTo>
                  <a:lnTo>
                    <a:pt x="2056" y="1626"/>
                  </a:lnTo>
                  <a:lnTo>
                    <a:pt x="2056" y="1621"/>
                  </a:lnTo>
                  <a:lnTo>
                    <a:pt x="2056" y="1580"/>
                  </a:lnTo>
                  <a:lnTo>
                    <a:pt x="2104" y="1580"/>
                  </a:lnTo>
                  <a:lnTo>
                    <a:pt x="2104" y="1531"/>
                  </a:lnTo>
                  <a:lnTo>
                    <a:pt x="2104" y="1526"/>
                  </a:lnTo>
                  <a:lnTo>
                    <a:pt x="2104" y="1483"/>
                  </a:lnTo>
                  <a:lnTo>
                    <a:pt x="2104" y="1478"/>
                  </a:lnTo>
                  <a:lnTo>
                    <a:pt x="2104" y="1437"/>
                  </a:lnTo>
                  <a:lnTo>
                    <a:pt x="2104" y="1432"/>
                  </a:lnTo>
                  <a:lnTo>
                    <a:pt x="2104" y="1388"/>
                  </a:lnTo>
                  <a:lnTo>
                    <a:pt x="2153" y="1388"/>
                  </a:lnTo>
                  <a:lnTo>
                    <a:pt x="2153" y="1340"/>
                  </a:lnTo>
                  <a:lnTo>
                    <a:pt x="2153" y="1335"/>
                  </a:lnTo>
                  <a:lnTo>
                    <a:pt x="2153" y="1294"/>
                  </a:lnTo>
                  <a:lnTo>
                    <a:pt x="2153" y="1289"/>
                  </a:lnTo>
                  <a:lnTo>
                    <a:pt x="2153" y="1245"/>
                  </a:lnTo>
                  <a:lnTo>
                    <a:pt x="2153" y="1240"/>
                  </a:lnTo>
                  <a:lnTo>
                    <a:pt x="2153" y="1197"/>
                  </a:lnTo>
                  <a:lnTo>
                    <a:pt x="2199" y="1197"/>
                  </a:lnTo>
                  <a:lnTo>
                    <a:pt x="2199" y="1151"/>
                  </a:lnTo>
                  <a:lnTo>
                    <a:pt x="2247" y="1151"/>
                  </a:lnTo>
                  <a:lnTo>
                    <a:pt x="2247" y="1102"/>
                  </a:lnTo>
                  <a:lnTo>
                    <a:pt x="2296" y="1102"/>
                  </a:lnTo>
                  <a:lnTo>
                    <a:pt x="2296" y="1053"/>
                  </a:lnTo>
                  <a:lnTo>
                    <a:pt x="2296" y="1048"/>
                  </a:lnTo>
                  <a:lnTo>
                    <a:pt x="2296" y="1007"/>
                  </a:lnTo>
                  <a:lnTo>
                    <a:pt x="2342" y="1007"/>
                  </a:lnTo>
                  <a:lnTo>
                    <a:pt x="2342" y="959"/>
                  </a:lnTo>
                  <a:lnTo>
                    <a:pt x="2391" y="959"/>
                  </a:lnTo>
                  <a:lnTo>
                    <a:pt x="2391" y="910"/>
                  </a:lnTo>
                  <a:lnTo>
                    <a:pt x="2391" y="905"/>
                  </a:lnTo>
                  <a:lnTo>
                    <a:pt x="2391" y="864"/>
                  </a:lnTo>
                  <a:lnTo>
                    <a:pt x="2391" y="859"/>
                  </a:lnTo>
                  <a:lnTo>
                    <a:pt x="2391" y="816"/>
                  </a:lnTo>
                  <a:lnTo>
                    <a:pt x="2391" y="811"/>
                  </a:lnTo>
                  <a:lnTo>
                    <a:pt x="2391" y="767"/>
                  </a:lnTo>
                  <a:lnTo>
                    <a:pt x="2391" y="762"/>
                  </a:lnTo>
                  <a:lnTo>
                    <a:pt x="2391" y="716"/>
                  </a:lnTo>
                  <a:lnTo>
                    <a:pt x="2342" y="71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 name="Freeform 5"/>
            <p:cNvSpPr>
              <a:spLocks/>
            </p:cNvSpPr>
            <p:nvPr/>
          </p:nvSpPr>
          <p:spPr bwMode="auto">
            <a:xfrm>
              <a:off x="6536775" y="60127"/>
              <a:ext cx="3795712" cy="3944937"/>
            </a:xfrm>
            <a:custGeom>
              <a:avLst/>
              <a:gdLst>
                <a:gd name="T0" fmla="*/ 2242 w 2391"/>
                <a:gd name="T1" fmla="*/ 667 h 2485"/>
                <a:gd name="T2" fmla="*/ 2099 w 2391"/>
                <a:gd name="T3" fmla="*/ 573 h 2485"/>
                <a:gd name="T4" fmla="*/ 1956 w 2391"/>
                <a:gd name="T5" fmla="*/ 524 h 2485"/>
                <a:gd name="T6" fmla="*/ 1818 w 2391"/>
                <a:gd name="T7" fmla="*/ 481 h 2485"/>
                <a:gd name="T8" fmla="*/ 1723 w 2391"/>
                <a:gd name="T9" fmla="*/ 381 h 2485"/>
                <a:gd name="T10" fmla="*/ 1575 w 2391"/>
                <a:gd name="T11" fmla="*/ 332 h 2485"/>
                <a:gd name="T12" fmla="*/ 1483 w 2391"/>
                <a:gd name="T13" fmla="*/ 238 h 2485"/>
                <a:gd name="T14" fmla="*/ 1388 w 2391"/>
                <a:gd name="T15" fmla="*/ 100 h 2485"/>
                <a:gd name="T16" fmla="*/ 1289 w 2391"/>
                <a:gd name="T17" fmla="*/ 143 h 2485"/>
                <a:gd name="T18" fmla="*/ 1197 w 2391"/>
                <a:gd name="T19" fmla="*/ 189 h 2485"/>
                <a:gd name="T20" fmla="*/ 1048 w 2391"/>
                <a:gd name="T21" fmla="*/ 238 h 2485"/>
                <a:gd name="T22" fmla="*/ 910 w 2391"/>
                <a:gd name="T23" fmla="*/ 238 h 2485"/>
                <a:gd name="T24" fmla="*/ 910 w 2391"/>
                <a:gd name="T25" fmla="*/ 100 h 2485"/>
                <a:gd name="T26" fmla="*/ 859 w 2391"/>
                <a:gd name="T27" fmla="*/ 0 h 2485"/>
                <a:gd name="T28" fmla="*/ 716 w 2391"/>
                <a:gd name="T29" fmla="*/ 95 h 2485"/>
                <a:gd name="T30" fmla="*/ 573 w 2391"/>
                <a:gd name="T31" fmla="*/ 46 h 2485"/>
                <a:gd name="T32" fmla="*/ 524 w 2391"/>
                <a:gd name="T33" fmla="*/ 194 h 2485"/>
                <a:gd name="T34" fmla="*/ 573 w 2391"/>
                <a:gd name="T35" fmla="*/ 286 h 2485"/>
                <a:gd name="T36" fmla="*/ 481 w 2391"/>
                <a:gd name="T37" fmla="*/ 238 h 2485"/>
                <a:gd name="T38" fmla="*/ 333 w 2391"/>
                <a:gd name="T39" fmla="*/ 238 h 2485"/>
                <a:gd name="T40" fmla="*/ 287 w 2391"/>
                <a:gd name="T41" fmla="*/ 332 h 2485"/>
                <a:gd name="T42" fmla="*/ 287 w 2391"/>
                <a:gd name="T43" fmla="*/ 476 h 2485"/>
                <a:gd name="T44" fmla="*/ 190 w 2391"/>
                <a:gd name="T45" fmla="*/ 573 h 2485"/>
                <a:gd name="T46" fmla="*/ 46 w 2391"/>
                <a:gd name="T47" fmla="*/ 716 h 2485"/>
                <a:gd name="T48" fmla="*/ 0 w 2391"/>
                <a:gd name="T49" fmla="*/ 859 h 2485"/>
                <a:gd name="T50" fmla="*/ 100 w 2391"/>
                <a:gd name="T51" fmla="*/ 959 h 2485"/>
                <a:gd name="T52" fmla="*/ 238 w 2391"/>
                <a:gd name="T53" fmla="*/ 954 h 2485"/>
                <a:gd name="T54" fmla="*/ 292 w 2391"/>
                <a:gd name="T55" fmla="*/ 1053 h 2485"/>
                <a:gd name="T56" fmla="*/ 435 w 2391"/>
                <a:gd name="T57" fmla="*/ 959 h 2485"/>
                <a:gd name="T58" fmla="*/ 524 w 2391"/>
                <a:gd name="T59" fmla="*/ 1048 h 2485"/>
                <a:gd name="T60" fmla="*/ 619 w 2391"/>
                <a:gd name="T61" fmla="*/ 1151 h 2485"/>
                <a:gd name="T62" fmla="*/ 762 w 2391"/>
                <a:gd name="T63" fmla="*/ 1245 h 2485"/>
                <a:gd name="T64" fmla="*/ 811 w 2391"/>
                <a:gd name="T65" fmla="*/ 1388 h 2485"/>
                <a:gd name="T66" fmla="*/ 954 w 2391"/>
                <a:gd name="T67" fmla="*/ 1483 h 2485"/>
                <a:gd name="T68" fmla="*/ 1002 w 2391"/>
                <a:gd name="T69" fmla="*/ 1621 h 2485"/>
                <a:gd name="T70" fmla="*/ 1054 w 2391"/>
                <a:gd name="T71" fmla="*/ 1723 h 2485"/>
                <a:gd name="T72" fmla="*/ 1146 w 2391"/>
                <a:gd name="T73" fmla="*/ 1866 h 2485"/>
                <a:gd name="T74" fmla="*/ 1240 w 2391"/>
                <a:gd name="T75" fmla="*/ 2004 h 2485"/>
                <a:gd name="T76" fmla="*/ 1146 w 2391"/>
                <a:gd name="T77" fmla="*/ 2099 h 2485"/>
                <a:gd name="T78" fmla="*/ 1002 w 2391"/>
                <a:gd name="T79" fmla="*/ 2242 h 2485"/>
                <a:gd name="T80" fmla="*/ 1102 w 2391"/>
                <a:gd name="T81" fmla="*/ 2342 h 2485"/>
                <a:gd name="T82" fmla="*/ 1240 w 2391"/>
                <a:gd name="T83" fmla="*/ 2485 h 2485"/>
                <a:gd name="T84" fmla="*/ 1388 w 2391"/>
                <a:gd name="T85" fmla="*/ 2342 h 2485"/>
                <a:gd name="T86" fmla="*/ 1437 w 2391"/>
                <a:gd name="T87" fmla="*/ 2199 h 2485"/>
                <a:gd name="T88" fmla="*/ 1532 w 2391"/>
                <a:gd name="T89" fmla="*/ 2056 h 2485"/>
                <a:gd name="T90" fmla="*/ 1580 w 2391"/>
                <a:gd name="T91" fmla="*/ 1912 h 2485"/>
                <a:gd name="T92" fmla="*/ 1723 w 2391"/>
                <a:gd name="T93" fmla="*/ 1866 h 2485"/>
                <a:gd name="T94" fmla="*/ 1867 w 2391"/>
                <a:gd name="T95" fmla="*/ 1818 h 2485"/>
                <a:gd name="T96" fmla="*/ 2010 w 2391"/>
                <a:gd name="T97" fmla="*/ 1675 h 2485"/>
                <a:gd name="T98" fmla="*/ 2104 w 2391"/>
                <a:gd name="T99" fmla="*/ 1531 h 2485"/>
                <a:gd name="T100" fmla="*/ 2104 w 2391"/>
                <a:gd name="T101" fmla="*/ 1388 h 2485"/>
                <a:gd name="T102" fmla="*/ 2153 w 2391"/>
                <a:gd name="T103" fmla="*/ 1245 h 2485"/>
                <a:gd name="T104" fmla="*/ 2247 w 2391"/>
                <a:gd name="T105" fmla="*/ 1102 h 2485"/>
                <a:gd name="T106" fmla="*/ 2342 w 2391"/>
                <a:gd name="T107" fmla="*/ 959 h 2485"/>
                <a:gd name="T108" fmla="*/ 2391 w 2391"/>
                <a:gd name="T109" fmla="*/ 816 h 2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91" h="2485">
                  <a:moveTo>
                    <a:pt x="2342" y="716"/>
                  </a:moveTo>
                  <a:lnTo>
                    <a:pt x="2342" y="667"/>
                  </a:lnTo>
                  <a:lnTo>
                    <a:pt x="2296" y="667"/>
                  </a:lnTo>
                  <a:lnTo>
                    <a:pt x="2291" y="667"/>
                  </a:lnTo>
                  <a:lnTo>
                    <a:pt x="2247" y="667"/>
                  </a:lnTo>
                  <a:lnTo>
                    <a:pt x="2242" y="667"/>
                  </a:lnTo>
                  <a:lnTo>
                    <a:pt x="2199" y="667"/>
                  </a:lnTo>
                  <a:lnTo>
                    <a:pt x="2199" y="619"/>
                  </a:lnTo>
                  <a:lnTo>
                    <a:pt x="2153" y="619"/>
                  </a:lnTo>
                  <a:lnTo>
                    <a:pt x="2153" y="573"/>
                  </a:lnTo>
                  <a:lnTo>
                    <a:pt x="2104" y="573"/>
                  </a:lnTo>
                  <a:lnTo>
                    <a:pt x="2099" y="573"/>
                  </a:lnTo>
                  <a:lnTo>
                    <a:pt x="2056" y="573"/>
                  </a:lnTo>
                  <a:lnTo>
                    <a:pt x="2056" y="524"/>
                  </a:lnTo>
                  <a:lnTo>
                    <a:pt x="2010" y="524"/>
                  </a:lnTo>
                  <a:lnTo>
                    <a:pt x="2005" y="524"/>
                  </a:lnTo>
                  <a:lnTo>
                    <a:pt x="1961" y="524"/>
                  </a:lnTo>
                  <a:lnTo>
                    <a:pt x="1956" y="524"/>
                  </a:lnTo>
                  <a:lnTo>
                    <a:pt x="1913" y="524"/>
                  </a:lnTo>
                  <a:lnTo>
                    <a:pt x="1907" y="524"/>
                  </a:lnTo>
                  <a:lnTo>
                    <a:pt x="1867" y="524"/>
                  </a:lnTo>
                  <a:lnTo>
                    <a:pt x="1861" y="524"/>
                  </a:lnTo>
                  <a:lnTo>
                    <a:pt x="1818" y="524"/>
                  </a:lnTo>
                  <a:lnTo>
                    <a:pt x="1818" y="481"/>
                  </a:lnTo>
                  <a:lnTo>
                    <a:pt x="1818" y="476"/>
                  </a:lnTo>
                  <a:lnTo>
                    <a:pt x="1818" y="430"/>
                  </a:lnTo>
                  <a:lnTo>
                    <a:pt x="1769" y="430"/>
                  </a:lnTo>
                  <a:lnTo>
                    <a:pt x="1764" y="430"/>
                  </a:lnTo>
                  <a:lnTo>
                    <a:pt x="1723" y="430"/>
                  </a:lnTo>
                  <a:lnTo>
                    <a:pt x="1723" y="381"/>
                  </a:lnTo>
                  <a:lnTo>
                    <a:pt x="1675" y="381"/>
                  </a:lnTo>
                  <a:lnTo>
                    <a:pt x="1670" y="381"/>
                  </a:lnTo>
                  <a:lnTo>
                    <a:pt x="1626" y="381"/>
                  </a:lnTo>
                  <a:lnTo>
                    <a:pt x="1626" y="332"/>
                  </a:lnTo>
                  <a:lnTo>
                    <a:pt x="1580" y="332"/>
                  </a:lnTo>
                  <a:lnTo>
                    <a:pt x="1575" y="332"/>
                  </a:lnTo>
                  <a:lnTo>
                    <a:pt x="1532" y="332"/>
                  </a:lnTo>
                  <a:lnTo>
                    <a:pt x="1527" y="332"/>
                  </a:lnTo>
                  <a:lnTo>
                    <a:pt x="1483" y="332"/>
                  </a:lnTo>
                  <a:lnTo>
                    <a:pt x="1483" y="292"/>
                  </a:lnTo>
                  <a:lnTo>
                    <a:pt x="1483" y="286"/>
                  </a:lnTo>
                  <a:lnTo>
                    <a:pt x="1483" y="238"/>
                  </a:lnTo>
                  <a:lnTo>
                    <a:pt x="1437" y="238"/>
                  </a:lnTo>
                  <a:lnTo>
                    <a:pt x="1437" y="194"/>
                  </a:lnTo>
                  <a:lnTo>
                    <a:pt x="1437" y="189"/>
                  </a:lnTo>
                  <a:lnTo>
                    <a:pt x="1437" y="143"/>
                  </a:lnTo>
                  <a:lnTo>
                    <a:pt x="1388" y="143"/>
                  </a:lnTo>
                  <a:lnTo>
                    <a:pt x="1388" y="100"/>
                  </a:lnTo>
                  <a:lnTo>
                    <a:pt x="1388" y="95"/>
                  </a:lnTo>
                  <a:lnTo>
                    <a:pt x="1388" y="46"/>
                  </a:lnTo>
                  <a:lnTo>
                    <a:pt x="1335" y="46"/>
                  </a:lnTo>
                  <a:lnTo>
                    <a:pt x="1335" y="95"/>
                  </a:lnTo>
                  <a:lnTo>
                    <a:pt x="1289" y="95"/>
                  </a:lnTo>
                  <a:lnTo>
                    <a:pt x="1289" y="143"/>
                  </a:lnTo>
                  <a:lnTo>
                    <a:pt x="1289" y="148"/>
                  </a:lnTo>
                  <a:lnTo>
                    <a:pt x="1289" y="189"/>
                  </a:lnTo>
                  <a:lnTo>
                    <a:pt x="1240" y="189"/>
                  </a:lnTo>
                  <a:lnTo>
                    <a:pt x="1240" y="238"/>
                  </a:lnTo>
                  <a:lnTo>
                    <a:pt x="1197" y="238"/>
                  </a:lnTo>
                  <a:lnTo>
                    <a:pt x="1197" y="189"/>
                  </a:lnTo>
                  <a:lnTo>
                    <a:pt x="1151" y="189"/>
                  </a:lnTo>
                  <a:lnTo>
                    <a:pt x="1146" y="189"/>
                  </a:lnTo>
                  <a:lnTo>
                    <a:pt x="1102" y="189"/>
                  </a:lnTo>
                  <a:lnTo>
                    <a:pt x="1097" y="189"/>
                  </a:lnTo>
                  <a:lnTo>
                    <a:pt x="1048" y="189"/>
                  </a:lnTo>
                  <a:lnTo>
                    <a:pt x="1048" y="238"/>
                  </a:lnTo>
                  <a:lnTo>
                    <a:pt x="1008" y="238"/>
                  </a:lnTo>
                  <a:lnTo>
                    <a:pt x="1002" y="238"/>
                  </a:lnTo>
                  <a:lnTo>
                    <a:pt x="954" y="238"/>
                  </a:lnTo>
                  <a:lnTo>
                    <a:pt x="954" y="286"/>
                  </a:lnTo>
                  <a:lnTo>
                    <a:pt x="910" y="286"/>
                  </a:lnTo>
                  <a:lnTo>
                    <a:pt x="910" y="238"/>
                  </a:lnTo>
                  <a:lnTo>
                    <a:pt x="864" y="238"/>
                  </a:lnTo>
                  <a:lnTo>
                    <a:pt x="864" y="194"/>
                  </a:lnTo>
                  <a:lnTo>
                    <a:pt x="864" y="189"/>
                  </a:lnTo>
                  <a:lnTo>
                    <a:pt x="864" y="148"/>
                  </a:lnTo>
                  <a:lnTo>
                    <a:pt x="910" y="148"/>
                  </a:lnTo>
                  <a:lnTo>
                    <a:pt x="910" y="100"/>
                  </a:lnTo>
                  <a:lnTo>
                    <a:pt x="910" y="95"/>
                  </a:lnTo>
                  <a:lnTo>
                    <a:pt x="910" y="51"/>
                  </a:lnTo>
                  <a:lnTo>
                    <a:pt x="910" y="46"/>
                  </a:lnTo>
                  <a:lnTo>
                    <a:pt x="910" y="0"/>
                  </a:lnTo>
                  <a:lnTo>
                    <a:pt x="864" y="0"/>
                  </a:lnTo>
                  <a:lnTo>
                    <a:pt x="859" y="0"/>
                  </a:lnTo>
                  <a:lnTo>
                    <a:pt x="811" y="0"/>
                  </a:lnTo>
                  <a:lnTo>
                    <a:pt x="811" y="46"/>
                  </a:lnTo>
                  <a:lnTo>
                    <a:pt x="767" y="46"/>
                  </a:lnTo>
                  <a:lnTo>
                    <a:pt x="762" y="46"/>
                  </a:lnTo>
                  <a:lnTo>
                    <a:pt x="716" y="46"/>
                  </a:lnTo>
                  <a:lnTo>
                    <a:pt x="716" y="95"/>
                  </a:lnTo>
                  <a:lnTo>
                    <a:pt x="673" y="95"/>
                  </a:lnTo>
                  <a:lnTo>
                    <a:pt x="668" y="95"/>
                  </a:lnTo>
                  <a:lnTo>
                    <a:pt x="624" y="95"/>
                  </a:lnTo>
                  <a:lnTo>
                    <a:pt x="624" y="46"/>
                  </a:lnTo>
                  <a:lnTo>
                    <a:pt x="578" y="46"/>
                  </a:lnTo>
                  <a:lnTo>
                    <a:pt x="573" y="46"/>
                  </a:lnTo>
                  <a:lnTo>
                    <a:pt x="524" y="46"/>
                  </a:lnTo>
                  <a:lnTo>
                    <a:pt x="524" y="95"/>
                  </a:lnTo>
                  <a:lnTo>
                    <a:pt x="524" y="100"/>
                  </a:lnTo>
                  <a:lnTo>
                    <a:pt x="524" y="143"/>
                  </a:lnTo>
                  <a:lnTo>
                    <a:pt x="524" y="148"/>
                  </a:lnTo>
                  <a:lnTo>
                    <a:pt x="524" y="194"/>
                  </a:lnTo>
                  <a:lnTo>
                    <a:pt x="573" y="194"/>
                  </a:lnTo>
                  <a:lnTo>
                    <a:pt x="578" y="194"/>
                  </a:lnTo>
                  <a:lnTo>
                    <a:pt x="619" y="194"/>
                  </a:lnTo>
                  <a:lnTo>
                    <a:pt x="619" y="238"/>
                  </a:lnTo>
                  <a:lnTo>
                    <a:pt x="573" y="238"/>
                  </a:lnTo>
                  <a:lnTo>
                    <a:pt x="573" y="286"/>
                  </a:lnTo>
                  <a:lnTo>
                    <a:pt x="524" y="286"/>
                  </a:lnTo>
                  <a:lnTo>
                    <a:pt x="524" y="332"/>
                  </a:lnTo>
                  <a:lnTo>
                    <a:pt x="481" y="332"/>
                  </a:lnTo>
                  <a:lnTo>
                    <a:pt x="481" y="292"/>
                  </a:lnTo>
                  <a:lnTo>
                    <a:pt x="481" y="286"/>
                  </a:lnTo>
                  <a:lnTo>
                    <a:pt x="481" y="238"/>
                  </a:lnTo>
                  <a:lnTo>
                    <a:pt x="435" y="238"/>
                  </a:lnTo>
                  <a:lnTo>
                    <a:pt x="435" y="189"/>
                  </a:lnTo>
                  <a:lnTo>
                    <a:pt x="386" y="189"/>
                  </a:lnTo>
                  <a:lnTo>
                    <a:pt x="381" y="189"/>
                  </a:lnTo>
                  <a:lnTo>
                    <a:pt x="333" y="189"/>
                  </a:lnTo>
                  <a:lnTo>
                    <a:pt x="333" y="238"/>
                  </a:lnTo>
                  <a:lnTo>
                    <a:pt x="292" y="238"/>
                  </a:lnTo>
                  <a:lnTo>
                    <a:pt x="287" y="238"/>
                  </a:lnTo>
                  <a:lnTo>
                    <a:pt x="238" y="238"/>
                  </a:lnTo>
                  <a:lnTo>
                    <a:pt x="238" y="292"/>
                  </a:lnTo>
                  <a:lnTo>
                    <a:pt x="287" y="292"/>
                  </a:lnTo>
                  <a:lnTo>
                    <a:pt x="287" y="332"/>
                  </a:lnTo>
                  <a:lnTo>
                    <a:pt x="238" y="332"/>
                  </a:lnTo>
                  <a:lnTo>
                    <a:pt x="238" y="386"/>
                  </a:lnTo>
                  <a:lnTo>
                    <a:pt x="287" y="386"/>
                  </a:lnTo>
                  <a:lnTo>
                    <a:pt x="287" y="430"/>
                  </a:lnTo>
                  <a:lnTo>
                    <a:pt x="287" y="435"/>
                  </a:lnTo>
                  <a:lnTo>
                    <a:pt x="287" y="476"/>
                  </a:lnTo>
                  <a:lnTo>
                    <a:pt x="287" y="481"/>
                  </a:lnTo>
                  <a:lnTo>
                    <a:pt x="287" y="524"/>
                  </a:lnTo>
                  <a:lnTo>
                    <a:pt x="238" y="524"/>
                  </a:lnTo>
                  <a:lnTo>
                    <a:pt x="238" y="573"/>
                  </a:lnTo>
                  <a:lnTo>
                    <a:pt x="195" y="573"/>
                  </a:lnTo>
                  <a:lnTo>
                    <a:pt x="190" y="573"/>
                  </a:lnTo>
                  <a:lnTo>
                    <a:pt x="143" y="573"/>
                  </a:lnTo>
                  <a:lnTo>
                    <a:pt x="143" y="619"/>
                  </a:lnTo>
                  <a:lnTo>
                    <a:pt x="95" y="619"/>
                  </a:lnTo>
                  <a:lnTo>
                    <a:pt x="95" y="667"/>
                  </a:lnTo>
                  <a:lnTo>
                    <a:pt x="46" y="667"/>
                  </a:lnTo>
                  <a:lnTo>
                    <a:pt x="46" y="716"/>
                  </a:lnTo>
                  <a:lnTo>
                    <a:pt x="46" y="721"/>
                  </a:lnTo>
                  <a:lnTo>
                    <a:pt x="46" y="762"/>
                  </a:lnTo>
                  <a:lnTo>
                    <a:pt x="0" y="762"/>
                  </a:lnTo>
                  <a:lnTo>
                    <a:pt x="0" y="811"/>
                  </a:lnTo>
                  <a:lnTo>
                    <a:pt x="0" y="816"/>
                  </a:lnTo>
                  <a:lnTo>
                    <a:pt x="0" y="859"/>
                  </a:lnTo>
                  <a:lnTo>
                    <a:pt x="0" y="864"/>
                  </a:lnTo>
                  <a:lnTo>
                    <a:pt x="0" y="910"/>
                  </a:lnTo>
                  <a:lnTo>
                    <a:pt x="46" y="910"/>
                  </a:lnTo>
                  <a:lnTo>
                    <a:pt x="46" y="959"/>
                  </a:lnTo>
                  <a:lnTo>
                    <a:pt x="95" y="959"/>
                  </a:lnTo>
                  <a:lnTo>
                    <a:pt x="100" y="959"/>
                  </a:lnTo>
                  <a:lnTo>
                    <a:pt x="143" y="959"/>
                  </a:lnTo>
                  <a:lnTo>
                    <a:pt x="149" y="959"/>
                  </a:lnTo>
                  <a:lnTo>
                    <a:pt x="195" y="959"/>
                  </a:lnTo>
                  <a:lnTo>
                    <a:pt x="195" y="910"/>
                  </a:lnTo>
                  <a:lnTo>
                    <a:pt x="238" y="910"/>
                  </a:lnTo>
                  <a:lnTo>
                    <a:pt x="238" y="954"/>
                  </a:lnTo>
                  <a:lnTo>
                    <a:pt x="238" y="959"/>
                  </a:lnTo>
                  <a:lnTo>
                    <a:pt x="238" y="1002"/>
                  </a:lnTo>
                  <a:lnTo>
                    <a:pt x="238" y="1007"/>
                  </a:lnTo>
                  <a:lnTo>
                    <a:pt x="238" y="1053"/>
                  </a:lnTo>
                  <a:lnTo>
                    <a:pt x="287" y="1053"/>
                  </a:lnTo>
                  <a:lnTo>
                    <a:pt x="292" y="1053"/>
                  </a:lnTo>
                  <a:lnTo>
                    <a:pt x="333" y="1053"/>
                  </a:lnTo>
                  <a:lnTo>
                    <a:pt x="338" y="1053"/>
                  </a:lnTo>
                  <a:lnTo>
                    <a:pt x="386" y="1053"/>
                  </a:lnTo>
                  <a:lnTo>
                    <a:pt x="386" y="1007"/>
                  </a:lnTo>
                  <a:lnTo>
                    <a:pt x="435" y="1007"/>
                  </a:lnTo>
                  <a:lnTo>
                    <a:pt x="435" y="959"/>
                  </a:lnTo>
                  <a:lnTo>
                    <a:pt x="476" y="959"/>
                  </a:lnTo>
                  <a:lnTo>
                    <a:pt x="481" y="959"/>
                  </a:lnTo>
                  <a:lnTo>
                    <a:pt x="524" y="959"/>
                  </a:lnTo>
                  <a:lnTo>
                    <a:pt x="524" y="1002"/>
                  </a:lnTo>
                  <a:lnTo>
                    <a:pt x="524" y="1007"/>
                  </a:lnTo>
                  <a:lnTo>
                    <a:pt x="524" y="1048"/>
                  </a:lnTo>
                  <a:lnTo>
                    <a:pt x="524" y="1053"/>
                  </a:lnTo>
                  <a:lnTo>
                    <a:pt x="524" y="1102"/>
                  </a:lnTo>
                  <a:lnTo>
                    <a:pt x="573" y="1102"/>
                  </a:lnTo>
                  <a:lnTo>
                    <a:pt x="578" y="1102"/>
                  </a:lnTo>
                  <a:lnTo>
                    <a:pt x="619" y="1102"/>
                  </a:lnTo>
                  <a:lnTo>
                    <a:pt x="619" y="1151"/>
                  </a:lnTo>
                  <a:lnTo>
                    <a:pt x="668" y="1151"/>
                  </a:lnTo>
                  <a:lnTo>
                    <a:pt x="673" y="1151"/>
                  </a:lnTo>
                  <a:lnTo>
                    <a:pt x="716" y="1151"/>
                  </a:lnTo>
                  <a:lnTo>
                    <a:pt x="716" y="1197"/>
                  </a:lnTo>
                  <a:lnTo>
                    <a:pt x="762" y="1197"/>
                  </a:lnTo>
                  <a:lnTo>
                    <a:pt x="762" y="1245"/>
                  </a:lnTo>
                  <a:lnTo>
                    <a:pt x="811" y="1245"/>
                  </a:lnTo>
                  <a:lnTo>
                    <a:pt x="811" y="1289"/>
                  </a:lnTo>
                  <a:lnTo>
                    <a:pt x="811" y="1294"/>
                  </a:lnTo>
                  <a:lnTo>
                    <a:pt x="811" y="1335"/>
                  </a:lnTo>
                  <a:lnTo>
                    <a:pt x="811" y="1340"/>
                  </a:lnTo>
                  <a:lnTo>
                    <a:pt x="811" y="1388"/>
                  </a:lnTo>
                  <a:lnTo>
                    <a:pt x="859" y="1388"/>
                  </a:lnTo>
                  <a:lnTo>
                    <a:pt x="864" y="1388"/>
                  </a:lnTo>
                  <a:lnTo>
                    <a:pt x="905" y="1388"/>
                  </a:lnTo>
                  <a:lnTo>
                    <a:pt x="905" y="1437"/>
                  </a:lnTo>
                  <a:lnTo>
                    <a:pt x="954" y="1437"/>
                  </a:lnTo>
                  <a:lnTo>
                    <a:pt x="954" y="1483"/>
                  </a:lnTo>
                  <a:lnTo>
                    <a:pt x="1002" y="1483"/>
                  </a:lnTo>
                  <a:lnTo>
                    <a:pt x="1002" y="1526"/>
                  </a:lnTo>
                  <a:lnTo>
                    <a:pt x="1002" y="1531"/>
                  </a:lnTo>
                  <a:lnTo>
                    <a:pt x="1002" y="1575"/>
                  </a:lnTo>
                  <a:lnTo>
                    <a:pt x="1002" y="1580"/>
                  </a:lnTo>
                  <a:lnTo>
                    <a:pt x="1002" y="1621"/>
                  </a:lnTo>
                  <a:lnTo>
                    <a:pt x="1002" y="1626"/>
                  </a:lnTo>
                  <a:lnTo>
                    <a:pt x="1002" y="1670"/>
                  </a:lnTo>
                  <a:lnTo>
                    <a:pt x="1002" y="1675"/>
                  </a:lnTo>
                  <a:lnTo>
                    <a:pt x="1002" y="1723"/>
                  </a:lnTo>
                  <a:lnTo>
                    <a:pt x="1048" y="1723"/>
                  </a:lnTo>
                  <a:lnTo>
                    <a:pt x="1054" y="1723"/>
                  </a:lnTo>
                  <a:lnTo>
                    <a:pt x="1097" y="1723"/>
                  </a:lnTo>
                  <a:lnTo>
                    <a:pt x="1097" y="1764"/>
                  </a:lnTo>
                  <a:lnTo>
                    <a:pt x="1097" y="1769"/>
                  </a:lnTo>
                  <a:lnTo>
                    <a:pt x="1097" y="1818"/>
                  </a:lnTo>
                  <a:lnTo>
                    <a:pt x="1146" y="1818"/>
                  </a:lnTo>
                  <a:lnTo>
                    <a:pt x="1146" y="1866"/>
                  </a:lnTo>
                  <a:lnTo>
                    <a:pt x="1192" y="1866"/>
                  </a:lnTo>
                  <a:lnTo>
                    <a:pt x="1192" y="1907"/>
                  </a:lnTo>
                  <a:lnTo>
                    <a:pt x="1192" y="1912"/>
                  </a:lnTo>
                  <a:lnTo>
                    <a:pt x="1192" y="1961"/>
                  </a:lnTo>
                  <a:lnTo>
                    <a:pt x="1240" y="1961"/>
                  </a:lnTo>
                  <a:lnTo>
                    <a:pt x="1240" y="2004"/>
                  </a:lnTo>
                  <a:lnTo>
                    <a:pt x="1240" y="2010"/>
                  </a:lnTo>
                  <a:lnTo>
                    <a:pt x="1240" y="2050"/>
                  </a:lnTo>
                  <a:lnTo>
                    <a:pt x="1197" y="2050"/>
                  </a:lnTo>
                  <a:lnTo>
                    <a:pt x="1192" y="2050"/>
                  </a:lnTo>
                  <a:lnTo>
                    <a:pt x="1146" y="2050"/>
                  </a:lnTo>
                  <a:lnTo>
                    <a:pt x="1146" y="2099"/>
                  </a:lnTo>
                  <a:lnTo>
                    <a:pt x="1097" y="2099"/>
                  </a:lnTo>
                  <a:lnTo>
                    <a:pt x="1097" y="2148"/>
                  </a:lnTo>
                  <a:lnTo>
                    <a:pt x="1048" y="2148"/>
                  </a:lnTo>
                  <a:lnTo>
                    <a:pt x="1048" y="2194"/>
                  </a:lnTo>
                  <a:lnTo>
                    <a:pt x="1002" y="2194"/>
                  </a:lnTo>
                  <a:lnTo>
                    <a:pt x="1002" y="2242"/>
                  </a:lnTo>
                  <a:lnTo>
                    <a:pt x="1002" y="2247"/>
                  </a:lnTo>
                  <a:lnTo>
                    <a:pt x="1002" y="2296"/>
                  </a:lnTo>
                  <a:lnTo>
                    <a:pt x="1048" y="2296"/>
                  </a:lnTo>
                  <a:lnTo>
                    <a:pt x="1048" y="2342"/>
                  </a:lnTo>
                  <a:lnTo>
                    <a:pt x="1097" y="2342"/>
                  </a:lnTo>
                  <a:lnTo>
                    <a:pt x="1102" y="2342"/>
                  </a:lnTo>
                  <a:lnTo>
                    <a:pt x="1146" y="2342"/>
                  </a:lnTo>
                  <a:lnTo>
                    <a:pt x="1146" y="2390"/>
                  </a:lnTo>
                  <a:lnTo>
                    <a:pt x="1192" y="2390"/>
                  </a:lnTo>
                  <a:lnTo>
                    <a:pt x="1192" y="2439"/>
                  </a:lnTo>
                  <a:lnTo>
                    <a:pt x="1240" y="2439"/>
                  </a:lnTo>
                  <a:lnTo>
                    <a:pt x="1240" y="2485"/>
                  </a:lnTo>
                  <a:lnTo>
                    <a:pt x="1294" y="2485"/>
                  </a:lnTo>
                  <a:lnTo>
                    <a:pt x="1294" y="2439"/>
                  </a:lnTo>
                  <a:lnTo>
                    <a:pt x="1340" y="2439"/>
                  </a:lnTo>
                  <a:lnTo>
                    <a:pt x="1340" y="2390"/>
                  </a:lnTo>
                  <a:lnTo>
                    <a:pt x="1388" y="2390"/>
                  </a:lnTo>
                  <a:lnTo>
                    <a:pt x="1388" y="2342"/>
                  </a:lnTo>
                  <a:lnTo>
                    <a:pt x="1388" y="2337"/>
                  </a:lnTo>
                  <a:lnTo>
                    <a:pt x="1388" y="2296"/>
                  </a:lnTo>
                  <a:lnTo>
                    <a:pt x="1437" y="2296"/>
                  </a:lnTo>
                  <a:lnTo>
                    <a:pt x="1437" y="2247"/>
                  </a:lnTo>
                  <a:lnTo>
                    <a:pt x="1437" y="2242"/>
                  </a:lnTo>
                  <a:lnTo>
                    <a:pt x="1437" y="2199"/>
                  </a:lnTo>
                  <a:lnTo>
                    <a:pt x="1483" y="2199"/>
                  </a:lnTo>
                  <a:lnTo>
                    <a:pt x="1483" y="2153"/>
                  </a:lnTo>
                  <a:lnTo>
                    <a:pt x="1532" y="2153"/>
                  </a:lnTo>
                  <a:lnTo>
                    <a:pt x="1532" y="2104"/>
                  </a:lnTo>
                  <a:lnTo>
                    <a:pt x="1532" y="2099"/>
                  </a:lnTo>
                  <a:lnTo>
                    <a:pt x="1532" y="2056"/>
                  </a:lnTo>
                  <a:lnTo>
                    <a:pt x="1532" y="2050"/>
                  </a:lnTo>
                  <a:lnTo>
                    <a:pt x="1532" y="2010"/>
                  </a:lnTo>
                  <a:lnTo>
                    <a:pt x="1532" y="2004"/>
                  </a:lnTo>
                  <a:lnTo>
                    <a:pt x="1532" y="1961"/>
                  </a:lnTo>
                  <a:lnTo>
                    <a:pt x="1580" y="1961"/>
                  </a:lnTo>
                  <a:lnTo>
                    <a:pt x="1580" y="1912"/>
                  </a:lnTo>
                  <a:lnTo>
                    <a:pt x="1626" y="1912"/>
                  </a:lnTo>
                  <a:lnTo>
                    <a:pt x="1626" y="1866"/>
                  </a:lnTo>
                  <a:lnTo>
                    <a:pt x="1670" y="1866"/>
                  </a:lnTo>
                  <a:lnTo>
                    <a:pt x="1675" y="1866"/>
                  </a:lnTo>
                  <a:lnTo>
                    <a:pt x="1718" y="1866"/>
                  </a:lnTo>
                  <a:lnTo>
                    <a:pt x="1723" y="1866"/>
                  </a:lnTo>
                  <a:lnTo>
                    <a:pt x="1764" y="1866"/>
                  </a:lnTo>
                  <a:lnTo>
                    <a:pt x="1769" y="1866"/>
                  </a:lnTo>
                  <a:lnTo>
                    <a:pt x="1818" y="1866"/>
                  </a:lnTo>
                  <a:lnTo>
                    <a:pt x="1818" y="1818"/>
                  </a:lnTo>
                  <a:lnTo>
                    <a:pt x="1861" y="1818"/>
                  </a:lnTo>
                  <a:lnTo>
                    <a:pt x="1867" y="1818"/>
                  </a:lnTo>
                  <a:lnTo>
                    <a:pt x="1913" y="1818"/>
                  </a:lnTo>
                  <a:lnTo>
                    <a:pt x="1913" y="1769"/>
                  </a:lnTo>
                  <a:lnTo>
                    <a:pt x="1961" y="1769"/>
                  </a:lnTo>
                  <a:lnTo>
                    <a:pt x="1961" y="1723"/>
                  </a:lnTo>
                  <a:lnTo>
                    <a:pt x="2010" y="1723"/>
                  </a:lnTo>
                  <a:lnTo>
                    <a:pt x="2010" y="1675"/>
                  </a:lnTo>
                  <a:lnTo>
                    <a:pt x="2056" y="1675"/>
                  </a:lnTo>
                  <a:lnTo>
                    <a:pt x="2056" y="1626"/>
                  </a:lnTo>
                  <a:lnTo>
                    <a:pt x="2056" y="1621"/>
                  </a:lnTo>
                  <a:lnTo>
                    <a:pt x="2056" y="1580"/>
                  </a:lnTo>
                  <a:lnTo>
                    <a:pt x="2104" y="1580"/>
                  </a:lnTo>
                  <a:lnTo>
                    <a:pt x="2104" y="1531"/>
                  </a:lnTo>
                  <a:lnTo>
                    <a:pt x="2104" y="1526"/>
                  </a:lnTo>
                  <a:lnTo>
                    <a:pt x="2104" y="1483"/>
                  </a:lnTo>
                  <a:lnTo>
                    <a:pt x="2104" y="1478"/>
                  </a:lnTo>
                  <a:lnTo>
                    <a:pt x="2104" y="1437"/>
                  </a:lnTo>
                  <a:lnTo>
                    <a:pt x="2104" y="1432"/>
                  </a:lnTo>
                  <a:lnTo>
                    <a:pt x="2104" y="1388"/>
                  </a:lnTo>
                  <a:lnTo>
                    <a:pt x="2153" y="1388"/>
                  </a:lnTo>
                  <a:lnTo>
                    <a:pt x="2153" y="1340"/>
                  </a:lnTo>
                  <a:lnTo>
                    <a:pt x="2153" y="1335"/>
                  </a:lnTo>
                  <a:lnTo>
                    <a:pt x="2153" y="1294"/>
                  </a:lnTo>
                  <a:lnTo>
                    <a:pt x="2153" y="1289"/>
                  </a:lnTo>
                  <a:lnTo>
                    <a:pt x="2153" y="1245"/>
                  </a:lnTo>
                  <a:lnTo>
                    <a:pt x="2153" y="1240"/>
                  </a:lnTo>
                  <a:lnTo>
                    <a:pt x="2153" y="1197"/>
                  </a:lnTo>
                  <a:lnTo>
                    <a:pt x="2199" y="1197"/>
                  </a:lnTo>
                  <a:lnTo>
                    <a:pt x="2199" y="1151"/>
                  </a:lnTo>
                  <a:lnTo>
                    <a:pt x="2247" y="1151"/>
                  </a:lnTo>
                  <a:lnTo>
                    <a:pt x="2247" y="1102"/>
                  </a:lnTo>
                  <a:lnTo>
                    <a:pt x="2296" y="1102"/>
                  </a:lnTo>
                  <a:lnTo>
                    <a:pt x="2296" y="1053"/>
                  </a:lnTo>
                  <a:lnTo>
                    <a:pt x="2296" y="1048"/>
                  </a:lnTo>
                  <a:lnTo>
                    <a:pt x="2296" y="1007"/>
                  </a:lnTo>
                  <a:lnTo>
                    <a:pt x="2342" y="1007"/>
                  </a:lnTo>
                  <a:lnTo>
                    <a:pt x="2342" y="959"/>
                  </a:lnTo>
                  <a:lnTo>
                    <a:pt x="2391" y="959"/>
                  </a:lnTo>
                  <a:lnTo>
                    <a:pt x="2391" y="910"/>
                  </a:lnTo>
                  <a:lnTo>
                    <a:pt x="2391" y="905"/>
                  </a:lnTo>
                  <a:lnTo>
                    <a:pt x="2391" y="864"/>
                  </a:lnTo>
                  <a:lnTo>
                    <a:pt x="2391" y="859"/>
                  </a:lnTo>
                  <a:lnTo>
                    <a:pt x="2391" y="816"/>
                  </a:lnTo>
                  <a:lnTo>
                    <a:pt x="2391" y="811"/>
                  </a:lnTo>
                  <a:lnTo>
                    <a:pt x="2391" y="767"/>
                  </a:lnTo>
                  <a:lnTo>
                    <a:pt x="2391" y="762"/>
                  </a:lnTo>
                  <a:lnTo>
                    <a:pt x="2391" y="716"/>
                  </a:lnTo>
                  <a:lnTo>
                    <a:pt x="2342" y="71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 name="タイトル 4"/>
          <p:cNvSpPr>
            <a:spLocks noGrp="1"/>
          </p:cNvSpPr>
          <p:nvPr>
            <p:ph type="title"/>
          </p:nvPr>
        </p:nvSpPr>
        <p:spPr/>
        <p:txBody>
          <a:bodyPr/>
          <a:lstStyle/>
          <a:p>
            <a:r>
              <a:rPr lang="ja-JP" altLang="en-US" dirty="0"/>
              <a:t>ブラジル／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外貨持出規制</a:t>
            </a:r>
          </a:p>
        </p:txBody>
      </p:sp>
      <p:sp>
        <p:nvSpPr>
          <p:cNvPr id="28" name="角丸四角形 27"/>
          <p:cNvSpPr/>
          <p:nvPr/>
        </p:nvSpPr>
        <p:spPr>
          <a:xfrm>
            <a:off x="1424608" y="2405213"/>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424608" y="4277421"/>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648744" y="4365104"/>
            <a:ext cx="4931477" cy="1177256"/>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alpha val="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504727" y="2636912"/>
            <a:ext cx="4684157" cy="1308805"/>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3621864" y="2261197"/>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316053" y="3486296"/>
              <a:ext cx="2103460" cy="461665"/>
            </a:xfrm>
            <a:prstGeom prst="rect">
              <a:avLst/>
            </a:prstGeom>
            <a:noFill/>
          </p:spPr>
          <p:txBody>
            <a:bodyPr wrap="none" rtlCol="0">
              <a:spAutoFit/>
            </a:bodyPr>
            <a:lstStyle/>
            <a:p>
              <a:pPr lvl="0" algn="ctr"/>
              <a:r>
                <a:rPr lang="en-US" altLang="ja-JP" sz="240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0,00</a:t>
              </a:r>
              <a:r>
                <a:rPr lang="en-US" altLang="ja-JP" sz="2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0</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レアル以上</a:t>
              </a:r>
              <a:endParaRPr lang="en-US" altLang="ja-JP" sz="20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grpSp>
        <p:nvGrpSpPr>
          <p:cNvPr id="43" name="グループ化 42"/>
          <p:cNvGrpSpPr/>
          <p:nvPr/>
        </p:nvGrpSpPr>
        <p:grpSpPr>
          <a:xfrm>
            <a:off x="3621864" y="4147091"/>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328880" y="3486296"/>
              <a:ext cx="2077813" cy="461665"/>
            </a:xfrm>
            <a:prstGeom prst="rect">
              <a:avLst/>
            </a:prstGeom>
            <a:noFill/>
          </p:spPr>
          <p:txBody>
            <a:bodyPr wrap="none" rtlCol="0">
              <a:spAutoFit/>
            </a:bodyPr>
            <a:lstStyle/>
            <a:p>
              <a:pPr lvl="0" algn="ctr"/>
              <a:r>
                <a:rPr lang="en-US" altLang="ja-JP" sz="240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0,00</a:t>
              </a:r>
              <a:r>
                <a:rPr lang="en-US" altLang="ja-JP" sz="2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0</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レアル以上</a:t>
              </a:r>
              <a:endParaRPr lang="en-US" altLang="ja-JP" sz="20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46" name="正方形/長方形 45"/>
            <p:cNvSpPr/>
            <p:nvPr/>
          </p:nvSpPr>
          <p:spPr>
            <a:xfrm>
              <a:off x="2922793" y="3079185"/>
              <a:ext cx="88998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4257458" y="2693865"/>
            <a:ext cx="88998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4" name="テキスト ボックス 2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入出国時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レアル相当以上の現金、トラベラーズ・チェックまたはその他の外貨を所有している場合、申告が必要。</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5" name="グループ化 7"/>
          <p:cNvGrpSpPr/>
          <p:nvPr/>
        </p:nvGrpSpPr>
        <p:grpSpPr>
          <a:xfrm>
            <a:off x="416496" y="1772816"/>
            <a:ext cx="9001000" cy="288032"/>
            <a:chOff x="4944173" y="2113806"/>
            <a:chExt cx="5861371" cy="288032"/>
          </a:xfrm>
        </p:grpSpPr>
        <p:cxnSp>
          <p:nvCxnSpPr>
            <p:cNvPr id="27" name="直線コネクタ 2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出入国時空港で税関申告する必要があるケース</a:t>
              </a:r>
            </a:p>
          </p:txBody>
        </p:sp>
      </p:grpSp>
    </p:spTree>
    <p:extLst>
      <p:ext uri="{BB962C8B-B14F-4D97-AF65-F5344CB8AC3E}">
        <p14:creationId xmlns:p14="http://schemas.microsoft.com/office/powerpoint/2010/main" val="2709399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41144251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5.9</a:t>
            </a:r>
            <a:r>
              <a:rPr lang="ja-JP" altLang="en-US" dirty="0"/>
              <a:t>歳、健康寿命は</a:t>
            </a:r>
            <a:r>
              <a:rPr lang="en-US" altLang="ja-JP" dirty="0"/>
              <a:t>65.4</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a:t>
            </a:r>
            <a:r>
              <a:rPr kumimoji="0" lang="en-US" altLang="ja-JP" sz="800" dirty="0" bmk=""/>
              <a:t>Global Health Observatory (GHO) data</a:t>
            </a:r>
            <a:r>
              <a:rPr kumimoji="0" lang="ja-JP" altLang="en-US" sz="800" dirty="0" bmk=""/>
              <a:t>」</a:t>
            </a:r>
            <a:r>
              <a:rPr kumimoji="0" lang="en-US" altLang="ja-JP" sz="800" dirty="0" bmk=""/>
              <a:t>(2021</a:t>
            </a:r>
            <a:r>
              <a:rPr kumimoji="0" lang="ja-JP" altLang="en-US" sz="800" dirty="0" bmk=""/>
              <a:t>年</a:t>
            </a:r>
            <a:r>
              <a:rPr kumimoji="0" lang="en-US" altLang="ja-JP" sz="800" dirty="0" bmk=""/>
              <a:t>11</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2689642071"/>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2.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9.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5.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7.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7%</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9%</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7.6%</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5.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5%</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8307314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723112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186" imgW="270" imgH="270" progId="TCLayout.ActiveDocument.1">
                  <p:embed/>
                </p:oleObj>
              </mc:Choice>
              <mc:Fallback>
                <p:oleObj name="think-cell Slide" r:id="rId186" imgW="270" imgH="270" progId="TCLayout.ActiveDocument.1">
                  <p:embed/>
                  <p:pic>
                    <p:nvPicPr>
                      <p:cNvPr id="8" name="オブジェクト 7" hidden="1"/>
                      <p:cNvPicPr>
                        <a:picLocks noChangeAspect="1" noChangeArrowheads="1"/>
                      </p:cNvPicPr>
                      <p:nvPr/>
                    </p:nvPicPr>
                    <p:blipFill>
                      <a:blip r:embed="rId18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73" name="Chart 272">
            <a:extLst>
              <a:ext uri="{FF2B5EF4-FFF2-40B4-BE49-F238E27FC236}">
                <a16:creationId xmlns:a16="http://schemas.microsoft.com/office/drawing/2014/main" id="{97D593CD-C31A-4BF1-A0C7-6BCCB03F0C8C}"/>
              </a:ext>
            </a:extLst>
          </p:cNvPr>
          <p:cNvGraphicFramePr/>
          <p:nvPr>
            <p:custDataLst>
              <p:tags r:id="rId3"/>
            </p:custDataLst>
            <p:extLst>
              <p:ext uri="{D42A27DB-BD31-4B8C-83A1-F6EECF244321}">
                <p14:modId xmlns:p14="http://schemas.microsoft.com/office/powerpoint/2010/main" val="1493440798"/>
              </p:ext>
            </p:extLst>
          </p:nvPr>
        </p:nvGraphicFramePr>
        <p:xfrm>
          <a:off x="1085850" y="2165350"/>
          <a:ext cx="7250113" cy="1455738"/>
        </p:xfrm>
        <a:graphic>
          <a:graphicData uri="http://schemas.openxmlformats.org/drawingml/2006/chart">
            <c:chart xmlns:c="http://schemas.openxmlformats.org/drawingml/2006/chart" xmlns:r="http://schemas.openxmlformats.org/officeDocument/2006/relationships" r:id="rId188"/>
          </a:graphicData>
        </a:graphic>
      </p:graphicFrame>
      <p:graphicFrame>
        <p:nvGraphicFramePr>
          <p:cNvPr id="256" name="Chart 255">
            <a:extLst>
              <a:ext uri="{FF2B5EF4-FFF2-40B4-BE49-F238E27FC236}">
                <a16:creationId xmlns:a16="http://schemas.microsoft.com/office/drawing/2014/main" id="{A8A26484-F70F-4668-B27A-D329C2245836}"/>
              </a:ext>
            </a:extLst>
          </p:cNvPr>
          <p:cNvGraphicFramePr/>
          <p:nvPr>
            <p:custDataLst>
              <p:tags r:id="rId4"/>
            </p:custDataLst>
            <p:extLst>
              <p:ext uri="{D42A27DB-BD31-4B8C-83A1-F6EECF244321}">
                <p14:modId xmlns:p14="http://schemas.microsoft.com/office/powerpoint/2010/main" val="4018780084"/>
              </p:ext>
            </p:extLst>
          </p:nvPr>
        </p:nvGraphicFramePr>
        <p:xfrm>
          <a:off x="1125538" y="2428875"/>
          <a:ext cx="6954837" cy="1184275"/>
        </p:xfrm>
        <a:graphic>
          <a:graphicData uri="http://schemas.openxmlformats.org/drawingml/2006/chart">
            <c:chart xmlns:c="http://schemas.openxmlformats.org/drawingml/2006/chart" xmlns:r="http://schemas.openxmlformats.org/officeDocument/2006/relationships" r:id="rId189"/>
          </a:graphicData>
        </a:graphic>
      </p:graphicFrame>
      <p:sp>
        <p:nvSpPr>
          <p:cNvPr id="247" name="テキスト プレースホルダ 9">
            <a:extLst>
              <a:ext uri="{FF2B5EF4-FFF2-40B4-BE49-F238E27FC236}">
                <a16:creationId xmlns:a16="http://schemas.microsoft.com/office/drawing/2014/main" id="{A64A4631-63A8-45CC-B37D-97AF0753F233}"/>
              </a:ext>
            </a:extLst>
          </p:cNvPr>
          <p:cNvSpPr>
            <a:spLocks noGrp="1"/>
          </p:cNvSpPr>
          <p:nvPr>
            <p:custDataLst>
              <p:tags r:id="rId5"/>
            </p:custDataLst>
          </p:nvPr>
        </p:nvSpPr>
        <p:spPr bwMode="gray">
          <a:xfrm>
            <a:off x="808038" y="2646363"/>
            <a:ext cx="285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115FA05-066F-4B6C-B494-7B3819B7F800}" type="datetime'''''''''''2'''''',''''''''''0''''''0''''''''''0'''">
              <a:rPr lang="ja-JP" altLang="en-US" sz="900" smtClean="0">
                <a:effectLst/>
                <a:sym typeface="+mn-lt"/>
              </a:rPr>
              <a:pPr marL="0" indent="0" algn="r">
                <a:spcBef>
                  <a:spcPct val="0"/>
                </a:spcBef>
                <a:buNone/>
              </a:pPr>
              <a:t>2,000</a:t>
            </a:fld>
            <a:endParaRPr lang="ja-JP" altLang="en-US" sz="900" dirty="0">
              <a:sym typeface="+mn-lt"/>
            </a:endParaRPr>
          </a:p>
        </p:txBody>
      </p:sp>
      <p:sp>
        <p:nvSpPr>
          <p:cNvPr id="244" name="テキスト プレースホルダ 9">
            <a:extLst>
              <a:ext uri="{FF2B5EF4-FFF2-40B4-BE49-F238E27FC236}">
                <a16:creationId xmlns:a16="http://schemas.microsoft.com/office/drawing/2014/main" id="{C0F3831F-A606-481E-845E-9797DA536F79}"/>
              </a:ext>
            </a:extLst>
          </p:cNvPr>
          <p:cNvSpPr>
            <a:spLocks noGrp="1"/>
          </p:cNvSpPr>
          <p:nvPr>
            <p:custDataLst>
              <p:tags r:id="rId6"/>
            </p:custDataLst>
          </p:nvPr>
        </p:nvSpPr>
        <p:spPr bwMode="gray">
          <a:xfrm>
            <a:off x="903288" y="3259138"/>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5C10149-6C44-4B7E-ABA7-D5ED475917A3}" type="datetime'''''''''''''''''''''''5''''''''''''''0''''''''0'''''">
              <a:rPr lang="ja-JP" altLang="en-US" sz="900" smtClean="0">
                <a:effectLst/>
                <a:sym typeface="+mn-lt"/>
              </a:rPr>
              <a:pPr marL="0" indent="0" algn="r">
                <a:spcBef>
                  <a:spcPct val="0"/>
                </a:spcBef>
                <a:buNone/>
              </a:pPr>
              <a:t>500</a:t>
            </a:fld>
            <a:endParaRPr lang="ja-JP" altLang="en-US" sz="900" dirty="0">
              <a:sym typeface="+mn-lt"/>
            </a:endParaRPr>
          </a:p>
        </p:txBody>
      </p:sp>
      <p:sp>
        <p:nvSpPr>
          <p:cNvPr id="245" name="テキスト プレースホルダ 9">
            <a:extLst>
              <a:ext uri="{FF2B5EF4-FFF2-40B4-BE49-F238E27FC236}">
                <a16:creationId xmlns:a16="http://schemas.microsoft.com/office/drawing/2014/main" id="{DA8352E0-9EC2-409D-98EA-F35DB82E8CC0}"/>
              </a:ext>
            </a:extLst>
          </p:cNvPr>
          <p:cNvSpPr>
            <a:spLocks noGrp="1"/>
          </p:cNvSpPr>
          <p:nvPr>
            <p:custDataLst>
              <p:tags r:id="rId7"/>
            </p:custDataLst>
          </p:nvPr>
        </p:nvSpPr>
        <p:spPr bwMode="gray">
          <a:xfrm>
            <a:off x="808038" y="3054350"/>
            <a:ext cx="285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2716DB8-AFCD-419E-92D7-AEB482FF9FF8}" type="datetime'1'''',0''''''''''''''0''0'">
              <a:rPr lang="ja-JP" altLang="en-US" sz="900" smtClean="0">
                <a:effectLst/>
                <a:sym typeface="+mn-lt"/>
              </a:rPr>
              <a:pPr marL="0" indent="0" algn="r">
                <a:spcBef>
                  <a:spcPct val="0"/>
                </a:spcBef>
                <a:buNone/>
              </a:pPr>
              <a:t>1,000</a:t>
            </a:fld>
            <a:endParaRPr lang="ja-JP" altLang="en-US" sz="900" dirty="0">
              <a:sym typeface="+mn-lt"/>
            </a:endParaRPr>
          </a:p>
        </p:txBody>
      </p:sp>
      <p:sp>
        <p:nvSpPr>
          <p:cNvPr id="243" name="テキスト プレースホルダ 9">
            <a:extLst>
              <a:ext uri="{FF2B5EF4-FFF2-40B4-BE49-F238E27FC236}">
                <a16:creationId xmlns:a16="http://schemas.microsoft.com/office/drawing/2014/main" id="{7E6AA226-14A8-44BA-A1EB-A7A7B1CC3FB7}"/>
              </a:ext>
            </a:extLst>
          </p:cNvPr>
          <p:cNvSpPr>
            <a:spLocks noGrp="1"/>
          </p:cNvSpPr>
          <p:nvPr>
            <p:custDataLst>
              <p:tags r:id="rId8"/>
            </p:custDataLst>
          </p:nvPr>
        </p:nvSpPr>
        <p:spPr bwMode="gray">
          <a:xfrm>
            <a:off x="1030288" y="3462339"/>
            <a:ext cx="63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570D1D8-9BB5-48D8-9F0C-605B5DFD8B87}" type="datetime'''''''''''''''''''''''''''''0'''''''''''''''''''''''">
              <a:rPr lang="ja-JP" altLang="en-US" sz="900" smtClean="0">
                <a:effectLst/>
                <a:sym typeface="+mn-lt"/>
              </a:rPr>
              <a:pPr marL="0" indent="0" algn="r">
                <a:spcBef>
                  <a:spcPct val="0"/>
                </a:spcBef>
                <a:buNone/>
              </a:pPr>
              <a:t>0</a:t>
            </a:fld>
            <a:endParaRPr lang="ja-JP" altLang="en-US" sz="900" dirty="0">
              <a:sym typeface="+mn-lt"/>
            </a:endParaRPr>
          </a:p>
        </p:txBody>
      </p:sp>
      <p:sp>
        <p:nvSpPr>
          <p:cNvPr id="246" name="テキスト プレースホルダ 9">
            <a:extLst>
              <a:ext uri="{FF2B5EF4-FFF2-40B4-BE49-F238E27FC236}">
                <a16:creationId xmlns:a16="http://schemas.microsoft.com/office/drawing/2014/main" id="{CFBFFF6F-23B5-4C10-9CDF-124283150A75}"/>
              </a:ext>
            </a:extLst>
          </p:cNvPr>
          <p:cNvSpPr>
            <a:spLocks noGrp="1"/>
          </p:cNvSpPr>
          <p:nvPr>
            <p:custDataLst>
              <p:tags r:id="rId9"/>
            </p:custDataLst>
          </p:nvPr>
        </p:nvSpPr>
        <p:spPr bwMode="gray">
          <a:xfrm>
            <a:off x="808038" y="2851150"/>
            <a:ext cx="285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83879F8-35FA-4710-B19D-08899512803D}" type="datetime'''''''''''1'''''''',''''''''''5''''0''''''''''''0'''''''">
              <a:rPr lang="ja-JP" altLang="en-US" sz="900" smtClean="0">
                <a:effectLst/>
                <a:sym typeface="+mn-lt"/>
              </a:rPr>
              <a:pPr marL="0" indent="0" algn="r">
                <a:spcBef>
                  <a:spcPct val="0"/>
                </a:spcBef>
                <a:buNone/>
              </a:pPr>
              <a:t>1,500</a:t>
            </a:fld>
            <a:endParaRPr lang="ja-JP" altLang="en-US" sz="900" dirty="0">
              <a:sym typeface="+mn-lt"/>
            </a:endParaRPr>
          </a:p>
        </p:txBody>
      </p:sp>
      <p:sp>
        <p:nvSpPr>
          <p:cNvPr id="255" name="テキスト プレースホルダ 9">
            <a:extLst>
              <a:ext uri="{FF2B5EF4-FFF2-40B4-BE49-F238E27FC236}">
                <a16:creationId xmlns:a16="http://schemas.microsoft.com/office/drawing/2014/main" id="{A6D55481-4056-4AA0-AFA5-A602AAC444DE}"/>
              </a:ext>
            </a:extLst>
          </p:cNvPr>
          <p:cNvSpPr>
            <a:spLocks noGrp="1"/>
          </p:cNvSpPr>
          <p:nvPr>
            <p:custDataLst>
              <p:tags r:id="rId10"/>
            </p:custDataLst>
          </p:nvPr>
        </p:nvSpPr>
        <p:spPr bwMode="gray">
          <a:xfrm>
            <a:off x="808038" y="2443164"/>
            <a:ext cx="285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CC38736-BB31-4472-9B97-7DD6A2595776}" type="datetime'''''2'''''''''''''''',''5''''''''''''''''''''0''''0'''''''">
              <a:rPr lang="ja-JP" altLang="en-US" sz="900" smtClean="0">
                <a:effectLst/>
                <a:sym typeface="+mn-lt"/>
              </a:rPr>
              <a:pPr marL="0" indent="0" algn="r">
                <a:spcBef>
                  <a:spcPct val="0"/>
                </a:spcBef>
                <a:buNone/>
              </a:pPr>
              <a:t>2,500</a:t>
            </a:fld>
            <a:endParaRPr lang="ja-JP" altLang="en-US" sz="900" dirty="0">
              <a:sym typeface="+mn-lt"/>
            </a:endParaRPr>
          </a:p>
        </p:txBody>
      </p:sp>
      <p:sp>
        <p:nvSpPr>
          <p:cNvPr id="146" name="テキスト プレースホルダ 9"/>
          <p:cNvSpPr>
            <a:spLocks noGrp="1"/>
          </p:cNvSpPr>
          <p:nvPr>
            <p:custDataLst>
              <p:tags r:id="rId11"/>
            </p:custDataLst>
          </p:nvPr>
        </p:nvSpPr>
        <p:spPr bwMode="gray">
          <a:xfrm>
            <a:off x="5680075" y="3011488"/>
            <a:ext cx="222250" cy="136525"/>
          </a:xfrm>
          <a:prstGeom prst="rect">
            <a:avLst/>
          </a:prstGeom>
          <a:noFill/>
          <a:extLst>
            <a:ext uri="{909E8E84-426E-40DD-AFC4-6F175D3DCCD1}">
              <a14:hiddenFill xmlns:a14="http://schemas.microsoft.com/office/drawing/2010/main">
                <a:solidFill>
                  <a:srgbClr val="80CCE8"/>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6A8458-F40B-473A-BF88-4DBB18FFFEBE}" type="datetime'''''''''''''''''''''8''''''''''''4''''''''7'''''">
              <a:rPr kumimoji="0" lang="ja-JP" altLang="en-US" sz="900" smtClean="0">
                <a:effectLst/>
              </a:rPr>
              <a:pPr/>
              <a:t>847</a:t>
            </a:fld>
            <a:endParaRPr kumimoji="0" lang="ja-JP" altLang="en-US" sz="900" dirty="0">
              <a:sym typeface="+mn-lt"/>
            </a:endParaRPr>
          </a:p>
        </p:txBody>
      </p:sp>
      <p:sp>
        <p:nvSpPr>
          <p:cNvPr id="47" name="テキスト プレースホルダ 9"/>
          <p:cNvSpPr>
            <a:spLocks noGrp="1"/>
          </p:cNvSpPr>
          <p:nvPr>
            <p:custDataLst>
              <p:tags r:id="rId12"/>
            </p:custDataLst>
          </p:nvPr>
        </p:nvSpPr>
        <p:spPr bwMode="auto">
          <a:xfrm>
            <a:off x="5041900"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0301BB-01FE-4BBF-8E91-16AE4A00D962}" type="datetime'''''''''''''''''''''''''''''''''1''''''''''''1'''''''">
              <a:rPr lang="ja-JP" altLang="en-US" sz="900"/>
              <a:pPr marL="0" indent="0" algn="ctr">
                <a:spcBef>
                  <a:spcPct val="0"/>
                </a:spcBef>
                <a:buNone/>
              </a:pPr>
              <a:t>11</a:t>
            </a:fld>
            <a:endParaRPr kumimoji="0" lang="ja-JP" altLang="en-US" sz="900" dirty="0">
              <a:sym typeface="+mn-lt"/>
            </a:endParaRPr>
          </a:p>
        </p:txBody>
      </p:sp>
      <p:sp>
        <p:nvSpPr>
          <p:cNvPr id="50" name="テキスト プレースホルダ 9"/>
          <p:cNvSpPr>
            <a:spLocks noGrp="1"/>
          </p:cNvSpPr>
          <p:nvPr>
            <p:custDataLst>
              <p:tags r:id="rId13"/>
            </p:custDataLst>
          </p:nvPr>
        </p:nvSpPr>
        <p:spPr bwMode="auto">
          <a:xfrm>
            <a:off x="6061075"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1364D4-AECD-4208-818B-E1018752E322}" type="datetime'''''1''''4'''''''''''''''''''''''''''">
              <a:rPr lang="ja-JP" altLang="en-US" sz="900"/>
              <a:pPr marL="0" indent="0" algn="ctr">
                <a:spcBef>
                  <a:spcPct val="0"/>
                </a:spcBef>
                <a:buNone/>
              </a:pPr>
              <a:t>14</a:t>
            </a:fld>
            <a:endParaRPr kumimoji="0" lang="ja-JP" altLang="en-US" sz="900" dirty="0">
              <a:sym typeface="+mn-lt"/>
            </a:endParaRPr>
          </a:p>
        </p:txBody>
      </p:sp>
      <p:sp>
        <p:nvSpPr>
          <p:cNvPr id="39" name="テキスト プレースホルダ 9"/>
          <p:cNvSpPr>
            <a:spLocks noGrp="1"/>
          </p:cNvSpPr>
          <p:nvPr>
            <p:custDataLst>
              <p:tags r:id="rId14"/>
            </p:custDataLst>
          </p:nvPr>
        </p:nvSpPr>
        <p:spPr bwMode="auto">
          <a:xfrm>
            <a:off x="2325688"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18DAC7-D6C1-4AEC-9EB1-A42A3819F5F6}" type="datetime'''''0''''''''''''''''''''''''3'''''''">
              <a:rPr lang="ja-JP" altLang="en-US" sz="900"/>
              <a:pPr marL="0" indent="0" algn="ctr">
                <a:spcBef>
                  <a:spcPct val="0"/>
                </a:spcBef>
                <a:buNone/>
              </a:pPr>
              <a:t>03</a:t>
            </a:fld>
            <a:endParaRPr kumimoji="0" lang="ja-JP" altLang="en-US" sz="900" dirty="0">
              <a:sym typeface="+mn-lt"/>
            </a:endParaRPr>
          </a:p>
        </p:txBody>
      </p:sp>
      <p:sp>
        <p:nvSpPr>
          <p:cNvPr id="212" name="テキスト プレースホルダ 9">
            <a:extLst>
              <a:ext uri="{FF2B5EF4-FFF2-40B4-BE49-F238E27FC236}">
                <a16:creationId xmlns:a16="http://schemas.microsoft.com/office/drawing/2014/main" id="{0AE81A0A-214F-448A-B528-DF0A2A639E12}"/>
              </a:ext>
            </a:extLst>
          </p:cNvPr>
          <p:cNvSpPr>
            <a:spLocks noGrp="1"/>
          </p:cNvSpPr>
          <p:nvPr>
            <p:custDataLst>
              <p:tags r:id="rId15"/>
            </p:custDataLst>
          </p:nvPr>
        </p:nvSpPr>
        <p:spPr bwMode="gray">
          <a:xfrm>
            <a:off x="5680075" y="3322638"/>
            <a:ext cx="2222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F307F4-2FBA-482F-B502-9F00EF017EC3}" type="datetime'''''''''''''''''''68''''''''''''''0'''''''''''''''''''''">
              <a:rPr lang="ja-JP" altLang="en-US" sz="900" smtClean="0">
                <a:effectLst/>
              </a:rPr>
              <a:pPr/>
              <a:t>680</a:t>
            </a:fld>
            <a:endParaRPr lang="ja-JP" altLang="en-US" sz="900" dirty="0">
              <a:sym typeface="+mn-lt"/>
            </a:endParaRPr>
          </a:p>
        </p:txBody>
      </p:sp>
      <p:sp>
        <p:nvSpPr>
          <p:cNvPr id="169" name="テキスト プレースホルダ 9"/>
          <p:cNvSpPr>
            <a:spLocks noGrp="1"/>
          </p:cNvSpPr>
          <p:nvPr>
            <p:custDataLst>
              <p:tags r:id="rId16"/>
            </p:custDataLst>
          </p:nvPr>
        </p:nvSpPr>
        <p:spPr bwMode="gray">
          <a:xfrm>
            <a:off x="2284413" y="3370263"/>
            <a:ext cx="222250" cy="136525"/>
          </a:xfrm>
          <a:prstGeom prst="rect">
            <a:avLst/>
          </a:prstGeom>
          <a:noFill/>
          <a:extLst>
            <a:ext uri="{909E8E84-426E-40DD-AFC4-6F175D3DCCD1}">
              <a14:hiddenFill xmlns:a14="http://schemas.microsoft.com/office/drawing/2010/main">
                <a:solidFill>
                  <a:srgbClr val="C0E6F4"/>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3FE0B1-D96E-4F1B-A13C-79B92E59577B}" type="datetime'''''''''''4''''''5''''''''''''''''''''3'">
              <a:rPr kumimoji="0" lang="ja-JP" altLang="en-US" sz="900" smtClean="0">
                <a:effectLst/>
              </a:rPr>
              <a:pPr/>
              <a:t>453</a:t>
            </a:fld>
            <a:endParaRPr kumimoji="0" lang="ja-JP" altLang="en-US" sz="900" dirty="0">
              <a:sym typeface="+mn-lt"/>
            </a:endParaRPr>
          </a:p>
        </p:txBody>
      </p:sp>
      <p:sp>
        <p:nvSpPr>
          <p:cNvPr id="126" name="テキスト プレースホルダ 9">
            <a:extLst>
              <a:ext uri="{FF2B5EF4-FFF2-40B4-BE49-F238E27FC236}">
                <a16:creationId xmlns:a16="http://schemas.microsoft.com/office/drawing/2014/main" id="{01AADBD6-AFF2-4AC1-862F-12A5BC1E0481}"/>
              </a:ext>
            </a:extLst>
          </p:cNvPr>
          <p:cNvSpPr>
            <a:spLocks noGrp="1"/>
          </p:cNvSpPr>
          <p:nvPr>
            <p:custDataLst>
              <p:tags r:id="rId17"/>
            </p:custDataLst>
          </p:nvPr>
        </p:nvSpPr>
        <p:spPr bwMode="auto">
          <a:xfrm>
            <a:off x="7078663"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27A2DD-00F4-4944-8660-795F0F300C32}" type="datetime'''''''1''''''''''''''''''''''''''''''7'''''''''''">
              <a:rPr kumimoji="0" lang="ja-JP" altLang="en-US" sz="900" smtClean="0"/>
              <a:pPr/>
              <a:t>17</a:t>
            </a:fld>
            <a:endParaRPr kumimoji="0" lang="ja-JP" altLang="en-US" sz="900" dirty="0">
              <a:sym typeface="+mn-lt"/>
            </a:endParaRPr>
          </a:p>
        </p:txBody>
      </p:sp>
      <p:sp>
        <p:nvSpPr>
          <p:cNvPr id="200" name="テキスト プレースホルダ 9">
            <a:extLst>
              <a:ext uri="{FF2B5EF4-FFF2-40B4-BE49-F238E27FC236}">
                <a16:creationId xmlns:a16="http://schemas.microsoft.com/office/drawing/2014/main" id="{C227E382-33F5-4BAB-92CA-29C3166BE993}"/>
              </a:ext>
            </a:extLst>
          </p:cNvPr>
          <p:cNvSpPr>
            <a:spLocks noGrp="1"/>
          </p:cNvSpPr>
          <p:nvPr>
            <p:custDataLst>
              <p:tags r:id="rId18"/>
            </p:custDataLst>
          </p:nvPr>
        </p:nvSpPr>
        <p:spPr bwMode="gray">
          <a:xfrm>
            <a:off x="3983038" y="3344863"/>
            <a:ext cx="2222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D340EE-9C05-4EE6-9954-122D56821628}" type="datetime'''''''''''''''''''''57''''''''''''''''''''2'''''">
              <a:rPr lang="ja-JP" altLang="en-US" sz="900" smtClean="0">
                <a:effectLst/>
              </a:rPr>
              <a:pPr/>
              <a:t>572</a:t>
            </a:fld>
            <a:endParaRPr lang="ja-JP" altLang="en-US" sz="900" dirty="0">
              <a:sym typeface="+mn-lt"/>
            </a:endParaRPr>
          </a:p>
        </p:txBody>
      </p:sp>
      <p:sp>
        <p:nvSpPr>
          <p:cNvPr id="181" name="テキスト プレースホルダ 9">
            <a:extLst>
              <a:ext uri="{FF2B5EF4-FFF2-40B4-BE49-F238E27FC236}">
                <a16:creationId xmlns:a16="http://schemas.microsoft.com/office/drawing/2014/main" id="{C966187B-E9E2-4F1D-8497-AEC7BFEF7105}"/>
              </a:ext>
            </a:extLst>
          </p:cNvPr>
          <p:cNvSpPr>
            <a:spLocks noGrp="1"/>
          </p:cNvSpPr>
          <p:nvPr>
            <p:custDataLst>
              <p:tags r:id="rId19"/>
            </p:custDataLst>
          </p:nvPr>
        </p:nvSpPr>
        <p:spPr bwMode="gray">
          <a:xfrm>
            <a:off x="1266825" y="3167063"/>
            <a:ext cx="2222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C6792A-B83B-4149-A0AE-1F291A52B3C7}" type="datetime'5''''''''''''''''''''''''''''''''''''9''4'''''''">
              <a:rPr lang="ja-JP" altLang="en-US" sz="900" smtClean="0">
                <a:effectLst/>
              </a:rPr>
              <a:pPr/>
              <a:t>594</a:t>
            </a:fld>
            <a:endParaRPr lang="ja-JP" altLang="en-US" sz="900" dirty="0">
              <a:sym typeface="+mn-lt"/>
            </a:endParaRPr>
          </a:p>
        </p:txBody>
      </p:sp>
      <p:sp>
        <p:nvSpPr>
          <p:cNvPr id="215" name="テキスト プレースホルダ 9">
            <a:extLst>
              <a:ext uri="{FF2B5EF4-FFF2-40B4-BE49-F238E27FC236}">
                <a16:creationId xmlns:a16="http://schemas.microsoft.com/office/drawing/2014/main" id="{B7B0EEEA-AAD0-4981-8531-91EBA2892A8F}"/>
              </a:ext>
            </a:extLst>
          </p:cNvPr>
          <p:cNvSpPr>
            <a:spLocks noGrp="1"/>
          </p:cNvSpPr>
          <p:nvPr>
            <p:custDataLst>
              <p:tags r:id="rId20"/>
            </p:custDataLst>
          </p:nvPr>
        </p:nvSpPr>
        <p:spPr bwMode="gray">
          <a:xfrm>
            <a:off x="6359525" y="3316288"/>
            <a:ext cx="2222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857690-8A5C-41C9-9A45-AE5A934A2629}" type="datetime'7''''''1''''''''''''''''''''''5'''''''''">
              <a:rPr lang="ja-JP" altLang="en-US" sz="900" smtClean="0">
                <a:effectLst/>
              </a:rPr>
              <a:pPr/>
              <a:t>715</a:t>
            </a:fld>
            <a:endParaRPr lang="ja-JP" altLang="en-US" sz="900" dirty="0">
              <a:sym typeface="+mn-lt"/>
            </a:endParaRPr>
          </a:p>
        </p:txBody>
      </p:sp>
      <p:sp>
        <p:nvSpPr>
          <p:cNvPr id="182" name="テキスト プレースホルダ 9">
            <a:extLst>
              <a:ext uri="{FF2B5EF4-FFF2-40B4-BE49-F238E27FC236}">
                <a16:creationId xmlns:a16="http://schemas.microsoft.com/office/drawing/2014/main" id="{3A540063-9F7F-4697-ABD0-76C4B782D1FE}"/>
              </a:ext>
            </a:extLst>
          </p:cNvPr>
          <p:cNvSpPr>
            <a:spLocks noGrp="1"/>
          </p:cNvSpPr>
          <p:nvPr>
            <p:custDataLst>
              <p:tags r:id="rId21"/>
            </p:custDataLst>
          </p:nvPr>
        </p:nvSpPr>
        <p:spPr bwMode="gray">
          <a:xfrm>
            <a:off x="1266825" y="3375025"/>
            <a:ext cx="2222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BEB71C-46DF-40EA-AAE0-4A28F667C3E3}" type="datetime'''''''''''''''''''''4''''''''''''''''2''''4'''''''''">
              <a:rPr kumimoji="0" lang="ja-JP" altLang="en-US" sz="900" smtClean="0">
                <a:effectLst/>
              </a:rPr>
              <a:pPr/>
              <a:t>424</a:t>
            </a:fld>
            <a:endParaRPr kumimoji="0" lang="ja-JP" altLang="en-US" sz="900" dirty="0">
              <a:sym typeface="+mn-lt"/>
            </a:endParaRPr>
          </a:p>
        </p:txBody>
      </p:sp>
      <p:sp>
        <p:nvSpPr>
          <p:cNvPr id="25" name="テキスト プレースホルダ 9"/>
          <p:cNvSpPr>
            <a:spLocks noGrp="1"/>
          </p:cNvSpPr>
          <p:nvPr>
            <p:custDataLst>
              <p:tags r:id="rId22"/>
            </p:custDataLst>
          </p:nvPr>
        </p:nvSpPr>
        <p:spPr bwMode="auto">
          <a:xfrm>
            <a:off x="1244600" y="3606801"/>
            <a:ext cx="266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365AD7-38AB-408D-A40C-E2CD269B220C}" type="datetime'''''20''''''''''''''''''''''0''''''''''''''''''''0'">
              <a:rPr lang="ja-JP" altLang="en-US" sz="900"/>
              <a:pPr marL="0" indent="0" algn="ctr">
                <a:spcBef>
                  <a:spcPct val="0"/>
                </a:spcBef>
                <a:buNone/>
              </a:pPr>
              <a:t>2000</a:t>
            </a:fld>
            <a:endParaRPr kumimoji="0" lang="ja-JP" altLang="en-US" sz="900" dirty="0">
              <a:sym typeface="+mn-lt"/>
            </a:endParaRPr>
          </a:p>
        </p:txBody>
      </p:sp>
      <p:sp>
        <p:nvSpPr>
          <p:cNvPr id="166" name="テキスト プレースホルダ 9"/>
          <p:cNvSpPr>
            <a:spLocks noGrp="1"/>
          </p:cNvSpPr>
          <p:nvPr>
            <p:custDataLst>
              <p:tags r:id="rId23"/>
            </p:custDataLst>
          </p:nvPr>
        </p:nvSpPr>
        <p:spPr bwMode="gray">
          <a:xfrm>
            <a:off x="1606550" y="3157538"/>
            <a:ext cx="222250" cy="136525"/>
          </a:xfrm>
          <a:prstGeom prst="rect">
            <a:avLst/>
          </a:prstGeom>
          <a:noFill/>
          <a:extLst>
            <a:ext uri="{909E8E84-426E-40DD-AFC4-6F175D3DCCD1}">
              <a14:hiddenFill xmlns:a14="http://schemas.microsoft.com/office/drawing/2010/main">
                <a:solidFill>
                  <a:srgbClr val="80CCE8"/>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E635170-5F9A-4DD7-95FF-F5ABA5181F96}" type="datetime'''''''6''''''''''24'''''''''">
              <a:rPr kumimoji="0" lang="ja-JP" altLang="en-US" sz="900" smtClean="0">
                <a:effectLst/>
              </a:rPr>
              <a:pPr/>
              <a:t>624</a:t>
            </a:fld>
            <a:endParaRPr kumimoji="0" lang="ja-JP" altLang="en-US" sz="900" dirty="0">
              <a:sym typeface="+mn-lt"/>
            </a:endParaRPr>
          </a:p>
        </p:txBody>
      </p:sp>
      <p:sp>
        <p:nvSpPr>
          <p:cNvPr id="125" name="テキスト プレースホルダ 9">
            <a:extLst>
              <a:ext uri="{FF2B5EF4-FFF2-40B4-BE49-F238E27FC236}">
                <a16:creationId xmlns:a16="http://schemas.microsoft.com/office/drawing/2014/main" id="{83B6FCD2-3486-482C-BB26-BB3A2189C84E}"/>
              </a:ext>
            </a:extLst>
          </p:cNvPr>
          <p:cNvSpPr>
            <a:spLocks noGrp="1"/>
          </p:cNvSpPr>
          <p:nvPr>
            <p:custDataLst>
              <p:tags r:id="rId24"/>
            </p:custDataLst>
          </p:nvPr>
        </p:nvSpPr>
        <p:spPr bwMode="auto">
          <a:xfrm>
            <a:off x="6738938"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FE3D93-D2DE-4106-BDB7-AEFBD621A3E4}" type="datetime'''''''''''''''16'">
              <a:rPr kumimoji="0" lang="ja-JP" altLang="en-US" sz="900" smtClean="0"/>
              <a:pPr/>
              <a:t>16</a:t>
            </a:fld>
            <a:endParaRPr kumimoji="0" lang="ja-JP" altLang="en-US" sz="900" dirty="0">
              <a:sym typeface="+mn-lt"/>
            </a:endParaRPr>
          </a:p>
        </p:txBody>
      </p:sp>
      <p:sp>
        <p:nvSpPr>
          <p:cNvPr id="48" name="テキスト プレースホルダ 9"/>
          <p:cNvSpPr>
            <a:spLocks noGrp="1"/>
          </p:cNvSpPr>
          <p:nvPr>
            <p:custDataLst>
              <p:tags r:id="rId25"/>
            </p:custDataLst>
          </p:nvPr>
        </p:nvSpPr>
        <p:spPr bwMode="auto">
          <a:xfrm>
            <a:off x="5381625"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C796E4-2432-4BCF-9732-A38404E63CA6}" type="datetime'''''''''''''''1''''''''''''''''''''''''2'''''''''''">
              <a:rPr lang="ja-JP" altLang="en-US" sz="900"/>
              <a:pPr marL="0" indent="0" algn="ctr">
                <a:spcBef>
                  <a:spcPct val="0"/>
                </a:spcBef>
                <a:buNone/>
              </a:pPr>
              <a:t>12</a:t>
            </a:fld>
            <a:endParaRPr kumimoji="0" lang="ja-JP" altLang="en-US" sz="900" dirty="0">
              <a:sym typeface="+mn-lt"/>
            </a:endParaRPr>
          </a:p>
        </p:txBody>
      </p:sp>
      <p:sp>
        <p:nvSpPr>
          <p:cNvPr id="165" name="テキスト プレースホルダ 9"/>
          <p:cNvSpPr>
            <a:spLocks noGrp="1"/>
          </p:cNvSpPr>
          <p:nvPr>
            <p:custDataLst>
              <p:tags r:id="rId26"/>
            </p:custDataLst>
          </p:nvPr>
        </p:nvSpPr>
        <p:spPr bwMode="gray">
          <a:xfrm>
            <a:off x="1606550" y="3373438"/>
            <a:ext cx="222250" cy="136525"/>
          </a:xfrm>
          <a:prstGeom prst="rect">
            <a:avLst/>
          </a:prstGeom>
          <a:noFill/>
          <a:extLst>
            <a:ext uri="{909E8E84-426E-40DD-AFC4-6F175D3DCCD1}">
              <a14:hiddenFill xmlns:a14="http://schemas.microsoft.com/office/drawing/2010/main">
                <a:solidFill>
                  <a:srgbClr val="C0E6F4"/>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9377484-94B3-48ED-991F-B7B3D27CE927}" type="datetime'''''''''43''''''''''''''''''''''''''''''''5'''''''">
              <a:rPr kumimoji="0" lang="ja-JP" altLang="en-US" sz="900" smtClean="0">
                <a:effectLst/>
              </a:rPr>
              <a:pPr/>
              <a:t>435</a:t>
            </a:fld>
            <a:endParaRPr kumimoji="0" lang="ja-JP" altLang="en-US" sz="900" dirty="0">
              <a:sym typeface="+mn-lt"/>
            </a:endParaRPr>
          </a:p>
        </p:txBody>
      </p:sp>
      <p:sp>
        <p:nvSpPr>
          <p:cNvPr id="236" name="テキスト プレースホルダ 9">
            <a:extLst>
              <a:ext uri="{FF2B5EF4-FFF2-40B4-BE49-F238E27FC236}">
                <a16:creationId xmlns:a16="http://schemas.microsoft.com/office/drawing/2014/main" id="{2E7F993A-E69E-4B55-9D8E-3864A033D328}"/>
              </a:ext>
            </a:extLst>
          </p:cNvPr>
          <p:cNvSpPr>
            <a:spLocks noGrp="1"/>
          </p:cNvSpPr>
          <p:nvPr>
            <p:custDataLst>
              <p:tags r:id="rId27"/>
            </p:custDataLst>
          </p:nvPr>
        </p:nvSpPr>
        <p:spPr bwMode="gray">
          <a:xfrm>
            <a:off x="6697663" y="3317875"/>
            <a:ext cx="2222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ABF9FF-57F0-4F24-9816-8CF25D332E3A}" type="datetime'7''''0''9'''''''''''''''''''''''''''''''''''''''''''''">
              <a:rPr lang="ja-JP" altLang="en-US" sz="900" smtClean="0">
                <a:effectLst/>
              </a:rPr>
              <a:pPr/>
              <a:t>709</a:t>
            </a:fld>
            <a:endParaRPr lang="ja-JP" altLang="en-US" sz="900" dirty="0">
              <a:sym typeface="+mn-lt"/>
            </a:endParaRPr>
          </a:p>
        </p:txBody>
      </p:sp>
      <p:sp>
        <p:nvSpPr>
          <p:cNvPr id="40" name="テキスト プレースホルダ 9"/>
          <p:cNvSpPr>
            <a:spLocks noGrp="1"/>
          </p:cNvSpPr>
          <p:nvPr>
            <p:custDataLst>
              <p:tags r:id="rId28"/>
            </p:custDataLst>
          </p:nvPr>
        </p:nvSpPr>
        <p:spPr bwMode="auto">
          <a:xfrm>
            <a:off x="2665413"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633D8D-DBEF-40C9-9ECF-F09E4D362BB6}" type="datetime'''''''''0''''''''4'''''''">
              <a:rPr lang="ja-JP" altLang="en-US" sz="900"/>
              <a:pPr marL="0" indent="0" algn="ctr">
                <a:spcBef>
                  <a:spcPct val="0"/>
                </a:spcBef>
                <a:buNone/>
              </a:pPr>
              <a:t>04</a:t>
            </a:fld>
            <a:endParaRPr kumimoji="0" lang="ja-JP" altLang="en-US" sz="900" dirty="0">
              <a:sym typeface="+mn-lt"/>
            </a:endParaRPr>
          </a:p>
        </p:txBody>
      </p:sp>
      <p:sp>
        <p:nvSpPr>
          <p:cNvPr id="26" name="テキスト プレースホルダ 9"/>
          <p:cNvSpPr>
            <a:spLocks noGrp="1"/>
          </p:cNvSpPr>
          <p:nvPr>
            <p:custDataLst>
              <p:tags r:id="rId29"/>
            </p:custDataLst>
          </p:nvPr>
        </p:nvSpPr>
        <p:spPr bwMode="auto">
          <a:xfrm>
            <a:off x="1647825"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2313EC-3850-4BB6-AF3B-F2408E6DA89B}" type="datetime'0''''''''''''''''''''''1'''''''''''''''''''''''''''''">
              <a:rPr lang="ja-JP" altLang="en-US" sz="900"/>
              <a:pPr marL="0" indent="0" algn="ctr">
                <a:spcBef>
                  <a:spcPct val="0"/>
                </a:spcBef>
                <a:buNone/>
              </a:pPr>
              <a:t>01</a:t>
            </a:fld>
            <a:endParaRPr kumimoji="0" lang="ja-JP" altLang="en-US" sz="900" dirty="0">
              <a:sym typeface="+mn-lt"/>
            </a:endParaRPr>
          </a:p>
        </p:txBody>
      </p:sp>
      <p:sp>
        <p:nvSpPr>
          <p:cNvPr id="168" name="テキスト プレースホルダ 9"/>
          <p:cNvSpPr>
            <a:spLocks noGrp="1"/>
          </p:cNvSpPr>
          <p:nvPr>
            <p:custDataLst>
              <p:tags r:id="rId30"/>
            </p:custDataLst>
          </p:nvPr>
        </p:nvSpPr>
        <p:spPr bwMode="gray">
          <a:xfrm>
            <a:off x="1946275" y="3140075"/>
            <a:ext cx="222250" cy="136525"/>
          </a:xfrm>
          <a:prstGeom prst="rect">
            <a:avLst/>
          </a:prstGeom>
          <a:noFill/>
          <a:extLst>
            <a:ext uri="{909E8E84-426E-40DD-AFC4-6F175D3DCCD1}">
              <a14:hiddenFill xmlns:a14="http://schemas.microsoft.com/office/drawing/2010/main">
                <a:solidFill>
                  <a:srgbClr val="80CCE8"/>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E2C4A6-4CBF-4642-B1CB-1B12A79D58F6}" type="datetime'''''''''6''4''0'''''''''''''''''''''''''''''''''">
              <a:rPr kumimoji="0" lang="ja-JP" altLang="en-US" sz="900" smtClean="0">
                <a:effectLst/>
              </a:rPr>
              <a:pPr/>
              <a:t>640</a:t>
            </a:fld>
            <a:endParaRPr kumimoji="0" lang="ja-JP" altLang="en-US" sz="900" dirty="0">
              <a:sym typeface="+mn-lt"/>
            </a:endParaRPr>
          </a:p>
        </p:txBody>
      </p:sp>
      <p:sp>
        <p:nvSpPr>
          <p:cNvPr id="167" name="テキスト プレースホルダ 9"/>
          <p:cNvSpPr>
            <a:spLocks noGrp="1"/>
          </p:cNvSpPr>
          <p:nvPr>
            <p:custDataLst>
              <p:tags r:id="rId31"/>
            </p:custDataLst>
          </p:nvPr>
        </p:nvSpPr>
        <p:spPr bwMode="gray">
          <a:xfrm>
            <a:off x="1946275" y="3365500"/>
            <a:ext cx="222250" cy="136525"/>
          </a:xfrm>
          <a:prstGeom prst="rect">
            <a:avLst/>
          </a:prstGeom>
          <a:noFill/>
          <a:extLst>
            <a:ext uri="{909E8E84-426E-40DD-AFC4-6F175D3DCCD1}">
              <a14:hiddenFill xmlns:a14="http://schemas.microsoft.com/office/drawing/2010/main">
                <a:solidFill>
                  <a:srgbClr val="C0E6F4"/>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528973-3F75-410B-950B-70715006134C}" type="datetime'''''''''''4''''''''''''7''''''''''''1'''''''''''''''''''''">
              <a:rPr kumimoji="0" lang="ja-JP" altLang="en-US" sz="900" smtClean="0">
                <a:effectLst/>
              </a:rPr>
              <a:pPr/>
              <a:t>471</a:t>
            </a:fld>
            <a:endParaRPr kumimoji="0" lang="ja-JP" altLang="en-US" sz="900" dirty="0">
              <a:sym typeface="+mn-lt"/>
            </a:endParaRPr>
          </a:p>
        </p:txBody>
      </p:sp>
      <p:sp>
        <p:nvSpPr>
          <p:cNvPr id="27" name="テキスト プレースホルダ 9"/>
          <p:cNvSpPr>
            <a:spLocks noGrp="1"/>
          </p:cNvSpPr>
          <p:nvPr>
            <p:custDataLst>
              <p:tags r:id="rId32"/>
            </p:custDataLst>
          </p:nvPr>
        </p:nvSpPr>
        <p:spPr bwMode="auto">
          <a:xfrm>
            <a:off x="1987550"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A3BCD0-CE16-4625-971F-374D09824AA5}" type="datetime'''''''''''''''''0''''''''''''''''''''''''''''''''''''2'''''">
              <a:rPr lang="ja-JP" altLang="en-US" sz="900"/>
              <a:pPr marL="0" indent="0" algn="ctr">
                <a:spcBef>
                  <a:spcPct val="0"/>
                </a:spcBef>
                <a:buNone/>
              </a:pPr>
              <a:t>02</a:t>
            </a:fld>
            <a:endParaRPr kumimoji="0" lang="ja-JP" altLang="en-US" sz="900" dirty="0">
              <a:sym typeface="+mn-lt"/>
            </a:endParaRPr>
          </a:p>
        </p:txBody>
      </p:sp>
      <p:sp>
        <p:nvSpPr>
          <p:cNvPr id="170" name="テキスト プレースホルダ 9"/>
          <p:cNvSpPr>
            <a:spLocks noGrp="1"/>
          </p:cNvSpPr>
          <p:nvPr>
            <p:custDataLst>
              <p:tags r:id="rId33"/>
            </p:custDataLst>
          </p:nvPr>
        </p:nvSpPr>
        <p:spPr bwMode="gray">
          <a:xfrm>
            <a:off x="2284413" y="3154363"/>
            <a:ext cx="222250" cy="136525"/>
          </a:xfrm>
          <a:prstGeom prst="rect">
            <a:avLst/>
          </a:prstGeom>
          <a:noFill/>
          <a:extLst>
            <a:ext uri="{909E8E84-426E-40DD-AFC4-6F175D3DCCD1}">
              <a14:hiddenFill xmlns:a14="http://schemas.microsoft.com/office/drawing/2010/main">
                <a:solidFill>
                  <a:srgbClr val="80CCE8"/>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C256CF-4E4F-41F6-B0D2-44B667445D4F}" type="datetime'''6''''''''''''''''''''''0''4'">
              <a:rPr kumimoji="0" lang="ja-JP" altLang="en-US" sz="900" smtClean="0">
                <a:effectLst/>
              </a:rPr>
              <a:pPr/>
              <a:t>604</a:t>
            </a:fld>
            <a:endParaRPr kumimoji="0" lang="ja-JP" altLang="en-US" sz="900" dirty="0">
              <a:sym typeface="+mn-lt"/>
            </a:endParaRPr>
          </a:p>
        </p:txBody>
      </p:sp>
      <p:sp>
        <p:nvSpPr>
          <p:cNvPr id="180" name="テキスト プレースホルダ 9">
            <a:extLst>
              <a:ext uri="{FF2B5EF4-FFF2-40B4-BE49-F238E27FC236}">
                <a16:creationId xmlns:a16="http://schemas.microsoft.com/office/drawing/2014/main" id="{44C714E2-6FC4-43D5-9524-A37D15E3F766}"/>
              </a:ext>
            </a:extLst>
          </p:cNvPr>
          <p:cNvSpPr>
            <a:spLocks noGrp="1"/>
          </p:cNvSpPr>
          <p:nvPr>
            <p:custDataLst>
              <p:tags r:id="rId34"/>
            </p:custDataLst>
          </p:nvPr>
        </p:nvSpPr>
        <p:spPr bwMode="gray">
          <a:xfrm>
            <a:off x="7669213" y="2944813"/>
            <a:ext cx="317500" cy="136525"/>
          </a:xfrm>
          <a:prstGeom prst="rect">
            <a:avLst/>
          </a:prstGeom>
          <a:solidFill>
            <a:srgbClr val="80CCE8"/>
          </a:solidFill>
          <a:ln>
            <a:noFill/>
          </a:ln>
          <a:effec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95A96F-7D02-4FFC-8B12-D903970E8508}" type="datetime'''''''''1'''',''''''''''''''''''''''''''''06''''''''''7'">
              <a:rPr lang="ja-JP" altLang="en-US" sz="900" smtClean="0">
                <a:effectLst/>
              </a:rPr>
              <a:pPr/>
              <a:t>1,067</a:t>
            </a:fld>
            <a:endParaRPr lang="ja-JP" altLang="en-US" sz="900" dirty="0">
              <a:sym typeface="+mn-lt"/>
            </a:endParaRPr>
          </a:p>
        </p:txBody>
      </p:sp>
      <p:sp>
        <p:nvSpPr>
          <p:cNvPr id="192" name="テキスト プレースホルダ 9">
            <a:extLst>
              <a:ext uri="{FF2B5EF4-FFF2-40B4-BE49-F238E27FC236}">
                <a16:creationId xmlns:a16="http://schemas.microsoft.com/office/drawing/2014/main" id="{0DA88308-C03D-4E03-9784-DC3A706AD85B}"/>
              </a:ext>
            </a:extLst>
          </p:cNvPr>
          <p:cNvSpPr>
            <a:spLocks noGrp="1"/>
          </p:cNvSpPr>
          <p:nvPr>
            <p:custDataLst>
              <p:tags r:id="rId35"/>
            </p:custDataLst>
          </p:nvPr>
        </p:nvSpPr>
        <p:spPr bwMode="gray">
          <a:xfrm>
            <a:off x="3983038" y="3078163"/>
            <a:ext cx="2222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8EFAE9-AB21-4DA4-96AF-40C2FA9E611F}" type="datetime'''''''''''73''''''''6'''''''''''''''''''''''''''''''''">
              <a:rPr lang="ja-JP" altLang="en-US" sz="900" smtClean="0">
                <a:effectLst/>
              </a:rPr>
              <a:pPr/>
              <a:t>736</a:t>
            </a:fld>
            <a:endParaRPr lang="ja-JP" altLang="en-US" sz="900" dirty="0">
              <a:sym typeface="+mn-lt"/>
            </a:endParaRPr>
          </a:p>
        </p:txBody>
      </p:sp>
      <p:sp>
        <p:nvSpPr>
          <p:cNvPr id="183" name="テキスト プレースホルダ 9">
            <a:extLst>
              <a:ext uri="{FF2B5EF4-FFF2-40B4-BE49-F238E27FC236}">
                <a16:creationId xmlns:a16="http://schemas.microsoft.com/office/drawing/2014/main" id="{52999774-7422-4058-B312-CBC444E22CCB}"/>
              </a:ext>
            </a:extLst>
          </p:cNvPr>
          <p:cNvSpPr>
            <a:spLocks noGrp="1"/>
          </p:cNvSpPr>
          <p:nvPr>
            <p:custDataLst>
              <p:tags r:id="rId36"/>
            </p:custDataLst>
          </p:nvPr>
        </p:nvSpPr>
        <p:spPr bwMode="gray">
          <a:xfrm>
            <a:off x="2624138" y="3138488"/>
            <a:ext cx="2222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6A0ECF-0DE4-4213-9802-25B184A29EC2}" type="datetime'''''''''''6''''''''''''''''''3''''''''''''''6'''''''''''''">
              <a:rPr lang="ja-JP" altLang="en-US" sz="900" smtClean="0">
                <a:effectLst/>
              </a:rPr>
              <a:pPr/>
              <a:t>636</a:t>
            </a:fld>
            <a:endParaRPr lang="ja-JP" altLang="en-US" sz="900" dirty="0">
              <a:sym typeface="+mn-lt"/>
            </a:endParaRPr>
          </a:p>
        </p:txBody>
      </p:sp>
      <p:sp>
        <p:nvSpPr>
          <p:cNvPr id="184" name="テキスト プレースホルダ 9">
            <a:extLst>
              <a:ext uri="{FF2B5EF4-FFF2-40B4-BE49-F238E27FC236}">
                <a16:creationId xmlns:a16="http://schemas.microsoft.com/office/drawing/2014/main" id="{52C5BD69-C738-4867-AD60-98612F8771DC}"/>
              </a:ext>
            </a:extLst>
          </p:cNvPr>
          <p:cNvSpPr>
            <a:spLocks noGrp="1"/>
          </p:cNvSpPr>
          <p:nvPr>
            <p:custDataLst>
              <p:tags r:id="rId37"/>
            </p:custDataLst>
          </p:nvPr>
        </p:nvSpPr>
        <p:spPr bwMode="gray">
          <a:xfrm>
            <a:off x="2624138" y="3365500"/>
            <a:ext cx="2222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982A169-1F05-4015-B130-A439D65F8DCF}" type="datetime'''4''''7''''''''''''''''''''''''''''4'''">
              <a:rPr lang="ja-JP" altLang="en-US" sz="900" smtClean="0">
                <a:effectLst/>
              </a:rPr>
              <a:pPr/>
              <a:t>474</a:t>
            </a:fld>
            <a:endParaRPr lang="ja-JP" altLang="en-US" sz="900" dirty="0">
              <a:sym typeface="+mn-lt"/>
            </a:endParaRPr>
          </a:p>
        </p:txBody>
      </p:sp>
      <p:sp>
        <p:nvSpPr>
          <p:cNvPr id="46" name="テキスト プレースホルダ 9"/>
          <p:cNvSpPr>
            <a:spLocks noGrp="1"/>
          </p:cNvSpPr>
          <p:nvPr>
            <p:custDataLst>
              <p:tags r:id="rId38"/>
            </p:custDataLst>
          </p:nvPr>
        </p:nvSpPr>
        <p:spPr bwMode="auto">
          <a:xfrm>
            <a:off x="4702175"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4FA2D4-2FCA-45C1-921A-F1A6669CBDAB}" type="datetime'10'''''">
              <a:rPr lang="ja-JP" altLang="en-US" sz="900"/>
              <a:pPr marL="0" indent="0" algn="ctr">
                <a:spcBef>
                  <a:spcPct val="0"/>
                </a:spcBef>
                <a:buNone/>
              </a:pPr>
              <a:t>10</a:t>
            </a:fld>
            <a:endParaRPr kumimoji="0" lang="ja-JP" altLang="en-US" sz="900" dirty="0">
              <a:sym typeface="+mn-lt"/>
            </a:endParaRPr>
          </a:p>
        </p:txBody>
      </p:sp>
      <p:sp>
        <p:nvSpPr>
          <p:cNvPr id="185" name="テキスト プレースホルダ 9">
            <a:extLst>
              <a:ext uri="{FF2B5EF4-FFF2-40B4-BE49-F238E27FC236}">
                <a16:creationId xmlns:a16="http://schemas.microsoft.com/office/drawing/2014/main" id="{0DC14025-77BB-4BA7-B76E-4AF24943FF3C}"/>
              </a:ext>
            </a:extLst>
          </p:cNvPr>
          <p:cNvSpPr>
            <a:spLocks noGrp="1"/>
          </p:cNvSpPr>
          <p:nvPr>
            <p:custDataLst>
              <p:tags r:id="rId39"/>
            </p:custDataLst>
          </p:nvPr>
        </p:nvSpPr>
        <p:spPr bwMode="gray">
          <a:xfrm>
            <a:off x="2963863" y="3135313"/>
            <a:ext cx="2222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55E5B2-0728-478E-8A4C-623B7780F8D9}" type="datetime'''''''''''''''''''''''''6''6''''''''''''1'''''">
              <a:rPr lang="ja-JP" altLang="en-US" sz="900" smtClean="0">
                <a:effectLst/>
              </a:rPr>
              <a:pPr/>
              <a:t>661</a:t>
            </a:fld>
            <a:endParaRPr lang="ja-JP" altLang="en-US" sz="900" dirty="0">
              <a:sym typeface="+mn-lt"/>
            </a:endParaRPr>
          </a:p>
        </p:txBody>
      </p:sp>
      <p:sp>
        <p:nvSpPr>
          <p:cNvPr id="187" name="テキスト プレースホルダ 9">
            <a:extLst>
              <a:ext uri="{FF2B5EF4-FFF2-40B4-BE49-F238E27FC236}">
                <a16:creationId xmlns:a16="http://schemas.microsoft.com/office/drawing/2014/main" id="{328B934A-6D8E-432F-8FC5-CAF602065139}"/>
              </a:ext>
            </a:extLst>
          </p:cNvPr>
          <p:cNvSpPr>
            <a:spLocks noGrp="1"/>
          </p:cNvSpPr>
          <p:nvPr>
            <p:custDataLst>
              <p:tags r:id="rId40"/>
            </p:custDataLst>
          </p:nvPr>
        </p:nvSpPr>
        <p:spPr bwMode="gray">
          <a:xfrm>
            <a:off x="2963863" y="3365500"/>
            <a:ext cx="2222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7C2665-4356-4318-B887-F2F9D7561444}" type="datetime'''''''''''''''''47''''''''''2'''''''''''''''''''''''''''''">
              <a:rPr lang="ja-JP" altLang="en-US" sz="900" smtClean="0">
                <a:effectLst/>
              </a:rPr>
              <a:pPr/>
              <a:t>472</a:t>
            </a:fld>
            <a:endParaRPr lang="ja-JP" altLang="en-US" sz="900" dirty="0">
              <a:sym typeface="+mn-lt"/>
            </a:endParaRPr>
          </a:p>
        </p:txBody>
      </p:sp>
      <p:sp>
        <p:nvSpPr>
          <p:cNvPr id="41" name="テキスト プレースホルダ 9"/>
          <p:cNvSpPr>
            <a:spLocks noGrp="1"/>
          </p:cNvSpPr>
          <p:nvPr>
            <p:custDataLst>
              <p:tags r:id="rId41"/>
            </p:custDataLst>
          </p:nvPr>
        </p:nvSpPr>
        <p:spPr bwMode="auto">
          <a:xfrm>
            <a:off x="3005138"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2A2B14-4199-451B-818E-10D9EA204EC2}" type="datetime'''''''''''''''''''0''''''''''5'''">
              <a:rPr lang="ja-JP" altLang="en-US" sz="900"/>
              <a:pPr marL="0" indent="0" algn="ctr">
                <a:spcBef>
                  <a:spcPct val="0"/>
                </a:spcBef>
                <a:buNone/>
              </a:pPr>
              <a:t>05</a:t>
            </a:fld>
            <a:endParaRPr kumimoji="0" lang="ja-JP" altLang="en-US" sz="900" dirty="0">
              <a:sym typeface="+mn-lt"/>
            </a:endParaRPr>
          </a:p>
        </p:txBody>
      </p:sp>
      <p:sp>
        <p:nvSpPr>
          <p:cNvPr id="188" name="テキスト プレースホルダ 9">
            <a:extLst>
              <a:ext uri="{FF2B5EF4-FFF2-40B4-BE49-F238E27FC236}">
                <a16:creationId xmlns:a16="http://schemas.microsoft.com/office/drawing/2014/main" id="{1E1AF169-B0C3-4D5F-A8B5-9FE9FA65BA11}"/>
              </a:ext>
            </a:extLst>
          </p:cNvPr>
          <p:cNvSpPr>
            <a:spLocks noGrp="1"/>
          </p:cNvSpPr>
          <p:nvPr>
            <p:custDataLst>
              <p:tags r:id="rId42"/>
            </p:custDataLst>
          </p:nvPr>
        </p:nvSpPr>
        <p:spPr bwMode="gray">
          <a:xfrm>
            <a:off x="3303588" y="3109913"/>
            <a:ext cx="2222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B65D19-5F5E-4858-94E7-ABCEEE8D35A1}" type="datetime'''''6''''''''''''''''''''''''''''''''''''''''''''''''''9''0'''">
              <a:rPr lang="ja-JP" altLang="en-US" sz="900" smtClean="0">
                <a:effectLst/>
              </a:rPr>
              <a:pPr/>
              <a:t>690</a:t>
            </a:fld>
            <a:endParaRPr lang="ja-JP" altLang="en-US" sz="900" dirty="0">
              <a:sym typeface="+mn-lt"/>
            </a:endParaRPr>
          </a:p>
        </p:txBody>
      </p:sp>
      <p:sp>
        <p:nvSpPr>
          <p:cNvPr id="189" name="テキスト プレースホルダ 9">
            <a:extLst>
              <a:ext uri="{FF2B5EF4-FFF2-40B4-BE49-F238E27FC236}">
                <a16:creationId xmlns:a16="http://schemas.microsoft.com/office/drawing/2014/main" id="{1376E56F-2FCC-4B8C-BB53-E3ED76A03E0B}"/>
              </a:ext>
            </a:extLst>
          </p:cNvPr>
          <p:cNvSpPr>
            <a:spLocks noGrp="1"/>
          </p:cNvSpPr>
          <p:nvPr>
            <p:custDataLst>
              <p:tags r:id="rId43"/>
            </p:custDataLst>
          </p:nvPr>
        </p:nvSpPr>
        <p:spPr bwMode="gray">
          <a:xfrm>
            <a:off x="3303588" y="3355975"/>
            <a:ext cx="2222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0761AA-CF3A-4F3E-9A0D-0C950B799DFE}" type="datetime'''''5''''''''''''''''1''''''''''''''''''9'''''''''''">
              <a:rPr lang="ja-JP" altLang="en-US" sz="900" smtClean="0">
                <a:effectLst/>
              </a:rPr>
              <a:pPr/>
              <a:t>519</a:t>
            </a:fld>
            <a:endParaRPr lang="ja-JP" altLang="en-US" sz="900" dirty="0">
              <a:sym typeface="+mn-lt"/>
            </a:endParaRPr>
          </a:p>
        </p:txBody>
      </p:sp>
      <p:sp>
        <p:nvSpPr>
          <p:cNvPr id="42" name="テキスト プレースホルダ 9"/>
          <p:cNvSpPr>
            <a:spLocks noGrp="1"/>
          </p:cNvSpPr>
          <p:nvPr>
            <p:custDataLst>
              <p:tags r:id="rId44"/>
            </p:custDataLst>
          </p:nvPr>
        </p:nvSpPr>
        <p:spPr bwMode="auto">
          <a:xfrm>
            <a:off x="3344863"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C24A94-F5EC-4122-9200-3341C3CDAB4E}" type="datetime'''''0''''6'''''''''''''''''''''''''">
              <a:rPr lang="ja-JP" altLang="en-US" sz="900"/>
              <a:pPr marL="0" indent="0" algn="ctr">
                <a:spcBef>
                  <a:spcPct val="0"/>
                </a:spcBef>
                <a:buNone/>
              </a:pPr>
              <a:t>06</a:t>
            </a:fld>
            <a:endParaRPr kumimoji="0" lang="ja-JP" altLang="en-US" sz="900" dirty="0">
              <a:sym typeface="+mn-lt"/>
            </a:endParaRPr>
          </a:p>
        </p:txBody>
      </p:sp>
      <p:sp>
        <p:nvSpPr>
          <p:cNvPr id="237" name="テキスト プレースホルダ 9">
            <a:extLst>
              <a:ext uri="{FF2B5EF4-FFF2-40B4-BE49-F238E27FC236}">
                <a16:creationId xmlns:a16="http://schemas.microsoft.com/office/drawing/2014/main" id="{EBA61F49-B416-43AC-BDA2-E610A116F065}"/>
              </a:ext>
            </a:extLst>
          </p:cNvPr>
          <p:cNvSpPr>
            <a:spLocks noGrp="1"/>
          </p:cNvSpPr>
          <p:nvPr>
            <p:custDataLst>
              <p:tags r:id="rId45"/>
            </p:custDataLst>
          </p:nvPr>
        </p:nvSpPr>
        <p:spPr bwMode="gray">
          <a:xfrm>
            <a:off x="7037388" y="3314700"/>
            <a:ext cx="2222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375A1C-4444-4854-A09E-C1962F34888B}" type="datetime'''''''''''7''''''''''''''''''''''1''''9'''''''''''''''''''">
              <a:rPr lang="ja-JP" altLang="en-US" sz="900" smtClean="0">
                <a:effectLst/>
              </a:rPr>
              <a:pPr/>
              <a:t>719</a:t>
            </a:fld>
            <a:endParaRPr lang="ja-JP" altLang="en-US" sz="900" dirty="0">
              <a:sym typeface="+mn-lt"/>
            </a:endParaRPr>
          </a:p>
        </p:txBody>
      </p:sp>
      <p:sp>
        <p:nvSpPr>
          <p:cNvPr id="191" name="テキスト プレースホルダ 9">
            <a:extLst>
              <a:ext uri="{FF2B5EF4-FFF2-40B4-BE49-F238E27FC236}">
                <a16:creationId xmlns:a16="http://schemas.microsoft.com/office/drawing/2014/main" id="{7F633A2B-9271-4CFB-853C-1A1CD4DE2C92}"/>
              </a:ext>
            </a:extLst>
          </p:cNvPr>
          <p:cNvSpPr>
            <a:spLocks noGrp="1"/>
          </p:cNvSpPr>
          <p:nvPr>
            <p:custDataLst>
              <p:tags r:id="rId46"/>
            </p:custDataLst>
          </p:nvPr>
        </p:nvSpPr>
        <p:spPr bwMode="gray">
          <a:xfrm>
            <a:off x="3643313" y="3351213"/>
            <a:ext cx="2222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488803-0C3F-41F0-AE6C-A85AD118D52B}" type="datetime'''''''5''4''''''''''''''''''''''''2'">
              <a:rPr lang="ja-JP" altLang="en-US" sz="900" smtClean="0">
                <a:effectLst/>
              </a:rPr>
              <a:pPr/>
              <a:t>542</a:t>
            </a:fld>
            <a:endParaRPr lang="ja-JP" altLang="en-US" sz="900" dirty="0">
              <a:sym typeface="+mn-lt"/>
            </a:endParaRPr>
          </a:p>
        </p:txBody>
      </p:sp>
      <p:sp>
        <p:nvSpPr>
          <p:cNvPr id="190" name="テキスト プレースホルダ 9">
            <a:extLst>
              <a:ext uri="{FF2B5EF4-FFF2-40B4-BE49-F238E27FC236}">
                <a16:creationId xmlns:a16="http://schemas.microsoft.com/office/drawing/2014/main" id="{7E1E1F8C-3948-408A-9128-47899E6FF075}"/>
              </a:ext>
            </a:extLst>
          </p:cNvPr>
          <p:cNvSpPr>
            <a:spLocks noGrp="1"/>
          </p:cNvSpPr>
          <p:nvPr>
            <p:custDataLst>
              <p:tags r:id="rId47"/>
            </p:custDataLst>
          </p:nvPr>
        </p:nvSpPr>
        <p:spPr bwMode="gray">
          <a:xfrm>
            <a:off x="3643313" y="3092450"/>
            <a:ext cx="2222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3D5465-A19F-48C8-9A9B-2475FC0FD99F}" type="datetime'''''''''''7''''''''''''''3''''''''''''''3'''''''''">
              <a:rPr lang="ja-JP" altLang="en-US" sz="900" smtClean="0">
                <a:effectLst/>
              </a:rPr>
              <a:pPr/>
              <a:t>733</a:t>
            </a:fld>
            <a:endParaRPr lang="ja-JP" altLang="en-US" sz="900" dirty="0">
              <a:sym typeface="+mn-lt"/>
            </a:endParaRPr>
          </a:p>
        </p:txBody>
      </p:sp>
      <p:sp>
        <p:nvSpPr>
          <p:cNvPr id="210" name="テキスト プレースホルダ 9">
            <a:extLst>
              <a:ext uri="{FF2B5EF4-FFF2-40B4-BE49-F238E27FC236}">
                <a16:creationId xmlns:a16="http://schemas.microsoft.com/office/drawing/2014/main" id="{0DE28D14-90E3-4457-898E-B379C178E04E}"/>
              </a:ext>
            </a:extLst>
          </p:cNvPr>
          <p:cNvSpPr>
            <a:spLocks noGrp="1"/>
          </p:cNvSpPr>
          <p:nvPr>
            <p:custDataLst>
              <p:tags r:id="rId48"/>
            </p:custDataLst>
          </p:nvPr>
        </p:nvSpPr>
        <p:spPr bwMode="gray">
          <a:xfrm>
            <a:off x="5000625" y="3333750"/>
            <a:ext cx="2222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0AD440-B819-49C6-9BE8-371AEF08ED1D}" type="datetime'''''''''''''''''''''''''''''6''''''''''3''''2'''''''''''''">
              <a:rPr lang="ja-JP" altLang="en-US" sz="900" smtClean="0">
                <a:effectLst/>
              </a:rPr>
              <a:pPr/>
              <a:t>632</a:t>
            </a:fld>
            <a:endParaRPr lang="ja-JP" altLang="en-US" sz="900" dirty="0">
              <a:sym typeface="+mn-lt"/>
            </a:endParaRPr>
          </a:p>
        </p:txBody>
      </p:sp>
      <p:sp>
        <p:nvSpPr>
          <p:cNvPr id="144" name="テキスト プレースホルダ 9"/>
          <p:cNvSpPr>
            <a:spLocks noGrp="1"/>
          </p:cNvSpPr>
          <p:nvPr>
            <p:custDataLst>
              <p:tags r:id="rId49"/>
            </p:custDataLst>
          </p:nvPr>
        </p:nvSpPr>
        <p:spPr bwMode="gray">
          <a:xfrm>
            <a:off x="5340350" y="3041650"/>
            <a:ext cx="222250" cy="136525"/>
          </a:xfrm>
          <a:prstGeom prst="rect">
            <a:avLst/>
          </a:prstGeom>
          <a:noFill/>
          <a:extLst>
            <a:ext uri="{909E8E84-426E-40DD-AFC4-6F175D3DCCD1}">
              <a14:hiddenFill xmlns:a14="http://schemas.microsoft.com/office/drawing/2010/main">
                <a:solidFill>
                  <a:srgbClr val="80CCE8"/>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05FB1-E19E-4323-8701-BF4CC369763A}" type="datetime'''''''''''''''''''''''''8''''15'''''''''''''''''''''">
              <a:rPr kumimoji="0" lang="ja-JP" altLang="en-US" sz="900" smtClean="0">
                <a:effectLst/>
              </a:rPr>
              <a:pPr/>
              <a:t>815</a:t>
            </a:fld>
            <a:endParaRPr kumimoji="0" lang="ja-JP" altLang="en-US" sz="900" dirty="0">
              <a:sym typeface="+mn-lt"/>
            </a:endParaRPr>
          </a:p>
        </p:txBody>
      </p:sp>
      <p:sp>
        <p:nvSpPr>
          <p:cNvPr id="43" name="テキスト プレースホルダ 9"/>
          <p:cNvSpPr>
            <a:spLocks noGrp="1"/>
          </p:cNvSpPr>
          <p:nvPr>
            <p:custDataLst>
              <p:tags r:id="rId50"/>
            </p:custDataLst>
          </p:nvPr>
        </p:nvSpPr>
        <p:spPr bwMode="auto">
          <a:xfrm>
            <a:off x="3684588"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E82E6C-193A-455C-8D84-DDCEAFC6AAAC}" type="datetime'''''''''''''0''7'''''''''''''''">
              <a:rPr lang="ja-JP" altLang="en-US" sz="900"/>
              <a:pPr marL="0" indent="0" algn="ctr">
                <a:spcBef>
                  <a:spcPct val="0"/>
                </a:spcBef>
                <a:buNone/>
              </a:pPr>
              <a:t>07</a:t>
            </a:fld>
            <a:endParaRPr kumimoji="0" lang="ja-JP" altLang="en-US" sz="900" dirty="0">
              <a:sym typeface="+mn-lt"/>
            </a:endParaRPr>
          </a:p>
        </p:txBody>
      </p:sp>
      <p:sp>
        <p:nvSpPr>
          <p:cNvPr id="49" name="テキスト プレースホルダ 9"/>
          <p:cNvSpPr>
            <a:spLocks noGrp="1"/>
          </p:cNvSpPr>
          <p:nvPr>
            <p:custDataLst>
              <p:tags r:id="rId51"/>
            </p:custDataLst>
          </p:nvPr>
        </p:nvSpPr>
        <p:spPr bwMode="auto">
          <a:xfrm>
            <a:off x="5721350"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79528D-8021-4B73-8EEE-4EE17AFBB89B}" type="datetime'''''''''''''''''''''''''''''''1''''''3'''''''''''''''''''''''">
              <a:rPr lang="ja-JP" altLang="en-US" sz="900"/>
              <a:pPr marL="0" indent="0" algn="ctr">
                <a:spcBef>
                  <a:spcPct val="0"/>
                </a:spcBef>
                <a:buNone/>
              </a:pPr>
              <a:t>13</a:t>
            </a:fld>
            <a:endParaRPr kumimoji="0" lang="ja-JP" altLang="en-US" sz="900" dirty="0">
              <a:sym typeface="+mn-lt"/>
            </a:endParaRPr>
          </a:p>
        </p:txBody>
      </p:sp>
      <p:sp>
        <p:nvSpPr>
          <p:cNvPr id="44" name="テキスト プレースホルダ 9"/>
          <p:cNvSpPr>
            <a:spLocks noGrp="1"/>
          </p:cNvSpPr>
          <p:nvPr>
            <p:custDataLst>
              <p:tags r:id="rId52"/>
            </p:custDataLst>
          </p:nvPr>
        </p:nvSpPr>
        <p:spPr bwMode="auto">
          <a:xfrm>
            <a:off x="4024313"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C2F5E7-AFB0-42A0-8CFD-B9FF76CE8928}" type="datetime'''0''''''''''''''''''''''''''''''8'''''''''">
              <a:rPr lang="ja-JP" altLang="en-US" sz="900"/>
              <a:pPr marL="0" indent="0" algn="ctr">
                <a:spcBef>
                  <a:spcPct val="0"/>
                </a:spcBef>
                <a:buNone/>
              </a:pPr>
              <a:t>08</a:t>
            </a:fld>
            <a:endParaRPr kumimoji="0" lang="ja-JP" altLang="en-US" sz="900" dirty="0">
              <a:sym typeface="+mn-lt"/>
            </a:endParaRPr>
          </a:p>
        </p:txBody>
      </p:sp>
      <p:sp>
        <p:nvSpPr>
          <p:cNvPr id="207" name="テキスト プレースホルダ 9">
            <a:extLst>
              <a:ext uri="{FF2B5EF4-FFF2-40B4-BE49-F238E27FC236}">
                <a16:creationId xmlns:a16="http://schemas.microsoft.com/office/drawing/2014/main" id="{93F332EB-3885-4C10-8801-BE212A24A9AC}"/>
              </a:ext>
            </a:extLst>
          </p:cNvPr>
          <p:cNvSpPr>
            <a:spLocks noGrp="1"/>
          </p:cNvSpPr>
          <p:nvPr>
            <p:custDataLst>
              <p:tags r:id="rId53"/>
            </p:custDataLst>
          </p:nvPr>
        </p:nvSpPr>
        <p:spPr bwMode="gray">
          <a:xfrm>
            <a:off x="4322763" y="3338513"/>
            <a:ext cx="2222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DCA62B-0D17-4D15-97F5-60B9DC70236A}" type="datetime'''''''''''''''''''''6''''''''''''''''''''''''''0''''5'''">
              <a:rPr lang="ja-JP" altLang="en-US" sz="900" smtClean="0">
                <a:effectLst/>
              </a:rPr>
              <a:pPr/>
              <a:t>605</a:t>
            </a:fld>
            <a:endParaRPr lang="ja-JP" altLang="en-US" sz="900" dirty="0">
              <a:sym typeface="+mn-lt"/>
            </a:endParaRPr>
          </a:p>
        </p:txBody>
      </p:sp>
      <p:sp>
        <p:nvSpPr>
          <p:cNvPr id="206" name="テキスト プレースホルダ 9">
            <a:extLst>
              <a:ext uri="{FF2B5EF4-FFF2-40B4-BE49-F238E27FC236}">
                <a16:creationId xmlns:a16="http://schemas.microsoft.com/office/drawing/2014/main" id="{008076E4-AFB9-42D3-B8FF-FF7873FCA7B3}"/>
              </a:ext>
            </a:extLst>
          </p:cNvPr>
          <p:cNvSpPr>
            <a:spLocks noGrp="1"/>
          </p:cNvSpPr>
          <p:nvPr>
            <p:custDataLst>
              <p:tags r:id="rId54"/>
            </p:custDataLst>
          </p:nvPr>
        </p:nvSpPr>
        <p:spPr bwMode="gray">
          <a:xfrm>
            <a:off x="4322763" y="3059113"/>
            <a:ext cx="2222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98688D-9D45-47CD-A8FF-39B5BC188886}" type="datetime'''''''''''''''''''''''''''''''''''''7''''''6''''5'">
              <a:rPr lang="ja-JP" altLang="en-US" sz="900" smtClean="0">
                <a:effectLst/>
              </a:rPr>
              <a:pPr/>
              <a:t>765</a:t>
            </a:fld>
            <a:endParaRPr lang="ja-JP" altLang="en-US" sz="900" dirty="0">
              <a:sym typeface="+mn-lt"/>
            </a:endParaRPr>
          </a:p>
        </p:txBody>
      </p:sp>
      <p:sp>
        <p:nvSpPr>
          <p:cNvPr id="45" name="テキスト プレースホルダ 9"/>
          <p:cNvSpPr>
            <a:spLocks noGrp="1"/>
          </p:cNvSpPr>
          <p:nvPr>
            <p:custDataLst>
              <p:tags r:id="rId55"/>
            </p:custDataLst>
          </p:nvPr>
        </p:nvSpPr>
        <p:spPr bwMode="auto">
          <a:xfrm>
            <a:off x="4364038"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B3E2E3-311F-426D-B4B5-EC69C25E219A}" type="datetime'''''''''''''''''''''''''0''''''''9'''''''''''''''''''">
              <a:rPr lang="ja-JP" altLang="en-US" sz="900"/>
              <a:pPr marL="0" indent="0" algn="ctr">
                <a:spcBef>
                  <a:spcPct val="0"/>
                </a:spcBef>
                <a:buNone/>
              </a:pPr>
              <a:t>09</a:t>
            </a:fld>
            <a:endParaRPr kumimoji="0" lang="ja-JP" altLang="en-US" sz="900" dirty="0">
              <a:sym typeface="+mn-lt"/>
            </a:endParaRPr>
          </a:p>
        </p:txBody>
      </p:sp>
      <p:sp>
        <p:nvSpPr>
          <p:cNvPr id="134" name="テキスト プレースホルダ 9">
            <a:extLst>
              <a:ext uri="{FF2B5EF4-FFF2-40B4-BE49-F238E27FC236}">
                <a16:creationId xmlns:a16="http://schemas.microsoft.com/office/drawing/2014/main" id="{F9CF5C4A-A527-4E91-986B-84994CE2910B}"/>
              </a:ext>
            </a:extLst>
          </p:cNvPr>
          <p:cNvSpPr>
            <a:spLocks noGrp="1"/>
          </p:cNvSpPr>
          <p:nvPr>
            <p:custDataLst>
              <p:tags r:id="rId56"/>
            </p:custDataLst>
          </p:nvPr>
        </p:nvSpPr>
        <p:spPr bwMode="gray">
          <a:xfrm>
            <a:off x="7329488" y="2957513"/>
            <a:ext cx="317500" cy="136525"/>
          </a:xfrm>
          <a:prstGeom prst="rect">
            <a:avLst/>
          </a:prstGeom>
          <a:solidFill>
            <a:srgbClr val="80CCE8"/>
          </a:solidFill>
          <a:ln>
            <a:noFill/>
          </a:ln>
          <a:effec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6AF9A9-F658-4CD1-918C-4ABA2ADE748B}" type="datetime'''''''''1'''''''''',''''''032'''''''''''''''''''''''''''">
              <a:rPr lang="ja-JP" altLang="en-US" sz="900" smtClean="0">
                <a:effectLst/>
              </a:rPr>
              <a:pPr/>
              <a:t>1,032</a:t>
            </a:fld>
            <a:endParaRPr lang="ja-JP" altLang="en-US" sz="900" dirty="0">
              <a:sym typeface="+mn-lt"/>
            </a:endParaRPr>
          </a:p>
        </p:txBody>
      </p:sp>
      <p:sp>
        <p:nvSpPr>
          <p:cNvPr id="218" name="テキスト プレースホルダ 9">
            <a:extLst>
              <a:ext uri="{FF2B5EF4-FFF2-40B4-BE49-F238E27FC236}">
                <a16:creationId xmlns:a16="http://schemas.microsoft.com/office/drawing/2014/main" id="{F00E9783-21EB-4033-B865-D13611ABB4F3}"/>
              </a:ext>
            </a:extLst>
          </p:cNvPr>
          <p:cNvSpPr>
            <a:spLocks noGrp="1"/>
          </p:cNvSpPr>
          <p:nvPr>
            <p:custDataLst>
              <p:tags r:id="rId57"/>
            </p:custDataLst>
          </p:nvPr>
        </p:nvSpPr>
        <p:spPr bwMode="gray">
          <a:xfrm>
            <a:off x="1898650" y="2916238"/>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C50478-6D28-416F-BA01-95A2A055C1CD}" type="datetime'''''''''''''''1'''''''''''',1''''''''''''''''1''''''0'''''''">
              <a:rPr lang="ja-JP" altLang="en-US" sz="900" smtClean="0"/>
              <a:pPr/>
              <a:t>1,110</a:t>
            </a:fld>
            <a:endParaRPr lang="ja-JP" altLang="en-US" sz="900" dirty="0">
              <a:sym typeface="+mn-lt"/>
            </a:endParaRPr>
          </a:p>
        </p:txBody>
      </p:sp>
      <p:sp>
        <p:nvSpPr>
          <p:cNvPr id="208" name="テキスト プレースホルダ 9">
            <a:extLst>
              <a:ext uri="{FF2B5EF4-FFF2-40B4-BE49-F238E27FC236}">
                <a16:creationId xmlns:a16="http://schemas.microsoft.com/office/drawing/2014/main" id="{90BA02E7-8921-4269-96DD-A4E468D96CD1}"/>
              </a:ext>
            </a:extLst>
          </p:cNvPr>
          <p:cNvSpPr>
            <a:spLocks noGrp="1"/>
          </p:cNvSpPr>
          <p:nvPr>
            <p:custDataLst>
              <p:tags r:id="rId58"/>
            </p:custDataLst>
          </p:nvPr>
        </p:nvSpPr>
        <p:spPr bwMode="gray">
          <a:xfrm>
            <a:off x="4660900" y="3049588"/>
            <a:ext cx="2222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183F71-350E-4BD1-ACBB-9BABA749CC4B}" type="datetime'''''''''''''''7''''''6''''''''''6'''''">
              <a:rPr lang="ja-JP" altLang="en-US" sz="900" smtClean="0">
                <a:effectLst/>
              </a:rPr>
              <a:pPr/>
              <a:t>766</a:t>
            </a:fld>
            <a:endParaRPr lang="ja-JP" altLang="en-US" sz="900" dirty="0">
              <a:sym typeface="+mn-lt"/>
            </a:endParaRPr>
          </a:p>
        </p:txBody>
      </p:sp>
      <p:sp>
        <p:nvSpPr>
          <p:cNvPr id="209" name="テキスト プレースホルダ 9">
            <a:extLst>
              <a:ext uri="{FF2B5EF4-FFF2-40B4-BE49-F238E27FC236}">
                <a16:creationId xmlns:a16="http://schemas.microsoft.com/office/drawing/2014/main" id="{AB5B0D51-999B-482B-8AFB-F74A7E071306}"/>
              </a:ext>
            </a:extLst>
          </p:cNvPr>
          <p:cNvSpPr>
            <a:spLocks noGrp="1"/>
          </p:cNvSpPr>
          <p:nvPr>
            <p:custDataLst>
              <p:tags r:id="rId59"/>
            </p:custDataLst>
          </p:nvPr>
        </p:nvSpPr>
        <p:spPr bwMode="gray">
          <a:xfrm>
            <a:off x="4660900" y="3333750"/>
            <a:ext cx="2222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DB3ABF-B531-428F-A094-C1C8FFF58661}" type="datetime'''''''''''''''''''6''''''''''''''''''28'''''''''">
              <a:rPr lang="ja-JP" altLang="en-US" sz="900" smtClean="0">
                <a:effectLst/>
              </a:rPr>
              <a:pPr/>
              <a:t>628</a:t>
            </a:fld>
            <a:endParaRPr lang="ja-JP" altLang="en-US" sz="900" dirty="0">
              <a:sym typeface="+mn-lt"/>
            </a:endParaRPr>
          </a:p>
        </p:txBody>
      </p:sp>
      <p:sp>
        <p:nvSpPr>
          <p:cNvPr id="143" name="テキスト プレースホルダ 9"/>
          <p:cNvSpPr>
            <a:spLocks noGrp="1"/>
          </p:cNvSpPr>
          <p:nvPr>
            <p:custDataLst>
              <p:tags r:id="rId60"/>
            </p:custDataLst>
          </p:nvPr>
        </p:nvSpPr>
        <p:spPr bwMode="gray">
          <a:xfrm>
            <a:off x="5000625" y="3043238"/>
            <a:ext cx="222250" cy="136525"/>
          </a:xfrm>
          <a:prstGeom prst="rect">
            <a:avLst/>
          </a:prstGeom>
          <a:noFill/>
          <a:extLst>
            <a:ext uri="{909E8E84-426E-40DD-AFC4-6F175D3DCCD1}">
              <a14:hiddenFill xmlns:a14="http://schemas.microsoft.com/office/drawing/2010/main">
                <a:solidFill>
                  <a:srgbClr val="80CCE8"/>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F5159A-4BA4-4D50-9B57-E67222A1A5AA}" type="datetime'''''''''7''''8''''''''''8'''''''''''''''''''''">
              <a:rPr kumimoji="0" lang="ja-JP" altLang="en-US" sz="900" smtClean="0">
                <a:effectLst/>
              </a:rPr>
              <a:pPr/>
              <a:t>788</a:t>
            </a:fld>
            <a:endParaRPr kumimoji="0" lang="ja-JP" altLang="en-US" sz="900" dirty="0">
              <a:sym typeface="+mn-lt"/>
            </a:endParaRPr>
          </a:p>
        </p:txBody>
      </p:sp>
      <p:sp>
        <p:nvSpPr>
          <p:cNvPr id="211" name="テキスト プレースホルダ 9">
            <a:extLst>
              <a:ext uri="{FF2B5EF4-FFF2-40B4-BE49-F238E27FC236}">
                <a16:creationId xmlns:a16="http://schemas.microsoft.com/office/drawing/2014/main" id="{F47AD311-C2A9-459E-BD23-E9DD7FDA8A9A}"/>
              </a:ext>
            </a:extLst>
          </p:cNvPr>
          <p:cNvSpPr>
            <a:spLocks noGrp="1"/>
          </p:cNvSpPr>
          <p:nvPr>
            <p:custDataLst>
              <p:tags r:id="rId61"/>
            </p:custDataLst>
          </p:nvPr>
        </p:nvSpPr>
        <p:spPr bwMode="gray">
          <a:xfrm>
            <a:off x="5340350" y="3335338"/>
            <a:ext cx="2222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9D9C19-F714-456A-B86D-00C0CB536253}" type="datetime'''''''''''''''''''''''''''''''''''''6''2''4'''''''''''''''''''">
              <a:rPr lang="ja-JP" altLang="en-US" sz="900" smtClean="0">
                <a:effectLst/>
              </a:rPr>
              <a:pPr/>
              <a:t>624</a:t>
            </a:fld>
            <a:endParaRPr lang="ja-JP" altLang="en-US" sz="900" dirty="0">
              <a:sym typeface="+mn-lt"/>
            </a:endParaRPr>
          </a:p>
        </p:txBody>
      </p:sp>
      <p:sp>
        <p:nvSpPr>
          <p:cNvPr id="213" name="テキスト プレースホルダ 9">
            <a:extLst>
              <a:ext uri="{FF2B5EF4-FFF2-40B4-BE49-F238E27FC236}">
                <a16:creationId xmlns:a16="http://schemas.microsoft.com/office/drawing/2014/main" id="{9A688302-60F7-4055-8AE7-EC84BC2DB7C8}"/>
              </a:ext>
            </a:extLst>
          </p:cNvPr>
          <p:cNvSpPr>
            <a:spLocks noGrp="1"/>
          </p:cNvSpPr>
          <p:nvPr>
            <p:custDataLst>
              <p:tags r:id="rId62"/>
            </p:custDataLst>
          </p:nvPr>
        </p:nvSpPr>
        <p:spPr bwMode="gray">
          <a:xfrm>
            <a:off x="6019800" y="3316288"/>
            <a:ext cx="2222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64C0E0-E51E-4BDD-8C96-A2C6AF6D4597}" type="datetime'7''''''''''''''''''''''''''''''''''1''''''''''2'''''">
              <a:rPr lang="ja-JP" altLang="en-US" sz="900" smtClean="0">
                <a:effectLst/>
              </a:rPr>
              <a:pPr/>
              <a:t>712</a:t>
            </a:fld>
            <a:endParaRPr lang="ja-JP" altLang="en-US" sz="900" dirty="0">
              <a:sym typeface="+mn-lt"/>
            </a:endParaRPr>
          </a:p>
        </p:txBody>
      </p:sp>
      <p:sp>
        <p:nvSpPr>
          <p:cNvPr id="148" name="テキスト プレースホルダ 9"/>
          <p:cNvSpPr>
            <a:spLocks noGrp="1"/>
          </p:cNvSpPr>
          <p:nvPr>
            <p:custDataLst>
              <p:tags r:id="rId63"/>
            </p:custDataLst>
          </p:nvPr>
        </p:nvSpPr>
        <p:spPr bwMode="gray">
          <a:xfrm>
            <a:off x="6019800" y="2987675"/>
            <a:ext cx="222250" cy="136525"/>
          </a:xfrm>
          <a:prstGeom prst="rect">
            <a:avLst/>
          </a:prstGeom>
          <a:noFill/>
          <a:extLst>
            <a:ext uri="{909E8E84-426E-40DD-AFC4-6F175D3DCCD1}">
              <a14:hiddenFill xmlns:a14="http://schemas.microsoft.com/office/drawing/2010/main">
                <a:solidFill>
                  <a:srgbClr val="80CCE8"/>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C2CE75-09BA-4627-A3C4-58DB984E37E2}" type="datetime'''''''''9''''''''''''''''0''''''''''''''4'''''''">
              <a:rPr kumimoji="0" lang="ja-JP" altLang="en-US" sz="900" smtClean="0">
                <a:effectLst/>
              </a:rPr>
              <a:pPr/>
              <a:t>904</a:t>
            </a:fld>
            <a:endParaRPr kumimoji="0" lang="ja-JP" altLang="en-US" sz="900" dirty="0">
              <a:sym typeface="+mn-lt"/>
            </a:endParaRPr>
          </a:p>
        </p:txBody>
      </p:sp>
      <p:sp>
        <p:nvSpPr>
          <p:cNvPr id="235" name="テキスト プレースホルダ 9">
            <a:extLst>
              <a:ext uri="{FF2B5EF4-FFF2-40B4-BE49-F238E27FC236}">
                <a16:creationId xmlns:a16="http://schemas.microsoft.com/office/drawing/2014/main" id="{90DEA63A-14A3-4EE9-B23D-3C7DE3115E5D}"/>
              </a:ext>
            </a:extLst>
          </p:cNvPr>
          <p:cNvSpPr>
            <a:spLocks noGrp="1"/>
          </p:cNvSpPr>
          <p:nvPr>
            <p:custDataLst>
              <p:tags r:id="rId64"/>
            </p:custDataLst>
          </p:nvPr>
        </p:nvSpPr>
        <p:spPr bwMode="gray">
          <a:xfrm>
            <a:off x="6697663" y="2981325"/>
            <a:ext cx="2222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C29559-DEC0-4833-880B-2481631523A5}" type="datetime'9''''''''''''3''''''''''''''7'''''''''''''''''''''''''''''''">
              <a:rPr lang="ja-JP" altLang="en-US" sz="900" smtClean="0">
                <a:effectLst/>
              </a:rPr>
              <a:pPr/>
              <a:t>937</a:t>
            </a:fld>
            <a:endParaRPr lang="ja-JP" altLang="en-US" sz="900" dirty="0">
              <a:sym typeface="+mn-lt"/>
            </a:endParaRPr>
          </a:p>
        </p:txBody>
      </p:sp>
      <p:sp>
        <p:nvSpPr>
          <p:cNvPr id="214" name="テキスト プレースホルダ 9">
            <a:extLst>
              <a:ext uri="{FF2B5EF4-FFF2-40B4-BE49-F238E27FC236}">
                <a16:creationId xmlns:a16="http://schemas.microsoft.com/office/drawing/2014/main" id="{134E4EB4-4959-4D40-9F4E-49A22ECF6F21}"/>
              </a:ext>
            </a:extLst>
          </p:cNvPr>
          <p:cNvSpPr>
            <a:spLocks noGrp="1"/>
          </p:cNvSpPr>
          <p:nvPr>
            <p:custDataLst>
              <p:tags r:id="rId65"/>
            </p:custDataLst>
          </p:nvPr>
        </p:nvSpPr>
        <p:spPr bwMode="gray">
          <a:xfrm>
            <a:off x="6359525" y="2978150"/>
            <a:ext cx="222250" cy="136525"/>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B75433-A28B-4451-9EF4-D33B4FAD7C03}" type="datetime'''''''''''''''''''''''''''''''''''''''938'''''">
              <a:rPr lang="ja-JP" altLang="en-US" sz="900" smtClean="0">
                <a:effectLst/>
              </a:rPr>
              <a:pPr/>
              <a:t>938</a:t>
            </a:fld>
            <a:endParaRPr lang="ja-JP" altLang="en-US" sz="900" dirty="0">
              <a:sym typeface="+mn-lt"/>
            </a:endParaRPr>
          </a:p>
        </p:txBody>
      </p:sp>
      <p:sp>
        <p:nvSpPr>
          <p:cNvPr id="51" name="テキスト プレースホルダ 9"/>
          <p:cNvSpPr>
            <a:spLocks noGrp="1"/>
          </p:cNvSpPr>
          <p:nvPr>
            <p:custDataLst>
              <p:tags r:id="rId66"/>
            </p:custDataLst>
          </p:nvPr>
        </p:nvSpPr>
        <p:spPr bwMode="auto">
          <a:xfrm>
            <a:off x="6400800"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FF816B-DF2B-4467-B4D6-E236002F0422}" type="datetime'''''''''''''''''''1''''''''''''''''''''''''''''''''''''5'">
              <a:rPr lang="ja-JP" altLang="en-US" sz="900"/>
              <a:pPr marL="0" indent="0" algn="ctr">
                <a:spcBef>
                  <a:spcPct val="0"/>
                </a:spcBef>
                <a:buNone/>
              </a:pPr>
              <a:t>15</a:t>
            </a:fld>
            <a:endParaRPr kumimoji="0" lang="ja-JP" altLang="en-US" sz="900" dirty="0">
              <a:sym typeface="+mn-lt"/>
            </a:endParaRPr>
          </a:p>
        </p:txBody>
      </p:sp>
      <p:sp>
        <p:nvSpPr>
          <p:cNvPr id="133" name="テキスト プレースホルダ 9">
            <a:extLst>
              <a:ext uri="{FF2B5EF4-FFF2-40B4-BE49-F238E27FC236}">
                <a16:creationId xmlns:a16="http://schemas.microsoft.com/office/drawing/2014/main" id="{BAA02DF0-7511-4D69-80C5-0E3DC40262C6}"/>
              </a:ext>
            </a:extLst>
          </p:cNvPr>
          <p:cNvSpPr>
            <a:spLocks noGrp="1"/>
          </p:cNvSpPr>
          <p:nvPr>
            <p:custDataLst>
              <p:tags r:id="rId67"/>
            </p:custDataLst>
          </p:nvPr>
        </p:nvSpPr>
        <p:spPr bwMode="gray">
          <a:xfrm>
            <a:off x="6989763" y="2963863"/>
            <a:ext cx="317500" cy="136525"/>
          </a:xfrm>
          <a:prstGeom prst="rect">
            <a:avLst/>
          </a:prstGeom>
          <a:solidFill>
            <a:srgbClr val="80CCE8"/>
          </a:solidFill>
          <a:ln>
            <a:noFill/>
          </a:ln>
          <a:effec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82754A-6A41-469A-AEC6-995297272AC5}" type="datetime'''1'',''''''''''''''0''''''''''04'''''''''''''''''''''''">
              <a:rPr lang="ja-JP" altLang="en-US" sz="900" smtClean="0">
                <a:effectLst/>
              </a:rPr>
              <a:pPr/>
              <a:t>1,004</a:t>
            </a:fld>
            <a:endParaRPr lang="ja-JP" altLang="en-US" sz="900" dirty="0">
              <a:sym typeface="+mn-lt"/>
            </a:endParaRPr>
          </a:p>
        </p:txBody>
      </p:sp>
      <p:sp>
        <p:nvSpPr>
          <p:cNvPr id="238" name="テキスト プレースホルダ 9">
            <a:extLst>
              <a:ext uri="{FF2B5EF4-FFF2-40B4-BE49-F238E27FC236}">
                <a16:creationId xmlns:a16="http://schemas.microsoft.com/office/drawing/2014/main" id="{C2D091BE-48EC-4064-86D3-42BE3AB47177}"/>
              </a:ext>
            </a:extLst>
          </p:cNvPr>
          <p:cNvSpPr>
            <a:spLocks noGrp="1"/>
          </p:cNvSpPr>
          <p:nvPr>
            <p:custDataLst>
              <p:tags r:id="rId68"/>
            </p:custDataLst>
          </p:nvPr>
        </p:nvSpPr>
        <p:spPr bwMode="gray">
          <a:xfrm>
            <a:off x="7377113" y="3314700"/>
            <a:ext cx="2222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04F93E5-7067-4147-BE85-D0D42402FED4}" type="datetime'''''''''''''72''''''''''''''''''''''''''0'''''''''''''''''">
              <a:rPr lang="ja-JP" altLang="en-US" sz="900" smtClean="0">
                <a:effectLst/>
              </a:rPr>
              <a:pPr/>
              <a:t>720</a:t>
            </a:fld>
            <a:endParaRPr lang="ja-JP" altLang="en-US" sz="900" dirty="0">
              <a:sym typeface="+mn-lt"/>
            </a:endParaRPr>
          </a:p>
        </p:txBody>
      </p:sp>
      <p:sp>
        <p:nvSpPr>
          <p:cNvPr id="129" name="テキスト プレースホルダ 9">
            <a:extLst>
              <a:ext uri="{FF2B5EF4-FFF2-40B4-BE49-F238E27FC236}">
                <a16:creationId xmlns:a16="http://schemas.microsoft.com/office/drawing/2014/main" id="{7FFF9B66-2EA2-44AB-91E5-58DF8F759166}"/>
              </a:ext>
            </a:extLst>
          </p:cNvPr>
          <p:cNvSpPr>
            <a:spLocks noGrp="1"/>
          </p:cNvSpPr>
          <p:nvPr>
            <p:custDataLst>
              <p:tags r:id="rId69"/>
            </p:custDataLst>
          </p:nvPr>
        </p:nvSpPr>
        <p:spPr bwMode="auto">
          <a:xfrm>
            <a:off x="7418388" y="3606801"/>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811A14B-0C5F-43D7-B739-16DE1E4D1BC8}" type="datetime'''1''''''''8'''''''''''''''''''''''''">
              <a:rPr kumimoji="0" lang="ja-JP" altLang="en-US" sz="900" smtClean="0"/>
              <a:pPr/>
              <a:t>18</a:t>
            </a:fld>
            <a:endParaRPr kumimoji="0" lang="ja-JP" altLang="en-US" sz="900" dirty="0">
              <a:sym typeface="+mn-lt"/>
            </a:endParaRPr>
          </a:p>
        </p:txBody>
      </p:sp>
      <p:sp>
        <p:nvSpPr>
          <p:cNvPr id="239" name="テキスト プレースホルダ 9">
            <a:extLst>
              <a:ext uri="{FF2B5EF4-FFF2-40B4-BE49-F238E27FC236}">
                <a16:creationId xmlns:a16="http://schemas.microsoft.com/office/drawing/2014/main" id="{2B617215-FA51-42D7-83F7-C4F0C9E5C12C}"/>
              </a:ext>
            </a:extLst>
          </p:cNvPr>
          <p:cNvSpPr>
            <a:spLocks noGrp="1"/>
          </p:cNvSpPr>
          <p:nvPr>
            <p:custDataLst>
              <p:tags r:id="rId70"/>
            </p:custDataLst>
          </p:nvPr>
        </p:nvSpPr>
        <p:spPr bwMode="gray">
          <a:xfrm>
            <a:off x="7716838" y="3313113"/>
            <a:ext cx="222250" cy="136525"/>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B8D728-4DC8-4632-8696-FA1FD92FB771}" type="datetime'''''7''''''''''''''''''3''''''''''''''4'''''''''''''''">
              <a:rPr lang="ja-JP" altLang="en-US" sz="900" smtClean="0">
                <a:effectLst/>
              </a:rPr>
              <a:pPr/>
              <a:t>734</a:t>
            </a:fld>
            <a:endParaRPr lang="ja-JP" altLang="en-US" sz="900" dirty="0">
              <a:sym typeface="+mn-lt"/>
            </a:endParaRPr>
          </a:p>
        </p:txBody>
      </p:sp>
      <p:sp>
        <p:nvSpPr>
          <p:cNvPr id="178" name="テキスト プレースホルダ 9">
            <a:extLst>
              <a:ext uri="{FF2B5EF4-FFF2-40B4-BE49-F238E27FC236}">
                <a16:creationId xmlns:a16="http://schemas.microsoft.com/office/drawing/2014/main" id="{D9362BBD-7374-4921-8979-7EDBD10D751F}"/>
              </a:ext>
            </a:extLst>
          </p:cNvPr>
          <p:cNvSpPr>
            <a:spLocks noGrp="1"/>
          </p:cNvSpPr>
          <p:nvPr>
            <p:custDataLst>
              <p:tags r:id="rId71"/>
            </p:custDataLst>
          </p:nvPr>
        </p:nvSpPr>
        <p:spPr bwMode="auto">
          <a:xfrm>
            <a:off x="7758113" y="3606800"/>
            <a:ext cx="139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FE1890-53A2-4989-97A8-5F53921911B5}" type="datetime'''''''''''''''''1''''''9'''''">
              <a:rPr kumimoji="0" lang="ja-JP" altLang="en-US" sz="900" smtClean="0"/>
              <a:pPr/>
              <a:t>19</a:t>
            </a:fld>
            <a:endParaRPr kumimoji="0" lang="ja-JP" altLang="en-US" sz="900" dirty="0">
              <a:sym typeface="+mn-lt"/>
            </a:endParaRPr>
          </a:p>
        </p:txBody>
      </p:sp>
      <p:sp>
        <p:nvSpPr>
          <p:cNvPr id="216" name="テキスト プレースホルダ 9">
            <a:extLst>
              <a:ext uri="{FF2B5EF4-FFF2-40B4-BE49-F238E27FC236}">
                <a16:creationId xmlns:a16="http://schemas.microsoft.com/office/drawing/2014/main" id="{5AF1257F-0F15-4B88-B84E-85689A0D0114}"/>
              </a:ext>
            </a:extLst>
          </p:cNvPr>
          <p:cNvSpPr>
            <a:spLocks noGrp="1"/>
          </p:cNvSpPr>
          <p:nvPr>
            <p:custDataLst>
              <p:tags r:id="rId72"/>
            </p:custDataLst>
          </p:nvPr>
        </p:nvSpPr>
        <p:spPr bwMode="gray">
          <a:xfrm>
            <a:off x="1219200" y="2952750"/>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4B5739-F446-4020-ACD9-64A65496ACD2}" type="datetime'''''''1'',''01''''''''''9'''''''''''''''''''''''''">
              <a:rPr lang="ja-JP" altLang="en-US" sz="900" smtClean="0"/>
              <a:pPr/>
              <a:t>1,019</a:t>
            </a:fld>
            <a:endParaRPr lang="ja-JP" altLang="en-US" sz="900" dirty="0">
              <a:sym typeface="+mn-lt"/>
            </a:endParaRPr>
          </a:p>
        </p:txBody>
      </p:sp>
      <p:sp>
        <p:nvSpPr>
          <p:cNvPr id="217" name="テキスト プレースホルダ 9">
            <a:extLst>
              <a:ext uri="{FF2B5EF4-FFF2-40B4-BE49-F238E27FC236}">
                <a16:creationId xmlns:a16="http://schemas.microsoft.com/office/drawing/2014/main" id="{B4CEF1E2-5773-47D5-864A-FEA933E90B42}"/>
              </a:ext>
            </a:extLst>
          </p:cNvPr>
          <p:cNvSpPr>
            <a:spLocks noGrp="1"/>
          </p:cNvSpPr>
          <p:nvPr>
            <p:custDataLst>
              <p:tags r:id="rId73"/>
            </p:custDataLst>
          </p:nvPr>
        </p:nvSpPr>
        <p:spPr bwMode="gray">
          <a:xfrm>
            <a:off x="1558925" y="2936875"/>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1734AB-C395-46A3-A5B9-C3FD5167ADD5}" type="datetime'''''''''''''''''1'',''''''''''''''''''''0''''5''''9'">
              <a:rPr lang="ja-JP" altLang="en-US" sz="900" smtClean="0"/>
              <a:pPr/>
              <a:t>1,059</a:t>
            </a:fld>
            <a:endParaRPr lang="ja-JP" altLang="en-US" sz="900" dirty="0">
              <a:sym typeface="+mn-lt"/>
            </a:endParaRPr>
          </a:p>
        </p:txBody>
      </p:sp>
      <p:sp>
        <p:nvSpPr>
          <p:cNvPr id="219" name="テキスト プレースホルダ 9">
            <a:extLst>
              <a:ext uri="{FF2B5EF4-FFF2-40B4-BE49-F238E27FC236}">
                <a16:creationId xmlns:a16="http://schemas.microsoft.com/office/drawing/2014/main" id="{2B19476C-7DA0-4DDA-87F0-C6ADC54F9EDA}"/>
              </a:ext>
            </a:extLst>
          </p:cNvPr>
          <p:cNvSpPr>
            <a:spLocks noGrp="1"/>
          </p:cNvSpPr>
          <p:nvPr>
            <p:custDataLst>
              <p:tags r:id="rId74"/>
            </p:custDataLst>
          </p:nvPr>
        </p:nvSpPr>
        <p:spPr bwMode="gray">
          <a:xfrm>
            <a:off x="2236788" y="2936875"/>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621A05-EB94-44ED-8396-ECBB90116A37}" type="datetime'''''''''''''''''1'',''''''''''''''0''''''''''5''''''8'">
              <a:rPr lang="ja-JP" altLang="en-US" sz="900" smtClean="0"/>
              <a:pPr/>
              <a:t>1,058</a:t>
            </a:fld>
            <a:endParaRPr lang="ja-JP" altLang="en-US" sz="900" dirty="0">
              <a:sym typeface="+mn-lt"/>
            </a:endParaRPr>
          </a:p>
        </p:txBody>
      </p:sp>
      <p:sp>
        <p:nvSpPr>
          <p:cNvPr id="220" name="テキスト プレースホルダ 9">
            <a:extLst>
              <a:ext uri="{FF2B5EF4-FFF2-40B4-BE49-F238E27FC236}">
                <a16:creationId xmlns:a16="http://schemas.microsoft.com/office/drawing/2014/main" id="{CC291CAA-FCE9-48B0-A568-6A2A5970ED75}"/>
              </a:ext>
            </a:extLst>
          </p:cNvPr>
          <p:cNvSpPr>
            <a:spLocks noGrp="1"/>
          </p:cNvSpPr>
          <p:nvPr>
            <p:custDataLst>
              <p:tags r:id="rId75"/>
            </p:custDataLst>
          </p:nvPr>
        </p:nvSpPr>
        <p:spPr bwMode="gray">
          <a:xfrm>
            <a:off x="2576513" y="2916238"/>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C88BB2-BB1F-45F5-B4AB-ED4EB189C6E9}" type="datetime'''''''''''''''1'',''''''1''''''''''''1''''''''''''0'''''''">
              <a:rPr lang="ja-JP" altLang="en-US" sz="900" smtClean="0"/>
              <a:pPr/>
              <a:t>1,110</a:t>
            </a:fld>
            <a:endParaRPr lang="ja-JP" altLang="en-US" sz="900" dirty="0">
              <a:sym typeface="+mn-lt"/>
            </a:endParaRPr>
          </a:p>
        </p:txBody>
      </p:sp>
      <p:sp>
        <p:nvSpPr>
          <p:cNvPr id="221" name="テキスト プレースホルダ 9">
            <a:extLst>
              <a:ext uri="{FF2B5EF4-FFF2-40B4-BE49-F238E27FC236}">
                <a16:creationId xmlns:a16="http://schemas.microsoft.com/office/drawing/2014/main" id="{21BEFC85-77DD-4849-BA03-A5965A46A214}"/>
              </a:ext>
            </a:extLst>
          </p:cNvPr>
          <p:cNvSpPr>
            <a:spLocks noGrp="1"/>
          </p:cNvSpPr>
          <p:nvPr>
            <p:custDataLst>
              <p:tags r:id="rId76"/>
            </p:custDataLst>
          </p:nvPr>
        </p:nvSpPr>
        <p:spPr bwMode="gray">
          <a:xfrm>
            <a:off x="2916238" y="2906713"/>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14285C-A65E-4562-83D9-7747A55075CF}" type="datetime'1'''',''''''''1''''''''''''''3''3'''">
              <a:rPr lang="ja-JP" altLang="en-US" sz="900" smtClean="0"/>
              <a:pPr/>
              <a:t>1,133</a:t>
            </a:fld>
            <a:endParaRPr lang="ja-JP" altLang="en-US" sz="900" dirty="0">
              <a:sym typeface="+mn-lt"/>
            </a:endParaRPr>
          </a:p>
        </p:txBody>
      </p:sp>
      <p:sp>
        <p:nvSpPr>
          <p:cNvPr id="222" name="テキスト プレースホルダ 9">
            <a:extLst>
              <a:ext uri="{FF2B5EF4-FFF2-40B4-BE49-F238E27FC236}">
                <a16:creationId xmlns:a16="http://schemas.microsoft.com/office/drawing/2014/main" id="{91053195-C678-4A30-9B45-2339F37BA15D}"/>
              </a:ext>
            </a:extLst>
          </p:cNvPr>
          <p:cNvSpPr>
            <a:spLocks noGrp="1"/>
          </p:cNvSpPr>
          <p:nvPr>
            <p:custDataLst>
              <p:tags r:id="rId77"/>
            </p:custDataLst>
          </p:nvPr>
        </p:nvSpPr>
        <p:spPr bwMode="gray">
          <a:xfrm>
            <a:off x="3255963" y="2876550"/>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AA75C1-A12C-40D9-A74B-B01B025DE63E}" type="datetime'''''''''1'''''''''''',''2''''''''''0''''''''9'''''''">
              <a:rPr lang="ja-JP" altLang="en-US" sz="900" smtClean="0"/>
              <a:pPr/>
              <a:t>1,209</a:t>
            </a:fld>
            <a:endParaRPr lang="ja-JP" altLang="en-US" sz="900" dirty="0">
              <a:sym typeface="+mn-lt"/>
            </a:endParaRPr>
          </a:p>
        </p:txBody>
      </p:sp>
      <p:sp>
        <p:nvSpPr>
          <p:cNvPr id="223" name="テキスト プレースホルダ 9">
            <a:extLst>
              <a:ext uri="{FF2B5EF4-FFF2-40B4-BE49-F238E27FC236}">
                <a16:creationId xmlns:a16="http://schemas.microsoft.com/office/drawing/2014/main" id="{54798B10-5CFF-4BEF-A19D-B4C9644AF0F8}"/>
              </a:ext>
            </a:extLst>
          </p:cNvPr>
          <p:cNvSpPr>
            <a:spLocks noGrp="1"/>
          </p:cNvSpPr>
          <p:nvPr>
            <p:custDataLst>
              <p:tags r:id="rId78"/>
            </p:custDataLst>
          </p:nvPr>
        </p:nvSpPr>
        <p:spPr bwMode="gray">
          <a:xfrm>
            <a:off x="3595688" y="2849563"/>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0918C3-76D5-4998-9B09-4B5437E14409}" type="datetime'''''''''''''''''''''''1'''''',''2''''75'''''''">
              <a:rPr lang="ja-JP" altLang="en-US" sz="900" smtClean="0"/>
              <a:pPr/>
              <a:t>1,275</a:t>
            </a:fld>
            <a:endParaRPr lang="ja-JP" altLang="en-US" sz="900" dirty="0">
              <a:sym typeface="+mn-lt"/>
            </a:endParaRPr>
          </a:p>
        </p:txBody>
      </p:sp>
      <p:sp>
        <p:nvSpPr>
          <p:cNvPr id="224" name="テキスト プレースホルダ 9">
            <a:extLst>
              <a:ext uri="{FF2B5EF4-FFF2-40B4-BE49-F238E27FC236}">
                <a16:creationId xmlns:a16="http://schemas.microsoft.com/office/drawing/2014/main" id="{DA8FC557-D0D7-4E59-B0C7-AE68C3B25B7C}"/>
              </a:ext>
            </a:extLst>
          </p:cNvPr>
          <p:cNvSpPr>
            <a:spLocks noGrp="1"/>
          </p:cNvSpPr>
          <p:nvPr>
            <p:custDataLst>
              <p:tags r:id="rId79"/>
            </p:custDataLst>
          </p:nvPr>
        </p:nvSpPr>
        <p:spPr bwMode="gray">
          <a:xfrm>
            <a:off x="3935413" y="2835275"/>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AB29996-FE2A-4A36-960E-3951A4A85C41}" type="datetime'''''''''''1'''''',''''''''''''309'''''''">
              <a:rPr lang="ja-JP" altLang="en-US" sz="900" smtClean="0"/>
              <a:pPr/>
              <a:t>1,309</a:t>
            </a:fld>
            <a:endParaRPr lang="ja-JP" altLang="en-US" sz="900" dirty="0">
              <a:sym typeface="+mn-lt"/>
            </a:endParaRPr>
          </a:p>
        </p:txBody>
      </p:sp>
      <p:sp>
        <p:nvSpPr>
          <p:cNvPr id="225" name="テキスト プレースホルダ 9">
            <a:extLst>
              <a:ext uri="{FF2B5EF4-FFF2-40B4-BE49-F238E27FC236}">
                <a16:creationId xmlns:a16="http://schemas.microsoft.com/office/drawing/2014/main" id="{003D8096-A9DA-4CF4-BA1B-39DFD0371AB4}"/>
              </a:ext>
            </a:extLst>
          </p:cNvPr>
          <p:cNvSpPr>
            <a:spLocks noGrp="1"/>
          </p:cNvSpPr>
          <p:nvPr>
            <p:custDataLst>
              <p:tags r:id="rId80"/>
            </p:custDataLst>
          </p:nvPr>
        </p:nvSpPr>
        <p:spPr bwMode="gray">
          <a:xfrm>
            <a:off x="4275138" y="2809875"/>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CB07A7-DEFB-4894-A66D-D536CD6DAD8D}" type="datetime'''1'''''''''''''''''''',3''''''''''7''''''0'''''''''''">
              <a:rPr lang="ja-JP" altLang="en-US" sz="900" smtClean="0"/>
              <a:pPr/>
              <a:t>1,370</a:t>
            </a:fld>
            <a:endParaRPr lang="ja-JP" altLang="en-US" sz="900" dirty="0">
              <a:sym typeface="+mn-lt"/>
            </a:endParaRPr>
          </a:p>
        </p:txBody>
      </p:sp>
      <p:sp>
        <p:nvSpPr>
          <p:cNvPr id="226" name="テキスト プレースホルダ 9">
            <a:extLst>
              <a:ext uri="{FF2B5EF4-FFF2-40B4-BE49-F238E27FC236}">
                <a16:creationId xmlns:a16="http://schemas.microsoft.com/office/drawing/2014/main" id="{67935C92-A29A-48A9-96AA-32E65A7D0052}"/>
              </a:ext>
            </a:extLst>
          </p:cNvPr>
          <p:cNvSpPr>
            <a:spLocks noGrp="1"/>
          </p:cNvSpPr>
          <p:nvPr>
            <p:custDataLst>
              <p:tags r:id="rId81"/>
            </p:custDataLst>
          </p:nvPr>
        </p:nvSpPr>
        <p:spPr bwMode="gray">
          <a:xfrm>
            <a:off x="4613275" y="2800350"/>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4616ECE-8030-431E-AAF7-07ECDA70DBAE}" type="datetime'''''''''1'''''''''''''''''',''39''''''''''''''''''''''''4'">
              <a:rPr lang="ja-JP" altLang="en-US" sz="900" smtClean="0"/>
              <a:pPr/>
              <a:t>1,394</a:t>
            </a:fld>
            <a:endParaRPr lang="ja-JP" altLang="en-US" sz="900" dirty="0">
              <a:sym typeface="+mn-lt"/>
            </a:endParaRPr>
          </a:p>
        </p:txBody>
      </p:sp>
      <p:sp>
        <p:nvSpPr>
          <p:cNvPr id="227" name="テキスト プレースホルダ 9">
            <a:extLst>
              <a:ext uri="{FF2B5EF4-FFF2-40B4-BE49-F238E27FC236}">
                <a16:creationId xmlns:a16="http://schemas.microsoft.com/office/drawing/2014/main" id="{C2064F49-7FAC-449B-AD4E-4B173A747048}"/>
              </a:ext>
            </a:extLst>
          </p:cNvPr>
          <p:cNvSpPr>
            <a:spLocks noGrp="1"/>
          </p:cNvSpPr>
          <p:nvPr>
            <p:custDataLst>
              <p:tags r:id="rId82"/>
            </p:custDataLst>
          </p:nvPr>
        </p:nvSpPr>
        <p:spPr bwMode="gray">
          <a:xfrm>
            <a:off x="4953000" y="2789238"/>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06CD01C-F398-4E7B-BBCD-41A70065EDBA}" type="datetime'''1,4''''''''2''''''''''''''''''''''''1'''''''''''''">
              <a:rPr lang="ja-JP" altLang="en-US" sz="900" smtClean="0"/>
              <a:pPr/>
              <a:t>1,421</a:t>
            </a:fld>
            <a:endParaRPr lang="ja-JP" altLang="en-US" sz="900" dirty="0">
              <a:sym typeface="+mn-lt"/>
            </a:endParaRPr>
          </a:p>
        </p:txBody>
      </p:sp>
      <p:sp>
        <p:nvSpPr>
          <p:cNvPr id="228" name="テキスト プレースホルダ 9">
            <a:extLst>
              <a:ext uri="{FF2B5EF4-FFF2-40B4-BE49-F238E27FC236}">
                <a16:creationId xmlns:a16="http://schemas.microsoft.com/office/drawing/2014/main" id="{097B4530-DE51-4E59-A60F-A7FEA0144026}"/>
              </a:ext>
            </a:extLst>
          </p:cNvPr>
          <p:cNvSpPr>
            <a:spLocks noGrp="1"/>
          </p:cNvSpPr>
          <p:nvPr>
            <p:custDataLst>
              <p:tags r:id="rId83"/>
            </p:custDataLst>
          </p:nvPr>
        </p:nvSpPr>
        <p:spPr bwMode="gray">
          <a:xfrm>
            <a:off x="5292725" y="2782888"/>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30D3C2-44AC-4DAE-BEC9-4B181563197F}" type="datetime'''1,''''4''''''''''''''''3''''''''8'''''">
              <a:rPr lang="ja-JP" altLang="en-US" sz="900" smtClean="0"/>
              <a:pPr/>
              <a:t>1,438</a:t>
            </a:fld>
            <a:endParaRPr lang="ja-JP" altLang="en-US" sz="900" dirty="0">
              <a:sym typeface="+mn-lt"/>
            </a:endParaRPr>
          </a:p>
        </p:txBody>
      </p:sp>
      <p:sp>
        <p:nvSpPr>
          <p:cNvPr id="229" name="テキスト プレースホルダ 9">
            <a:extLst>
              <a:ext uri="{FF2B5EF4-FFF2-40B4-BE49-F238E27FC236}">
                <a16:creationId xmlns:a16="http://schemas.microsoft.com/office/drawing/2014/main" id="{84BFBDA4-3B62-4AAE-8C91-DAA72F6C20B7}"/>
              </a:ext>
            </a:extLst>
          </p:cNvPr>
          <p:cNvSpPr>
            <a:spLocks noGrp="1"/>
          </p:cNvSpPr>
          <p:nvPr>
            <p:custDataLst>
              <p:tags r:id="rId84"/>
            </p:custDataLst>
          </p:nvPr>
        </p:nvSpPr>
        <p:spPr bwMode="gray">
          <a:xfrm>
            <a:off x="5632450" y="2746375"/>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5E768F-8FC1-43A2-9926-BBB2C8FBCBB3}" type="datetime'''''''''''''1'''''''''''',''''''''''''''5''''''2''7'''">
              <a:rPr lang="ja-JP" altLang="en-US" sz="900" smtClean="0"/>
              <a:pPr/>
              <a:t>1,527</a:t>
            </a:fld>
            <a:endParaRPr lang="ja-JP" altLang="en-US" sz="900" dirty="0">
              <a:sym typeface="+mn-lt"/>
            </a:endParaRPr>
          </a:p>
        </p:txBody>
      </p:sp>
      <p:sp>
        <p:nvSpPr>
          <p:cNvPr id="230" name="テキスト プレースホルダ 9">
            <a:extLst>
              <a:ext uri="{FF2B5EF4-FFF2-40B4-BE49-F238E27FC236}">
                <a16:creationId xmlns:a16="http://schemas.microsoft.com/office/drawing/2014/main" id="{6E0449E0-6CA1-4172-B635-9311A8D519BF}"/>
              </a:ext>
            </a:extLst>
          </p:cNvPr>
          <p:cNvSpPr>
            <a:spLocks noGrp="1"/>
          </p:cNvSpPr>
          <p:nvPr>
            <p:custDataLst>
              <p:tags r:id="rId85"/>
            </p:custDataLst>
          </p:nvPr>
        </p:nvSpPr>
        <p:spPr bwMode="gray">
          <a:xfrm>
            <a:off x="5972175" y="2709863"/>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A83BA33-2CD3-473E-BE64-6872A0BD11B4}" type="datetime'''''''1'''''''''''''''''''',''''''6''''''1''''''''''''6'">
              <a:rPr lang="ja-JP" altLang="en-US" sz="900" smtClean="0"/>
              <a:pPr/>
              <a:t>1,616</a:t>
            </a:fld>
            <a:endParaRPr lang="ja-JP" altLang="en-US" sz="900" dirty="0">
              <a:sym typeface="+mn-lt"/>
            </a:endParaRPr>
          </a:p>
        </p:txBody>
      </p:sp>
      <p:sp>
        <p:nvSpPr>
          <p:cNvPr id="231" name="テキスト プレースホルダ 9">
            <a:extLst>
              <a:ext uri="{FF2B5EF4-FFF2-40B4-BE49-F238E27FC236}">
                <a16:creationId xmlns:a16="http://schemas.microsoft.com/office/drawing/2014/main" id="{06E5008C-C0F4-4260-8708-CF938B27678E}"/>
              </a:ext>
            </a:extLst>
          </p:cNvPr>
          <p:cNvSpPr>
            <a:spLocks noGrp="1"/>
          </p:cNvSpPr>
          <p:nvPr>
            <p:custDataLst>
              <p:tags r:id="rId86"/>
            </p:custDataLst>
          </p:nvPr>
        </p:nvSpPr>
        <p:spPr bwMode="gray">
          <a:xfrm>
            <a:off x="6311900" y="2693988"/>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84BC44-16B7-4FB8-AF90-B9215AFB3687}" type="datetime'''''''''''''''''''''''''1,''6''''''''5''''4'''''''''''''''''">
              <a:rPr lang="ja-JP" altLang="en-US" sz="900" smtClean="0"/>
              <a:pPr/>
              <a:t>1,654</a:t>
            </a:fld>
            <a:endParaRPr lang="ja-JP" altLang="en-US" sz="900" dirty="0">
              <a:sym typeface="+mn-lt"/>
            </a:endParaRPr>
          </a:p>
        </p:txBody>
      </p:sp>
      <p:sp>
        <p:nvSpPr>
          <p:cNvPr id="232" name="テキスト プレースホルダ 9">
            <a:extLst>
              <a:ext uri="{FF2B5EF4-FFF2-40B4-BE49-F238E27FC236}">
                <a16:creationId xmlns:a16="http://schemas.microsoft.com/office/drawing/2014/main" id="{EA0A8F87-8BF8-43A8-9953-EEB1D741EB44}"/>
              </a:ext>
            </a:extLst>
          </p:cNvPr>
          <p:cNvSpPr>
            <a:spLocks noGrp="1"/>
          </p:cNvSpPr>
          <p:nvPr>
            <p:custDataLst>
              <p:tags r:id="rId87"/>
            </p:custDataLst>
          </p:nvPr>
        </p:nvSpPr>
        <p:spPr bwMode="gray">
          <a:xfrm>
            <a:off x="6650038" y="2697163"/>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3447FBB-0267-4037-9AA0-B296DC6E68D3}" type="datetime'1'''''''''',''''6''''''''''''''''''4''''''''''6'''''''''''">
              <a:rPr lang="ja-JP" altLang="en-US" sz="900" smtClean="0"/>
              <a:pPr/>
              <a:t>1,646</a:t>
            </a:fld>
            <a:endParaRPr lang="ja-JP" altLang="en-US" sz="900" dirty="0">
              <a:sym typeface="+mn-lt"/>
            </a:endParaRPr>
          </a:p>
        </p:txBody>
      </p:sp>
      <p:sp>
        <p:nvSpPr>
          <p:cNvPr id="233" name="テキスト プレースホルダ 9">
            <a:extLst>
              <a:ext uri="{FF2B5EF4-FFF2-40B4-BE49-F238E27FC236}">
                <a16:creationId xmlns:a16="http://schemas.microsoft.com/office/drawing/2014/main" id="{8526BECD-DBBB-4B1A-AD44-A32BF510BE9F}"/>
              </a:ext>
            </a:extLst>
          </p:cNvPr>
          <p:cNvSpPr>
            <a:spLocks noGrp="1"/>
          </p:cNvSpPr>
          <p:nvPr>
            <p:custDataLst>
              <p:tags r:id="rId88"/>
            </p:custDataLst>
          </p:nvPr>
        </p:nvSpPr>
        <p:spPr bwMode="gray">
          <a:xfrm>
            <a:off x="6989763" y="2667000"/>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229B14-EA9B-4A18-9AFF-3DE317398DA3}" type="datetime'''''''1'''''''',''''''''''''''''''''''''''''''''''''''''7''23'">
              <a:rPr lang="ja-JP" altLang="en-US" sz="900" smtClean="0"/>
              <a:pPr/>
              <a:t>1,723</a:t>
            </a:fld>
            <a:endParaRPr lang="ja-JP" altLang="en-US" sz="900" dirty="0">
              <a:sym typeface="+mn-lt"/>
            </a:endParaRPr>
          </a:p>
        </p:txBody>
      </p:sp>
      <p:sp>
        <p:nvSpPr>
          <p:cNvPr id="234" name="テキスト プレースホルダ 9">
            <a:extLst>
              <a:ext uri="{FF2B5EF4-FFF2-40B4-BE49-F238E27FC236}">
                <a16:creationId xmlns:a16="http://schemas.microsoft.com/office/drawing/2014/main" id="{667F35C9-C1F6-4695-BB56-CC52BF400B31}"/>
              </a:ext>
            </a:extLst>
          </p:cNvPr>
          <p:cNvSpPr>
            <a:spLocks noGrp="1"/>
          </p:cNvSpPr>
          <p:nvPr>
            <p:custDataLst>
              <p:tags r:id="rId89"/>
            </p:custDataLst>
          </p:nvPr>
        </p:nvSpPr>
        <p:spPr bwMode="gray">
          <a:xfrm>
            <a:off x="7329488" y="2654300"/>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618DA9-6844-4B76-908A-11C18C18D5D2}" type="datetime'''''''''1'''''''',''''7''''5''''''''''''''''''3'''''''''''''">
              <a:rPr lang="ja-JP" altLang="en-US" sz="900" smtClean="0"/>
              <a:pPr/>
              <a:t>1,753</a:t>
            </a:fld>
            <a:endParaRPr lang="ja-JP" altLang="en-US" sz="900" dirty="0">
              <a:sym typeface="+mn-lt"/>
            </a:endParaRPr>
          </a:p>
        </p:txBody>
      </p:sp>
      <p:sp>
        <p:nvSpPr>
          <p:cNvPr id="179" name="テキスト プレースホルダ 9">
            <a:extLst>
              <a:ext uri="{FF2B5EF4-FFF2-40B4-BE49-F238E27FC236}">
                <a16:creationId xmlns:a16="http://schemas.microsoft.com/office/drawing/2014/main" id="{903FDF42-0BDE-4752-896A-76C1D446F635}"/>
              </a:ext>
            </a:extLst>
          </p:cNvPr>
          <p:cNvSpPr>
            <a:spLocks noGrp="1"/>
          </p:cNvSpPr>
          <p:nvPr>
            <p:custDataLst>
              <p:tags r:id="rId90"/>
            </p:custDataLst>
          </p:nvPr>
        </p:nvSpPr>
        <p:spPr bwMode="gray">
          <a:xfrm>
            <a:off x="7669213" y="2633663"/>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800D14-DF07-42C8-B4E4-CC9369DAC21D}" type="datetime'''''1'''''''''''''''''',''''8''''''''''''0''1'">
              <a:rPr lang="ja-JP" altLang="en-US" sz="900" smtClean="0"/>
              <a:pPr/>
              <a:t>1,801</a:t>
            </a:fld>
            <a:endParaRPr lang="ja-JP" altLang="en-US" sz="900" dirty="0">
              <a:sym typeface="+mn-lt"/>
            </a:endParaRPr>
          </a:p>
        </p:txBody>
      </p:sp>
      <p:sp>
        <p:nvSpPr>
          <p:cNvPr id="7" name="Rectangle 6" hidden="1"/>
          <p:cNvSpPr/>
          <p:nvPr>
            <p:custDataLst>
              <p:tags r:id="rId91"/>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p:txBody>
          <a:bodyPr vert="horz"/>
          <a:lstStyle/>
          <a:p>
            <a:r>
              <a:rPr lang="ja-JP" altLang="en-US" dirty="0"/>
              <a:t>ブラジル／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848543" y="2011212"/>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43711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36" name="Chart 335">
            <a:extLst>
              <a:ext uri="{FF2B5EF4-FFF2-40B4-BE49-F238E27FC236}">
                <a16:creationId xmlns:a16="http://schemas.microsoft.com/office/drawing/2014/main" id="{890C932F-9CB7-4965-B5EA-642554CB1B5A}"/>
              </a:ext>
            </a:extLst>
          </p:cNvPr>
          <p:cNvGraphicFramePr/>
          <p:nvPr>
            <p:custDataLst>
              <p:tags r:id="rId92"/>
            </p:custDataLst>
            <p:extLst>
              <p:ext uri="{D42A27DB-BD31-4B8C-83A1-F6EECF244321}">
                <p14:modId xmlns:p14="http://schemas.microsoft.com/office/powerpoint/2010/main" val="3071552316"/>
              </p:ext>
            </p:extLst>
          </p:nvPr>
        </p:nvGraphicFramePr>
        <p:xfrm>
          <a:off x="633413" y="4510088"/>
          <a:ext cx="7462837" cy="1493837"/>
        </p:xfrm>
        <a:graphic>
          <a:graphicData uri="http://schemas.openxmlformats.org/drawingml/2006/chart">
            <c:chart xmlns:c="http://schemas.openxmlformats.org/drawingml/2006/chart" xmlns:r="http://schemas.openxmlformats.org/officeDocument/2006/relationships" r:id="rId190"/>
          </a:graphicData>
        </a:graphic>
      </p:graphicFrame>
      <p:sp>
        <p:nvSpPr>
          <p:cNvPr id="93" name="テキスト プレースホルダ 9"/>
          <p:cNvSpPr>
            <a:spLocks noGrp="1"/>
          </p:cNvSpPr>
          <p:nvPr>
            <p:custDataLst>
              <p:tags r:id="rId93"/>
            </p:custDataLst>
          </p:nvPr>
        </p:nvSpPr>
        <p:spPr bwMode="auto">
          <a:xfrm>
            <a:off x="2973388"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1000" dirty="0">
              <a:sym typeface="+mn-lt"/>
            </a:endParaRPr>
          </a:p>
        </p:txBody>
      </p:sp>
      <p:sp>
        <p:nvSpPr>
          <p:cNvPr id="280" name="テキスト プレースホルダ 9">
            <a:extLst>
              <a:ext uri="{FF2B5EF4-FFF2-40B4-BE49-F238E27FC236}">
                <a16:creationId xmlns:a16="http://schemas.microsoft.com/office/drawing/2014/main" id="{A18D8FEE-6E30-4D6B-B0FF-3E7AE6126714}"/>
              </a:ext>
            </a:extLst>
          </p:cNvPr>
          <p:cNvSpPr>
            <a:spLocks noGrp="1"/>
          </p:cNvSpPr>
          <p:nvPr>
            <p:custDataLst>
              <p:tags r:id="rId94"/>
            </p:custDataLst>
          </p:nvPr>
        </p:nvSpPr>
        <p:spPr bwMode="gray">
          <a:xfrm>
            <a:off x="1216025" y="56721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484C37-9D96-485D-9C59-A17D31FEC2BA}" type="datetime'''''''''''''2''''''''''''4''''3'''''''">
              <a:rPr lang="ja-JP" altLang="en-US" sz="1000" smtClean="0">
                <a:effectLst/>
              </a:rPr>
              <a:pPr/>
              <a:t>243</a:t>
            </a:fld>
            <a:endParaRPr lang="ja-JP" altLang="en-US" sz="1000" dirty="0">
              <a:sym typeface="+mn-lt"/>
            </a:endParaRPr>
          </a:p>
        </p:txBody>
      </p:sp>
      <p:sp>
        <p:nvSpPr>
          <p:cNvPr id="92" name="テキスト プレースホルダ 9"/>
          <p:cNvSpPr>
            <a:spLocks noGrp="1"/>
          </p:cNvSpPr>
          <p:nvPr>
            <p:custDataLst>
              <p:tags r:id="rId95"/>
            </p:custDataLst>
          </p:nvPr>
        </p:nvSpPr>
        <p:spPr bwMode="auto">
          <a:xfrm>
            <a:off x="2289175"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1000" dirty="0">
              <a:sym typeface="+mn-lt"/>
            </a:endParaRPr>
          </a:p>
        </p:txBody>
      </p:sp>
      <p:sp>
        <p:nvSpPr>
          <p:cNvPr id="317" name="テキスト プレースホルダ 9">
            <a:extLst>
              <a:ext uri="{FF2B5EF4-FFF2-40B4-BE49-F238E27FC236}">
                <a16:creationId xmlns:a16="http://schemas.microsoft.com/office/drawing/2014/main" id="{CBA89E9B-77BC-44B6-B453-90AE723A4177}"/>
              </a:ext>
            </a:extLst>
          </p:cNvPr>
          <p:cNvSpPr>
            <a:spLocks noGrp="1"/>
          </p:cNvSpPr>
          <p:nvPr>
            <p:custDataLst>
              <p:tags r:id="rId96"/>
            </p:custDataLst>
          </p:nvPr>
        </p:nvSpPr>
        <p:spPr bwMode="gray">
          <a:xfrm>
            <a:off x="7718425" y="50498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B9FA7A-20E7-4E9C-AACC-6977D020AE8D}" type="datetime'''''''''''''''''''''50''''''''''''6'''''''''''">
              <a:rPr lang="ja-JP" altLang="en-US" sz="1000" smtClean="0">
                <a:effectLst/>
                <a:sym typeface="+mn-lt"/>
              </a:rPr>
              <a:pPr/>
              <a:t>506</a:t>
            </a:fld>
            <a:endParaRPr lang="ja-JP" altLang="en-US" sz="1000" dirty="0">
              <a:sym typeface="+mn-lt"/>
            </a:endParaRPr>
          </a:p>
        </p:txBody>
      </p:sp>
      <p:sp>
        <p:nvSpPr>
          <p:cNvPr id="157" name="テキスト プレースホルダ 9"/>
          <p:cNvSpPr>
            <a:spLocks noGrp="1"/>
          </p:cNvSpPr>
          <p:nvPr>
            <p:custDataLst>
              <p:tags r:id="rId97"/>
            </p:custDataLst>
          </p:nvPr>
        </p:nvSpPr>
        <p:spPr bwMode="gray">
          <a:xfrm>
            <a:off x="1558925" y="5668963"/>
            <a:ext cx="24447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1BF2ED2-DCD3-48F0-8F80-FFAEEE9C4C35}" type="datetime'''''''''''''24''''''''''''''''6'''''''''''''''''">
              <a:rPr kumimoji="0" lang="ja-JP" altLang="en-US" sz="1000" smtClean="0">
                <a:effectLst/>
              </a:rPr>
              <a:pPr/>
              <a:t>246</a:t>
            </a:fld>
            <a:endParaRPr kumimoji="0" lang="ja-JP" altLang="en-US" sz="1000" dirty="0">
              <a:sym typeface="+mn-lt"/>
            </a:endParaRPr>
          </a:p>
        </p:txBody>
      </p:sp>
      <p:sp>
        <p:nvSpPr>
          <p:cNvPr id="281" name="テキスト プレースホルダ 9">
            <a:extLst>
              <a:ext uri="{FF2B5EF4-FFF2-40B4-BE49-F238E27FC236}">
                <a16:creationId xmlns:a16="http://schemas.microsoft.com/office/drawing/2014/main" id="{79C4793E-CFA2-4F51-BE0B-6A3E3CCE4068}"/>
              </a:ext>
            </a:extLst>
          </p:cNvPr>
          <p:cNvSpPr>
            <a:spLocks noGrp="1"/>
          </p:cNvSpPr>
          <p:nvPr>
            <p:custDataLst>
              <p:tags r:id="rId98"/>
            </p:custDataLst>
          </p:nvPr>
        </p:nvSpPr>
        <p:spPr bwMode="gray">
          <a:xfrm>
            <a:off x="2584450" y="52705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E3E675-FED3-4B60-92D3-72D0893C8245}" type="datetime'''''''''3''''4''''''''''''''''''''6'''''''''">
              <a:rPr lang="ja-JP" altLang="en-US" sz="1000" smtClean="0">
                <a:effectLst/>
              </a:rPr>
              <a:pPr/>
              <a:t>346</a:t>
            </a:fld>
            <a:endParaRPr lang="ja-JP" altLang="en-US" sz="1000" dirty="0">
              <a:sym typeface="+mn-lt"/>
            </a:endParaRPr>
          </a:p>
        </p:txBody>
      </p:sp>
      <p:sp>
        <p:nvSpPr>
          <p:cNvPr id="197" name="テキスト プレースホルダ 9"/>
          <p:cNvSpPr>
            <a:spLocks noGrp="1"/>
          </p:cNvSpPr>
          <p:nvPr>
            <p:custDataLst>
              <p:tags r:id="rId99"/>
            </p:custDataLst>
          </p:nvPr>
        </p:nvSpPr>
        <p:spPr bwMode="gray">
          <a:xfrm>
            <a:off x="3611563" y="48577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D5DF33-C551-4C0D-A6C8-D5D3A4A426E1}" type="datetime'''6''''''7''''''''''''''''''''''''1'''''''''''''">
              <a:rPr lang="ja-JP" altLang="en-US" sz="1000" smtClean="0"/>
              <a:pPr/>
              <a:t>671</a:t>
            </a:fld>
            <a:endParaRPr kumimoji="0" lang="ja-JP" altLang="en-US" sz="1000" dirty="0">
              <a:sym typeface="+mn-lt"/>
            </a:endParaRPr>
          </a:p>
        </p:txBody>
      </p:sp>
      <p:sp>
        <p:nvSpPr>
          <p:cNvPr id="195" name="テキスト プレースホルダ 9"/>
          <p:cNvSpPr>
            <a:spLocks noGrp="1"/>
          </p:cNvSpPr>
          <p:nvPr>
            <p:custDataLst>
              <p:tags r:id="rId100"/>
            </p:custDataLst>
          </p:nvPr>
        </p:nvSpPr>
        <p:spPr bwMode="gray">
          <a:xfrm>
            <a:off x="2927350" y="49387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30E52B-40C1-42BE-81B7-F0F2F963AF25}" type="datetime'''''''''''6''''''''''''''''0''''''''''''''''''''''''9'''''">
              <a:rPr lang="ja-JP" altLang="en-US" sz="1000" smtClean="0"/>
              <a:pPr/>
              <a:t>609</a:t>
            </a:fld>
            <a:endParaRPr kumimoji="0" lang="ja-JP" altLang="en-US" sz="1000" dirty="0">
              <a:sym typeface="+mn-lt"/>
            </a:endParaRPr>
          </a:p>
        </p:txBody>
      </p:sp>
      <p:sp>
        <p:nvSpPr>
          <p:cNvPr id="319" name="テキスト プレースホルダ 9">
            <a:extLst>
              <a:ext uri="{FF2B5EF4-FFF2-40B4-BE49-F238E27FC236}">
                <a16:creationId xmlns:a16="http://schemas.microsoft.com/office/drawing/2014/main" id="{89100947-F69A-4045-8F0F-A42FC834BCFF}"/>
              </a:ext>
            </a:extLst>
          </p:cNvPr>
          <p:cNvSpPr>
            <a:spLocks noGrp="1"/>
          </p:cNvSpPr>
          <p:nvPr>
            <p:custDataLst>
              <p:tags r:id="rId101"/>
            </p:custDataLst>
          </p:nvPr>
        </p:nvSpPr>
        <p:spPr bwMode="gray">
          <a:xfrm>
            <a:off x="2243138" y="52895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46B7AAA-6764-4F46-BA2E-08740EDD3E7C}" type="datetime'''3''''''3''''2'''''''''">
              <a:rPr lang="ja-JP" altLang="en-US" sz="1000" smtClean="0">
                <a:effectLst/>
                <a:sym typeface="+mn-lt"/>
              </a:rPr>
              <a:pPr marL="0" indent="0" algn="ctr">
                <a:spcBef>
                  <a:spcPct val="0"/>
                </a:spcBef>
                <a:buNone/>
              </a:pPr>
              <a:t>332</a:t>
            </a:fld>
            <a:endParaRPr lang="ja-JP" altLang="en-US" sz="1000" dirty="0">
              <a:sym typeface="+mn-lt"/>
            </a:endParaRPr>
          </a:p>
        </p:txBody>
      </p:sp>
      <p:sp>
        <p:nvSpPr>
          <p:cNvPr id="275" name="テキスト プレースホルダ 9">
            <a:extLst>
              <a:ext uri="{FF2B5EF4-FFF2-40B4-BE49-F238E27FC236}">
                <a16:creationId xmlns:a16="http://schemas.microsoft.com/office/drawing/2014/main" id="{C4B0AF5C-8593-4124-8332-08C56A7B7326}"/>
              </a:ext>
            </a:extLst>
          </p:cNvPr>
          <p:cNvSpPr>
            <a:spLocks noGrp="1"/>
          </p:cNvSpPr>
          <p:nvPr>
            <p:custDataLst>
              <p:tags r:id="rId102"/>
            </p:custDataLst>
          </p:nvPr>
        </p:nvSpPr>
        <p:spPr bwMode="gray">
          <a:xfrm>
            <a:off x="1216025" y="52943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30962B-CBE2-4C15-9EFB-93E88B11655E}" type="datetime'''''''''''''''''''''''''''''''3''''4''''''''0'''''''">
              <a:rPr lang="ja-JP" altLang="en-US" sz="1000" smtClean="0">
                <a:effectLst/>
              </a:rPr>
              <a:pPr/>
              <a:t>340</a:t>
            </a:fld>
            <a:endParaRPr lang="ja-JP" altLang="en-US" sz="1000" dirty="0">
              <a:sym typeface="+mn-lt"/>
            </a:endParaRPr>
          </a:p>
        </p:txBody>
      </p:sp>
      <p:sp>
        <p:nvSpPr>
          <p:cNvPr id="124" name="テキスト プレースホルダ 9"/>
          <p:cNvSpPr>
            <a:spLocks noGrp="1"/>
          </p:cNvSpPr>
          <p:nvPr>
            <p:custDataLst>
              <p:tags r:id="rId103"/>
            </p:custDataLst>
          </p:nvPr>
        </p:nvSpPr>
        <p:spPr bwMode="gray">
          <a:xfrm>
            <a:off x="1558925" y="49530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E226EA-E4D8-4931-AB76-76C2D9319EBE}" type="datetime'''''''''''''''''''5''''''''''9''''''''''''''''''''''''''''''8'">
              <a:rPr lang="ja-JP" altLang="en-US" sz="1000" smtClean="0"/>
              <a:pPr/>
              <a:t>598</a:t>
            </a:fld>
            <a:endParaRPr kumimoji="0" lang="ja-JP" altLang="en-US" sz="1000" dirty="0">
              <a:sym typeface="+mn-lt"/>
            </a:endParaRPr>
          </a:p>
        </p:txBody>
      </p:sp>
      <p:sp>
        <p:nvSpPr>
          <p:cNvPr id="310" name="テキスト プレースホルダ 9">
            <a:extLst>
              <a:ext uri="{FF2B5EF4-FFF2-40B4-BE49-F238E27FC236}">
                <a16:creationId xmlns:a16="http://schemas.microsoft.com/office/drawing/2014/main" id="{36D1BCEB-A9F9-4AF7-A335-C0B04711E097}"/>
              </a:ext>
            </a:extLst>
          </p:cNvPr>
          <p:cNvSpPr>
            <a:spLocks noGrp="1"/>
          </p:cNvSpPr>
          <p:nvPr>
            <p:custDataLst>
              <p:tags r:id="rId104"/>
            </p:custDataLst>
          </p:nvPr>
        </p:nvSpPr>
        <p:spPr bwMode="gray">
          <a:xfrm>
            <a:off x="7034213" y="50673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687832-5C47-4E1C-AA27-EB19D1BCC35F}" type="datetime'''4''''''''''''8''''''''''''''''''''''''3'''''''">
              <a:rPr lang="ja-JP" altLang="en-US" sz="1000" smtClean="0">
                <a:effectLst/>
              </a:rPr>
              <a:pPr/>
              <a:t>483</a:t>
            </a:fld>
            <a:endParaRPr lang="ja-JP" altLang="en-US" sz="1000" dirty="0">
              <a:sym typeface="+mn-lt"/>
            </a:endParaRPr>
          </a:p>
        </p:txBody>
      </p:sp>
      <p:sp>
        <p:nvSpPr>
          <p:cNvPr id="318" name="テキスト プレースホルダ 9">
            <a:extLst>
              <a:ext uri="{FF2B5EF4-FFF2-40B4-BE49-F238E27FC236}">
                <a16:creationId xmlns:a16="http://schemas.microsoft.com/office/drawing/2014/main" id="{6BD2BD06-864E-4504-9400-F451F74D4492}"/>
              </a:ext>
            </a:extLst>
          </p:cNvPr>
          <p:cNvSpPr>
            <a:spLocks noGrp="1"/>
          </p:cNvSpPr>
          <p:nvPr>
            <p:custDataLst>
              <p:tags r:id="rId105"/>
            </p:custDataLst>
          </p:nvPr>
        </p:nvSpPr>
        <p:spPr bwMode="gray">
          <a:xfrm>
            <a:off x="1900238" y="52578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1BA1E6-F71D-4A29-8CE7-2254571E1725}" type="datetime'''3''''''''''''''''''''''''''''''''''''''''''''''56'''''''''''">
              <a:rPr lang="ja-JP" altLang="en-US" sz="1000" smtClean="0">
                <a:effectLst/>
                <a:sym typeface="+mn-lt"/>
              </a:rPr>
              <a:pPr marL="0" indent="0" algn="ctr">
                <a:spcBef>
                  <a:spcPct val="0"/>
                </a:spcBef>
                <a:buNone/>
              </a:pPr>
              <a:t>356</a:t>
            </a:fld>
            <a:endParaRPr lang="ja-JP" altLang="en-US" sz="1000" dirty="0">
              <a:sym typeface="+mn-lt"/>
            </a:endParaRPr>
          </a:p>
        </p:txBody>
      </p:sp>
      <p:sp>
        <p:nvSpPr>
          <p:cNvPr id="290" name="テキスト プレースホルダ 9">
            <a:extLst>
              <a:ext uri="{FF2B5EF4-FFF2-40B4-BE49-F238E27FC236}">
                <a16:creationId xmlns:a16="http://schemas.microsoft.com/office/drawing/2014/main" id="{D1F37DA3-E059-4F02-B667-D37B6BE125A6}"/>
              </a:ext>
            </a:extLst>
          </p:cNvPr>
          <p:cNvSpPr>
            <a:spLocks noGrp="1"/>
          </p:cNvSpPr>
          <p:nvPr>
            <p:custDataLst>
              <p:tags r:id="rId106"/>
            </p:custDataLst>
          </p:nvPr>
        </p:nvSpPr>
        <p:spPr bwMode="gray">
          <a:xfrm>
            <a:off x="3954463" y="56356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1ABB97-B0A3-4C29-ADC9-C584F6FA4B85}" type="datetime'''''''''''''2''98'''''''''''''''''''''''''''''''''''''''''''''">
              <a:rPr lang="ja-JP" altLang="en-US" sz="1000" smtClean="0">
                <a:effectLst/>
              </a:rPr>
              <a:pPr/>
              <a:t>298</a:t>
            </a:fld>
            <a:endParaRPr lang="ja-JP" altLang="en-US" sz="1000" dirty="0">
              <a:sym typeface="+mn-lt"/>
            </a:endParaRPr>
          </a:p>
        </p:txBody>
      </p:sp>
      <p:sp>
        <p:nvSpPr>
          <p:cNvPr id="286" name="テキスト プレースホルダ 9">
            <a:extLst>
              <a:ext uri="{FF2B5EF4-FFF2-40B4-BE49-F238E27FC236}">
                <a16:creationId xmlns:a16="http://schemas.microsoft.com/office/drawing/2014/main" id="{C8ACF13F-3B4C-418D-8CEB-AD8DFFDAAB07}"/>
              </a:ext>
            </a:extLst>
          </p:cNvPr>
          <p:cNvSpPr>
            <a:spLocks noGrp="1"/>
          </p:cNvSpPr>
          <p:nvPr>
            <p:custDataLst>
              <p:tags r:id="rId107"/>
            </p:custDataLst>
          </p:nvPr>
        </p:nvSpPr>
        <p:spPr bwMode="gray">
          <a:xfrm>
            <a:off x="3270250" y="56499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2AD30F-2FAF-4FD8-9E55-39347B2AEB03}" type="datetime'''2''''''''''''''7''''''''''''''''''6'''''''">
              <a:rPr lang="ja-JP" altLang="en-US" sz="1000" smtClean="0">
                <a:effectLst/>
              </a:rPr>
              <a:pPr/>
              <a:t>276</a:t>
            </a:fld>
            <a:endParaRPr lang="ja-JP" altLang="en-US" sz="1000" dirty="0">
              <a:sym typeface="+mn-lt"/>
            </a:endParaRPr>
          </a:p>
        </p:txBody>
      </p:sp>
      <p:sp>
        <p:nvSpPr>
          <p:cNvPr id="90" name="テキスト プレースホルダ 9"/>
          <p:cNvSpPr>
            <a:spLocks noGrp="1"/>
          </p:cNvSpPr>
          <p:nvPr>
            <p:custDataLst>
              <p:tags r:id="rId108"/>
            </p:custDataLst>
          </p:nvPr>
        </p:nvSpPr>
        <p:spPr bwMode="auto">
          <a:xfrm>
            <a:off x="1192213" y="5991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1000" dirty="0">
              <a:sym typeface="+mn-lt"/>
            </a:endParaRPr>
          </a:p>
        </p:txBody>
      </p:sp>
      <p:sp>
        <p:nvSpPr>
          <p:cNvPr id="261" name="テキスト プレースホルダ 9">
            <a:extLst>
              <a:ext uri="{FF2B5EF4-FFF2-40B4-BE49-F238E27FC236}">
                <a16:creationId xmlns:a16="http://schemas.microsoft.com/office/drawing/2014/main" id="{CA1A3904-7DA3-4E5C-B3DB-F11870DDAA61}"/>
              </a:ext>
            </a:extLst>
          </p:cNvPr>
          <p:cNvSpPr>
            <a:spLocks noGrp="1"/>
          </p:cNvSpPr>
          <p:nvPr>
            <p:custDataLst>
              <p:tags r:id="rId109"/>
            </p:custDataLst>
          </p:nvPr>
        </p:nvSpPr>
        <p:spPr bwMode="auto">
          <a:xfrm>
            <a:off x="6738938"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215CFE-3331-4ABE-9661-7990A0B329C0}" type="datetime'''1''''''''''''''''''''''''''''''''''''''''6'''''''''''''''''">
              <a:rPr kumimoji="0" lang="ja-JP" altLang="en-US" sz="1000" smtClean="0"/>
              <a:pPr/>
              <a:t>16</a:t>
            </a:fld>
            <a:endParaRPr kumimoji="0" lang="ja-JP" altLang="en-US" sz="1000" dirty="0">
              <a:sym typeface="+mn-lt"/>
            </a:endParaRPr>
          </a:p>
        </p:txBody>
      </p:sp>
      <p:sp>
        <p:nvSpPr>
          <p:cNvPr id="160" name="テキスト プレースホルダ 9"/>
          <p:cNvSpPr>
            <a:spLocks noGrp="1"/>
          </p:cNvSpPr>
          <p:nvPr>
            <p:custDataLst>
              <p:tags r:id="rId110"/>
            </p:custDataLst>
          </p:nvPr>
        </p:nvSpPr>
        <p:spPr bwMode="gray">
          <a:xfrm>
            <a:off x="1900238" y="5659438"/>
            <a:ext cx="24447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CCEB32-33D3-4F06-9BC7-AA11FCF7F713}" type="datetime'''''''''''''''''''''''''''2''''62'''''''">
              <a:rPr kumimoji="0" lang="ja-JP" altLang="en-US" sz="1000" smtClean="0">
                <a:effectLst/>
              </a:rPr>
              <a:pPr/>
              <a:t>262</a:t>
            </a:fld>
            <a:endParaRPr kumimoji="0" lang="ja-JP" altLang="en-US" sz="1000" dirty="0">
              <a:sym typeface="+mn-lt"/>
            </a:endParaRPr>
          </a:p>
        </p:txBody>
      </p:sp>
      <p:sp>
        <p:nvSpPr>
          <p:cNvPr id="95" name="テキスト プレースホルダ 9"/>
          <p:cNvSpPr>
            <a:spLocks noGrp="1"/>
          </p:cNvSpPr>
          <p:nvPr>
            <p:custDataLst>
              <p:tags r:id="rId111"/>
            </p:custDataLst>
          </p:nvPr>
        </p:nvSpPr>
        <p:spPr bwMode="auto">
          <a:xfrm>
            <a:off x="4000500"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1000" dirty="0">
              <a:sym typeface="+mn-lt"/>
            </a:endParaRPr>
          </a:p>
        </p:txBody>
      </p:sp>
      <p:sp>
        <p:nvSpPr>
          <p:cNvPr id="89" name="テキスト プレースホルダ 9"/>
          <p:cNvSpPr>
            <a:spLocks noGrp="1"/>
          </p:cNvSpPr>
          <p:nvPr>
            <p:custDataLst>
              <p:tags r:id="rId112"/>
            </p:custDataLst>
          </p:nvPr>
        </p:nvSpPr>
        <p:spPr bwMode="auto">
          <a:xfrm>
            <a:off x="1604963"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1000" dirty="0">
              <a:sym typeface="+mn-lt"/>
            </a:endParaRPr>
          </a:p>
        </p:txBody>
      </p:sp>
      <p:sp>
        <p:nvSpPr>
          <p:cNvPr id="91" name="テキスト プレースホルダ 9"/>
          <p:cNvSpPr>
            <a:spLocks noGrp="1"/>
          </p:cNvSpPr>
          <p:nvPr>
            <p:custDataLst>
              <p:tags r:id="rId113"/>
            </p:custDataLst>
          </p:nvPr>
        </p:nvSpPr>
        <p:spPr bwMode="auto">
          <a:xfrm>
            <a:off x="1946275"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1000" dirty="0">
              <a:sym typeface="+mn-lt"/>
            </a:endParaRPr>
          </a:p>
        </p:txBody>
      </p:sp>
      <p:sp>
        <p:nvSpPr>
          <p:cNvPr id="163" name="テキスト プレースホルダ 9"/>
          <p:cNvSpPr>
            <a:spLocks noGrp="1"/>
          </p:cNvSpPr>
          <p:nvPr>
            <p:custDataLst>
              <p:tags r:id="rId114"/>
            </p:custDataLst>
          </p:nvPr>
        </p:nvSpPr>
        <p:spPr bwMode="gray">
          <a:xfrm>
            <a:off x="2243138" y="5667375"/>
            <a:ext cx="24447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EA3BBE-D1CF-44F4-AC8B-52E3D9F29A1E}" type="datetime'2''4''''''''''''''''''''''''''''''9'''''''''''''''''''''">
              <a:rPr kumimoji="0" lang="ja-JP" altLang="en-US" sz="1000" smtClean="0">
                <a:effectLst/>
              </a:rPr>
              <a:pPr/>
              <a:t>249</a:t>
            </a:fld>
            <a:endParaRPr kumimoji="0" lang="ja-JP" altLang="en-US" sz="1000" dirty="0">
              <a:sym typeface="+mn-lt"/>
            </a:endParaRPr>
          </a:p>
        </p:txBody>
      </p:sp>
      <p:sp>
        <p:nvSpPr>
          <p:cNvPr id="282" name="テキスト プレースホルダ 9">
            <a:extLst>
              <a:ext uri="{FF2B5EF4-FFF2-40B4-BE49-F238E27FC236}">
                <a16:creationId xmlns:a16="http://schemas.microsoft.com/office/drawing/2014/main" id="{1913C879-5039-46C0-91AA-D7B1CFC3623D}"/>
              </a:ext>
            </a:extLst>
          </p:cNvPr>
          <p:cNvSpPr>
            <a:spLocks noGrp="1"/>
          </p:cNvSpPr>
          <p:nvPr>
            <p:custDataLst>
              <p:tags r:id="rId115"/>
            </p:custDataLst>
          </p:nvPr>
        </p:nvSpPr>
        <p:spPr bwMode="gray">
          <a:xfrm>
            <a:off x="2584450" y="56626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6EB64C-14AF-4642-AABF-F3AD998DEBCA}" type="datetime'''''''''2''5''''''''''''''''''''''''''''''''''''''''''7'">
              <a:rPr kumimoji="0" lang="ja-JP" altLang="en-US" sz="1000" smtClean="0">
                <a:effectLst/>
              </a:rPr>
              <a:pPr/>
              <a:t>257</a:t>
            </a:fld>
            <a:endParaRPr kumimoji="0" lang="ja-JP" altLang="en-US" sz="1000" dirty="0">
              <a:sym typeface="+mn-lt"/>
            </a:endParaRPr>
          </a:p>
        </p:txBody>
      </p:sp>
      <p:sp>
        <p:nvSpPr>
          <p:cNvPr id="85" name="テキスト プレースホルダ 9"/>
          <p:cNvSpPr>
            <a:spLocks noGrp="1"/>
          </p:cNvSpPr>
          <p:nvPr>
            <p:custDataLst>
              <p:tags r:id="rId116"/>
            </p:custDataLst>
          </p:nvPr>
        </p:nvSpPr>
        <p:spPr bwMode="auto">
          <a:xfrm>
            <a:off x="2630488"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1000" dirty="0">
              <a:sym typeface="+mn-lt"/>
            </a:endParaRPr>
          </a:p>
        </p:txBody>
      </p:sp>
      <p:sp>
        <p:nvSpPr>
          <p:cNvPr id="305" name="テキスト プレースホルダ 9">
            <a:extLst>
              <a:ext uri="{FF2B5EF4-FFF2-40B4-BE49-F238E27FC236}">
                <a16:creationId xmlns:a16="http://schemas.microsoft.com/office/drawing/2014/main" id="{8D3E72EA-8384-4EAC-9521-009128D1BF64}"/>
              </a:ext>
            </a:extLst>
          </p:cNvPr>
          <p:cNvSpPr>
            <a:spLocks noGrp="1"/>
          </p:cNvSpPr>
          <p:nvPr>
            <p:custDataLst>
              <p:tags r:id="rId117"/>
            </p:custDataLst>
          </p:nvPr>
        </p:nvSpPr>
        <p:spPr bwMode="gray">
          <a:xfrm>
            <a:off x="6007100" y="56007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9F0B24-1C05-459F-B935-32AA977ACEA2}" type="datetime'''''''''''3''''''''''5''''''''''''''''''''''''''''''''''''''1'">
              <a:rPr lang="ja-JP" altLang="en-US" sz="1000" smtClean="0">
                <a:effectLst/>
              </a:rPr>
              <a:pPr/>
              <a:t>351</a:t>
            </a:fld>
            <a:endParaRPr lang="ja-JP" altLang="en-US" sz="1000" dirty="0">
              <a:sym typeface="+mn-lt"/>
            </a:endParaRPr>
          </a:p>
        </p:txBody>
      </p:sp>
      <p:sp>
        <p:nvSpPr>
          <p:cNvPr id="283" name="テキスト プレースホルダ 9">
            <a:extLst>
              <a:ext uri="{FF2B5EF4-FFF2-40B4-BE49-F238E27FC236}">
                <a16:creationId xmlns:a16="http://schemas.microsoft.com/office/drawing/2014/main" id="{DA734943-73C5-4DE0-B9F7-2641BFC76505}"/>
              </a:ext>
            </a:extLst>
          </p:cNvPr>
          <p:cNvSpPr>
            <a:spLocks noGrp="1"/>
          </p:cNvSpPr>
          <p:nvPr>
            <p:custDataLst>
              <p:tags r:id="rId118"/>
            </p:custDataLst>
          </p:nvPr>
        </p:nvSpPr>
        <p:spPr bwMode="gray">
          <a:xfrm>
            <a:off x="2927350" y="52705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806CE24-1D4D-49BA-987F-F897DCD88716}" type="datetime'3''''''''''''5''''''''''''''''''''''''''''5'''''''''''''''">
              <a:rPr lang="ja-JP" altLang="en-US" sz="1000" smtClean="0">
                <a:effectLst/>
              </a:rPr>
              <a:pPr/>
              <a:t>355</a:t>
            </a:fld>
            <a:endParaRPr lang="ja-JP" altLang="en-US" sz="1000" dirty="0">
              <a:sym typeface="+mn-lt"/>
            </a:endParaRPr>
          </a:p>
        </p:txBody>
      </p:sp>
      <p:sp>
        <p:nvSpPr>
          <p:cNvPr id="284" name="テキスト プレースホルダ 9">
            <a:extLst>
              <a:ext uri="{FF2B5EF4-FFF2-40B4-BE49-F238E27FC236}">
                <a16:creationId xmlns:a16="http://schemas.microsoft.com/office/drawing/2014/main" id="{98670258-389A-4B6D-BD15-69C08AB7CB90}"/>
              </a:ext>
            </a:extLst>
          </p:cNvPr>
          <p:cNvSpPr>
            <a:spLocks noGrp="1"/>
          </p:cNvSpPr>
          <p:nvPr>
            <p:custDataLst>
              <p:tags r:id="rId119"/>
            </p:custDataLst>
          </p:nvPr>
        </p:nvSpPr>
        <p:spPr bwMode="gray">
          <a:xfrm>
            <a:off x="2927350" y="56642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36DE36-9033-4134-B452-0E73F69D15BB}" type="datetime'''''''''''''''''''''''''''''2''''''''''''''5''''3'''''''''''''">
              <a:rPr lang="ja-JP" altLang="en-US" sz="1000" smtClean="0">
                <a:effectLst/>
              </a:rPr>
              <a:pPr/>
              <a:t>253</a:t>
            </a:fld>
            <a:endParaRPr lang="ja-JP" altLang="en-US" sz="1000" dirty="0">
              <a:sym typeface="+mn-lt"/>
            </a:endParaRPr>
          </a:p>
        </p:txBody>
      </p:sp>
      <p:sp>
        <p:nvSpPr>
          <p:cNvPr id="312" name="テキスト プレースホルダ 9">
            <a:extLst>
              <a:ext uri="{FF2B5EF4-FFF2-40B4-BE49-F238E27FC236}">
                <a16:creationId xmlns:a16="http://schemas.microsoft.com/office/drawing/2014/main" id="{460E8E96-8DED-490C-ACC3-CAEFC952EEBD}"/>
              </a:ext>
            </a:extLst>
          </p:cNvPr>
          <p:cNvSpPr>
            <a:spLocks noGrp="1"/>
          </p:cNvSpPr>
          <p:nvPr>
            <p:custDataLst>
              <p:tags r:id="rId120"/>
            </p:custDataLst>
          </p:nvPr>
        </p:nvSpPr>
        <p:spPr bwMode="gray">
          <a:xfrm>
            <a:off x="7377113" y="50641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D44CEF-C512-401A-8F57-A2A9526373D9}" type="datetime'''4''9''''''''''''''''''''''''3'''''''''''''''''''''''''''''">
              <a:rPr lang="ja-JP" altLang="en-US" sz="1000" smtClean="0">
                <a:effectLst/>
              </a:rPr>
              <a:pPr/>
              <a:t>493</a:t>
            </a:fld>
            <a:endParaRPr lang="ja-JP" altLang="en-US" sz="1000" dirty="0">
              <a:sym typeface="+mn-lt"/>
            </a:endParaRPr>
          </a:p>
        </p:txBody>
      </p:sp>
      <p:sp>
        <p:nvSpPr>
          <p:cNvPr id="304" name="テキスト プレースホルダ 9">
            <a:extLst>
              <a:ext uri="{FF2B5EF4-FFF2-40B4-BE49-F238E27FC236}">
                <a16:creationId xmlns:a16="http://schemas.microsoft.com/office/drawing/2014/main" id="{9236D637-40B9-4A41-B303-41B1207DCC06}"/>
              </a:ext>
            </a:extLst>
          </p:cNvPr>
          <p:cNvSpPr>
            <a:spLocks noGrp="1"/>
          </p:cNvSpPr>
          <p:nvPr>
            <p:custDataLst>
              <p:tags r:id="rId121"/>
            </p:custDataLst>
          </p:nvPr>
        </p:nvSpPr>
        <p:spPr bwMode="gray">
          <a:xfrm>
            <a:off x="6007100" y="50847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C361D7-2B72-4963-A529-F8EC18990394}" type="datetime'4''''''''''4''''''''''''''''''''''''''''''6'''''">
              <a:rPr lang="ja-JP" altLang="en-US" sz="1000" smtClean="0">
                <a:effectLst/>
              </a:rPr>
              <a:pPr/>
              <a:t>446</a:t>
            </a:fld>
            <a:endParaRPr lang="ja-JP" altLang="en-US" sz="1000" dirty="0">
              <a:sym typeface="+mn-lt"/>
            </a:endParaRPr>
          </a:p>
        </p:txBody>
      </p:sp>
      <p:sp>
        <p:nvSpPr>
          <p:cNvPr id="285" name="テキスト プレースホルダ 9">
            <a:extLst>
              <a:ext uri="{FF2B5EF4-FFF2-40B4-BE49-F238E27FC236}">
                <a16:creationId xmlns:a16="http://schemas.microsoft.com/office/drawing/2014/main" id="{ABA8CC51-E7CB-4C3D-B7A9-F95787B48764}"/>
              </a:ext>
            </a:extLst>
          </p:cNvPr>
          <p:cNvSpPr>
            <a:spLocks noGrp="1"/>
          </p:cNvSpPr>
          <p:nvPr>
            <p:custDataLst>
              <p:tags r:id="rId122"/>
            </p:custDataLst>
          </p:nvPr>
        </p:nvSpPr>
        <p:spPr bwMode="gray">
          <a:xfrm>
            <a:off x="3270250" y="52339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8D2417C-5181-4AA7-9F1A-AED8E50E402B}" type="datetime'''''''''''''''''''3''''''''''''''''''''6''''''''''''''''''7'">
              <a:rPr lang="ja-JP" altLang="en-US" sz="1000" smtClean="0">
                <a:effectLst/>
              </a:rPr>
              <a:pPr/>
              <a:t>367</a:t>
            </a:fld>
            <a:endParaRPr lang="ja-JP" altLang="en-US" sz="1000" dirty="0">
              <a:sym typeface="+mn-lt"/>
            </a:endParaRPr>
          </a:p>
        </p:txBody>
      </p:sp>
      <p:sp>
        <p:nvSpPr>
          <p:cNvPr id="86" name="テキスト プレースホルダ 9"/>
          <p:cNvSpPr>
            <a:spLocks noGrp="1"/>
          </p:cNvSpPr>
          <p:nvPr>
            <p:custDataLst>
              <p:tags r:id="rId123"/>
            </p:custDataLst>
          </p:nvPr>
        </p:nvSpPr>
        <p:spPr bwMode="auto">
          <a:xfrm>
            <a:off x="3316288"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1000" dirty="0">
              <a:sym typeface="+mn-lt"/>
            </a:endParaRPr>
          </a:p>
        </p:txBody>
      </p:sp>
      <p:sp>
        <p:nvSpPr>
          <p:cNvPr id="287" name="テキスト プレースホルダ 9">
            <a:extLst>
              <a:ext uri="{FF2B5EF4-FFF2-40B4-BE49-F238E27FC236}">
                <a16:creationId xmlns:a16="http://schemas.microsoft.com/office/drawing/2014/main" id="{85036AFE-1D31-4C03-A986-28E1B37DA263}"/>
              </a:ext>
            </a:extLst>
          </p:cNvPr>
          <p:cNvSpPr>
            <a:spLocks noGrp="1"/>
          </p:cNvSpPr>
          <p:nvPr>
            <p:custDataLst>
              <p:tags r:id="rId124"/>
            </p:custDataLst>
          </p:nvPr>
        </p:nvSpPr>
        <p:spPr bwMode="gray">
          <a:xfrm>
            <a:off x="3611563" y="52085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39F7D0-1624-4854-AACC-51F00F9EDC4A}" type="datetime'''3''''''''''''''''''''''''8''6'''''''''''">
              <a:rPr lang="ja-JP" altLang="en-US" sz="1000" smtClean="0">
                <a:effectLst/>
              </a:rPr>
              <a:pPr/>
              <a:t>386</a:t>
            </a:fld>
            <a:endParaRPr lang="ja-JP" altLang="en-US" sz="1000" dirty="0">
              <a:sym typeface="+mn-lt"/>
            </a:endParaRPr>
          </a:p>
        </p:txBody>
      </p:sp>
      <p:sp>
        <p:nvSpPr>
          <p:cNvPr id="123" name="テキスト プレースホルダ 9"/>
          <p:cNvSpPr>
            <a:spLocks noGrp="1"/>
          </p:cNvSpPr>
          <p:nvPr>
            <p:custDataLst>
              <p:tags r:id="rId125"/>
            </p:custDataLst>
          </p:nvPr>
        </p:nvSpPr>
        <p:spPr bwMode="gray">
          <a:xfrm>
            <a:off x="1216025" y="49720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CF9C1A-070F-4C34-A9F4-C61815D27BD1}" type="datetime'''''''''''''''58''''''''''''3'">
              <a:rPr lang="ja-JP" altLang="en-US" sz="1000" smtClean="0"/>
              <a:pPr/>
              <a:t>583</a:t>
            </a:fld>
            <a:endParaRPr kumimoji="0" lang="ja-JP" altLang="en-US" sz="1000" dirty="0">
              <a:sym typeface="+mn-lt"/>
            </a:endParaRPr>
          </a:p>
        </p:txBody>
      </p:sp>
      <p:sp>
        <p:nvSpPr>
          <p:cNvPr id="288" name="テキスト プレースホルダ 9">
            <a:extLst>
              <a:ext uri="{FF2B5EF4-FFF2-40B4-BE49-F238E27FC236}">
                <a16:creationId xmlns:a16="http://schemas.microsoft.com/office/drawing/2014/main" id="{0ADC24E2-4DFB-4450-8DF9-249661D64A67}"/>
              </a:ext>
            </a:extLst>
          </p:cNvPr>
          <p:cNvSpPr>
            <a:spLocks noGrp="1"/>
          </p:cNvSpPr>
          <p:nvPr>
            <p:custDataLst>
              <p:tags r:id="rId126"/>
            </p:custDataLst>
          </p:nvPr>
        </p:nvSpPr>
        <p:spPr bwMode="gray">
          <a:xfrm>
            <a:off x="3611563" y="56435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C1AFD7-ACC7-4B3F-A504-38BB5F11930A}" type="datetime'28''''''''5'''">
              <a:rPr lang="ja-JP" altLang="en-US" sz="1000" smtClean="0">
                <a:effectLst/>
              </a:rPr>
              <a:pPr/>
              <a:t>285</a:t>
            </a:fld>
            <a:endParaRPr lang="ja-JP" altLang="en-US" sz="1000" dirty="0">
              <a:sym typeface="+mn-lt"/>
            </a:endParaRPr>
          </a:p>
        </p:txBody>
      </p:sp>
      <p:sp>
        <p:nvSpPr>
          <p:cNvPr id="84" name="テキスト プレースホルダ 9"/>
          <p:cNvSpPr>
            <a:spLocks noGrp="1"/>
          </p:cNvSpPr>
          <p:nvPr>
            <p:custDataLst>
              <p:tags r:id="rId127"/>
            </p:custDataLst>
          </p:nvPr>
        </p:nvSpPr>
        <p:spPr bwMode="auto">
          <a:xfrm>
            <a:off x="3657600"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1000" dirty="0">
              <a:sym typeface="+mn-lt"/>
            </a:endParaRPr>
          </a:p>
        </p:txBody>
      </p:sp>
      <p:sp>
        <p:nvSpPr>
          <p:cNvPr id="294" name="テキスト プレースホルダ 9">
            <a:extLst>
              <a:ext uri="{FF2B5EF4-FFF2-40B4-BE49-F238E27FC236}">
                <a16:creationId xmlns:a16="http://schemas.microsoft.com/office/drawing/2014/main" id="{459E5670-E945-49CB-B3D7-88AF14FD4A00}"/>
              </a:ext>
            </a:extLst>
          </p:cNvPr>
          <p:cNvSpPr>
            <a:spLocks noGrp="1"/>
          </p:cNvSpPr>
          <p:nvPr>
            <p:custDataLst>
              <p:tags r:id="rId128"/>
            </p:custDataLst>
          </p:nvPr>
        </p:nvSpPr>
        <p:spPr bwMode="gray">
          <a:xfrm>
            <a:off x="4638675" y="56213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061C10B-1159-4193-ACBF-6F253E296956}" type="datetime'''''''3''''''''''''2''1'''''''">
              <a:rPr lang="ja-JP" altLang="en-US" sz="1000" smtClean="0">
                <a:effectLst/>
              </a:rPr>
              <a:pPr/>
              <a:t>321</a:t>
            </a:fld>
            <a:endParaRPr lang="ja-JP" altLang="en-US" sz="1000" dirty="0">
              <a:sym typeface="+mn-lt"/>
            </a:endParaRPr>
          </a:p>
        </p:txBody>
      </p:sp>
      <p:sp>
        <p:nvSpPr>
          <p:cNvPr id="289" name="テキスト プレースホルダ 9">
            <a:extLst>
              <a:ext uri="{FF2B5EF4-FFF2-40B4-BE49-F238E27FC236}">
                <a16:creationId xmlns:a16="http://schemas.microsoft.com/office/drawing/2014/main" id="{35674036-14CA-4419-A53C-2EC79F5C3845}"/>
              </a:ext>
            </a:extLst>
          </p:cNvPr>
          <p:cNvSpPr>
            <a:spLocks noGrp="1"/>
          </p:cNvSpPr>
          <p:nvPr>
            <p:custDataLst>
              <p:tags r:id="rId129"/>
            </p:custDataLst>
          </p:nvPr>
        </p:nvSpPr>
        <p:spPr bwMode="gray">
          <a:xfrm>
            <a:off x="3954463" y="51927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F6456E-CE79-45C9-A012-8101531DF250}" type="datetime'''''''''''''''''''''''38''''''3'''">
              <a:rPr lang="ja-JP" altLang="en-US" sz="1000" smtClean="0">
                <a:effectLst/>
              </a:rPr>
              <a:pPr/>
              <a:t>383</a:t>
            </a:fld>
            <a:endParaRPr lang="ja-JP" altLang="en-US" sz="1000" dirty="0">
              <a:sym typeface="+mn-lt"/>
            </a:endParaRPr>
          </a:p>
        </p:txBody>
      </p:sp>
      <p:sp>
        <p:nvSpPr>
          <p:cNvPr id="308" name="テキスト プレースホルダ 9">
            <a:extLst>
              <a:ext uri="{FF2B5EF4-FFF2-40B4-BE49-F238E27FC236}">
                <a16:creationId xmlns:a16="http://schemas.microsoft.com/office/drawing/2014/main" id="{AB6E448F-E92A-4047-9537-E6838BABC27D}"/>
              </a:ext>
            </a:extLst>
          </p:cNvPr>
          <p:cNvSpPr>
            <a:spLocks noGrp="1"/>
          </p:cNvSpPr>
          <p:nvPr>
            <p:custDataLst>
              <p:tags r:id="rId130"/>
            </p:custDataLst>
          </p:nvPr>
        </p:nvSpPr>
        <p:spPr bwMode="gray">
          <a:xfrm>
            <a:off x="6692900" y="50879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F0AFC7-2A11-4654-BB46-0D982E44EA84}" type="datetime'4''''''''5''''''''''''''''''''''''''''5'''''''''''''''''''''">
              <a:rPr lang="ja-JP" altLang="en-US" sz="1000" smtClean="0">
                <a:effectLst/>
              </a:rPr>
              <a:pPr/>
              <a:t>455</a:t>
            </a:fld>
            <a:endParaRPr lang="ja-JP" altLang="en-US" sz="1000" dirty="0">
              <a:sym typeface="+mn-lt"/>
            </a:endParaRPr>
          </a:p>
        </p:txBody>
      </p:sp>
      <p:sp>
        <p:nvSpPr>
          <p:cNvPr id="291" name="テキスト プレースホルダ 9">
            <a:extLst>
              <a:ext uri="{FF2B5EF4-FFF2-40B4-BE49-F238E27FC236}">
                <a16:creationId xmlns:a16="http://schemas.microsoft.com/office/drawing/2014/main" id="{324D6160-D9F5-4DD5-98CC-D625BD7064A7}"/>
              </a:ext>
            </a:extLst>
          </p:cNvPr>
          <p:cNvSpPr>
            <a:spLocks noGrp="1"/>
          </p:cNvSpPr>
          <p:nvPr>
            <p:custDataLst>
              <p:tags r:id="rId131"/>
            </p:custDataLst>
          </p:nvPr>
        </p:nvSpPr>
        <p:spPr bwMode="gray">
          <a:xfrm>
            <a:off x="4295775" y="51689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5DF2AB-A745-4263-839F-F8446BBD270B}" type="datetime'''3''9''''''''''''4'''''''''''''''''''''''''''''''">
              <a:rPr lang="ja-JP" altLang="en-US" sz="1000" smtClean="0">
                <a:effectLst/>
              </a:rPr>
              <a:pPr/>
              <a:t>394</a:t>
            </a:fld>
            <a:endParaRPr lang="ja-JP" altLang="en-US" sz="1000" dirty="0">
              <a:sym typeface="+mn-lt"/>
            </a:endParaRPr>
          </a:p>
        </p:txBody>
      </p:sp>
      <p:sp>
        <p:nvSpPr>
          <p:cNvPr id="292" name="テキスト プレースホルダ 9">
            <a:extLst>
              <a:ext uri="{FF2B5EF4-FFF2-40B4-BE49-F238E27FC236}">
                <a16:creationId xmlns:a16="http://schemas.microsoft.com/office/drawing/2014/main" id="{2077C002-A055-4FE8-BC10-BCDCAE2C9A08}"/>
              </a:ext>
            </a:extLst>
          </p:cNvPr>
          <p:cNvSpPr>
            <a:spLocks noGrp="1"/>
          </p:cNvSpPr>
          <p:nvPr>
            <p:custDataLst>
              <p:tags r:id="rId132"/>
            </p:custDataLst>
          </p:nvPr>
        </p:nvSpPr>
        <p:spPr bwMode="gray">
          <a:xfrm>
            <a:off x="4295775" y="56261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F9117F-3963-46A8-A348-E8B63AA93CC9}" type="datetime'''''''''''''3''''''''''''''''''''1''''''''''''''''''''''''''2'">
              <a:rPr lang="ja-JP" altLang="en-US" sz="1000" smtClean="0">
                <a:effectLst/>
              </a:rPr>
              <a:pPr/>
              <a:t>312</a:t>
            </a:fld>
            <a:endParaRPr lang="ja-JP" altLang="en-US" sz="1000" dirty="0">
              <a:sym typeface="+mn-lt"/>
            </a:endParaRPr>
          </a:p>
        </p:txBody>
      </p:sp>
      <p:sp>
        <p:nvSpPr>
          <p:cNvPr id="96" name="テキスト プレースホルダ 9"/>
          <p:cNvSpPr>
            <a:spLocks noGrp="1"/>
          </p:cNvSpPr>
          <p:nvPr>
            <p:custDataLst>
              <p:tags r:id="rId133"/>
            </p:custDataLst>
          </p:nvPr>
        </p:nvSpPr>
        <p:spPr bwMode="auto">
          <a:xfrm>
            <a:off x="4341813"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1000" dirty="0">
              <a:sym typeface="+mn-lt"/>
            </a:endParaRPr>
          </a:p>
        </p:txBody>
      </p:sp>
      <p:sp>
        <p:nvSpPr>
          <p:cNvPr id="263" name="テキスト プレースホルダ 9">
            <a:extLst>
              <a:ext uri="{FF2B5EF4-FFF2-40B4-BE49-F238E27FC236}">
                <a16:creationId xmlns:a16="http://schemas.microsoft.com/office/drawing/2014/main" id="{A71AF147-B2BD-40DC-9631-344431936B26}"/>
              </a:ext>
            </a:extLst>
          </p:cNvPr>
          <p:cNvSpPr>
            <a:spLocks noGrp="1"/>
          </p:cNvSpPr>
          <p:nvPr>
            <p:custDataLst>
              <p:tags r:id="rId134"/>
            </p:custDataLst>
          </p:nvPr>
        </p:nvSpPr>
        <p:spPr bwMode="auto">
          <a:xfrm>
            <a:off x="7423150"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C326CC-FAF6-4B81-A2E6-4E0C77B30793}" type="datetime'''''''''''''''''''''1''''''''''''''''8'''''''''''''">
              <a:rPr kumimoji="0" lang="ja-JP" altLang="en-US" sz="1000" smtClean="0"/>
              <a:pPr/>
              <a:t>18</a:t>
            </a:fld>
            <a:endParaRPr kumimoji="0" lang="ja-JP" altLang="en-US" sz="1000" dirty="0">
              <a:sym typeface="+mn-lt"/>
            </a:endParaRPr>
          </a:p>
        </p:txBody>
      </p:sp>
      <p:sp>
        <p:nvSpPr>
          <p:cNvPr id="306" name="テキスト プレースホルダ 9">
            <a:extLst>
              <a:ext uri="{FF2B5EF4-FFF2-40B4-BE49-F238E27FC236}">
                <a16:creationId xmlns:a16="http://schemas.microsoft.com/office/drawing/2014/main" id="{6905B7E2-975D-4E7F-ABE8-5A1FF7D8211A}"/>
              </a:ext>
            </a:extLst>
          </p:cNvPr>
          <p:cNvSpPr>
            <a:spLocks noGrp="1"/>
          </p:cNvSpPr>
          <p:nvPr>
            <p:custDataLst>
              <p:tags r:id="rId135"/>
            </p:custDataLst>
          </p:nvPr>
        </p:nvSpPr>
        <p:spPr bwMode="gray">
          <a:xfrm>
            <a:off x="6350000" y="50768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F48F9D-D6F6-42D4-8FB0-61DE843AC1AD}" type="datetime'''''4''''''''''''''''''5''''''''''''''''''''''''''''9'">
              <a:rPr lang="ja-JP" altLang="en-US" sz="1000" smtClean="0">
                <a:effectLst/>
              </a:rPr>
              <a:pPr/>
              <a:t>459</a:t>
            </a:fld>
            <a:endParaRPr lang="ja-JP" altLang="en-US" sz="1000" dirty="0">
              <a:sym typeface="+mn-lt"/>
            </a:endParaRPr>
          </a:p>
        </p:txBody>
      </p:sp>
      <p:sp>
        <p:nvSpPr>
          <p:cNvPr id="202" name="テキスト プレースホルダ 9"/>
          <p:cNvSpPr>
            <a:spLocks noGrp="1"/>
          </p:cNvSpPr>
          <p:nvPr>
            <p:custDataLst>
              <p:tags r:id="rId136"/>
            </p:custDataLst>
          </p:nvPr>
        </p:nvSpPr>
        <p:spPr bwMode="gray">
          <a:xfrm>
            <a:off x="5322888" y="47910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AA4738-72DA-4C17-B804-AF0806E823C9}" type="datetime'''''7''''''''''''''''''''2''''2'''''''''''''''''">
              <a:rPr lang="ja-JP" altLang="en-US" sz="1000" smtClean="0"/>
              <a:pPr/>
              <a:t>722</a:t>
            </a:fld>
            <a:endParaRPr kumimoji="0" lang="ja-JP" altLang="en-US" sz="1000" dirty="0">
              <a:sym typeface="+mn-lt"/>
            </a:endParaRPr>
          </a:p>
        </p:txBody>
      </p:sp>
      <p:sp>
        <p:nvSpPr>
          <p:cNvPr id="293" name="テキスト プレースホルダ 9">
            <a:extLst>
              <a:ext uri="{FF2B5EF4-FFF2-40B4-BE49-F238E27FC236}">
                <a16:creationId xmlns:a16="http://schemas.microsoft.com/office/drawing/2014/main" id="{D2495BB3-98BE-4AD8-878C-835291973122}"/>
              </a:ext>
            </a:extLst>
          </p:cNvPr>
          <p:cNvSpPr>
            <a:spLocks noGrp="1"/>
          </p:cNvSpPr>
          <p:nvPr>
            <p:custDataLst>
              <p:tags r:id="rId137"/>
            </p:custDataLst>
          </p:nvPr>
        </p:nvSpPr>
        <p:spPr bwMode="gray">
          <a:xfrm>
            <a:off x="4638675" y="51593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5E4CAEE-9DE3-495F-95C3-95CE5513202E}" type="datetime'''3''''''9''''2'''''''''''''''''''''''">
              <a:rPr lang="ja-JP" altLang="en-US" sz="1000" smtClean="0">
                <a:effectLst/>
              </a:rPr>
              <a:pPr/>
              <a:t>392</a:t>
            </a:fld>
            <a:endParaRPr lang="ja-JP" altLang="en-US" sz="1000" dirty="0">
              <a:sym typeface="+mn-lt"/>
            </a:endParaRPr>
          </a:p>
        </p:txBody>
      </p:sp>
      <p:sp>
        <p:nvSpPr>
          <p:cNvPr id="97" name="テキスト プレースホルダ 9"/>
          <p:cNvSpPr>
            <a:spLocks noGrp="1"/>
          </p:cNvSpPr>
          <p:nvPr>
            <p:custDataLst>
              <p:tags r:id="rId138"/>
            </p:custDataLst>
          </p:nvPr>
        </p:nvSpPr>
        <p:spPr bwMode="auto">
          <a:xfrm>
            <a:off x="4684713"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1000" dirty="0">
              <a:sym typeface="+mn-lt"/>
            </a:endParaRPr>
          </a:p>
        </p:txBody>
      </p:sp>
      <p:sp>
        <p:nvSpPr>
          <p:cNvPr id="309" name="テキスト プレースホルダ 9">
            <a:extLst>
              <a:ext uri="{FF2B5EF4-FFF2-40B4-BE49-F238E27FC236}">
                <a16:creationId xmlns:a16="http://schemas.microsoft.com/office/drawing/2014/main" id="{2554D5AB-26D5-48EE-AB1F-13A0C2079C3A}"/>
              </a:ext>
            </a:extLst>
          </p:cNvPr>
          <p:cNvSpPr>
            <a:spLocks noGrp="1"/>
          </p:cNvSpPr>
          <p:nvPr>
            <p:custDataLst>
              <p:tags r:id="rId139"/>
            </p:custDataLst>
          </p:nvPr>
        </p:nvSpPr>
        <p:spPr bwMode="gray">
          <a:xfrm>
            <a:off x="6692900" y="56054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D0B2F7-0340-4187-B69F-DA862F3EBA8D}" type="datetime'''''''''''''3''''''''''''''''''''44'''">
              <a:rPr lang="ja-JP" altLang="en-US" sz="1000" smtClean="0">
                <a:effectLst/>
                <a:sym typeface="+mn-lt"/>
              </a:rPr>
              <a:pPr marL="0" indent="0" algn="ctr">
                <a:spcBef>
                  <a:spcPct val="0"/>
                </a:spcBef>
                <a:buNone/>
              </a:pPr>
              <a:t>344</a:t>
            </a:fld>
            <a:endParaRPr lang="ja-JP" altLang="en-US" sz="1000" dirty="0">
              <a:sym typeface="+mn-lt"/>
            </a:endParaRPr>
          </a:p>
        </p:txBody>
      </p:sp>
      <p:sp>
        <p:nvSpPr>
          <p:cNvPr id="299" name="テキスト プレースホルダ 9">
            <a:extLst>
              <a:ext uri="{FF2B5EF4-FFF2-40B4-BE49-F238E27FC236}">
                <a16:creationId xmlns:a16="http://schemas.microsoft.com/office/drawing/2014/main" id="{C00FAEC8-5AEE-497C-B904-B940B0469929}"/>
              </a:ext>
            </a:extLst>
          </p:cNvPr>
          <p:cNvSpPr>
            <a:spLocks noGrp="1"/>
          </p:cNvSpPr>
          <p:nvPr>
            <p:custDataLst>
              <p:tags r:id="rId140"/>
            </p:custDataLst>
          </p:nvPr>
        </p:nvSpPr>
        <p:spPr bwMode="gray">
          <a:xfrm>
            <a:off x="4981575" y="56213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DBEA66-5D5E-4374-8537-8765DCA11494}" type="datetime'3''''2''''''''''''''''''''''0'">
              <a:rPr lang="ja-JP" altLang="en-US" sz="1000" smtClean="0">
                <a:effectLst/>
              </a:rPr>
              <a:pPr/>
              <a:t>320</a:t>
            </a:fld>
            <a:endParaRPr lang="ja-JP" altLang="en-US" sz="1000" dirty="0">
              <a:sym typeface="+mn-lt"/>
            </a:endParaRPr>
          </a:p>
        </p:txBody>
      </p:sp>
      <p:sp>
        <p:nvSpPr>
          <p:cNvPr id="295" name="テキスト プレースホルダ 9">
            <a:extLst>
              <a:ext uri="{FF2B5EF4-FFF2-40B4-BE49-F238E27FC236}">
                <a16:creationId xmlns:a16="http://schemas.microsoft.com/office/drawing/2014/main" id="{5E947C6F-4A22-46CB-BC6A-9A3C1851868A}"/>
              </a:ext>
            </a:extLst>
          </p:cNvPr>
          <p:cNvSpPr>
            <a:spLocks noGrp="1"/>
          </p:cNvSpPr>
          <p:nvPr>
            <p:custDataLst>
              <p:tags r:id="rId141"/>
            </p:custDataLst>
          </p:nvPr>
        </p:nvSpPr>
        <p:spPr bwMode="gray">
          <a:xfrm>
            <a:off x="4981575" y="51546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27EDDF-7BE7-4EFE-AE88-EF406ED0DA49}" type="datetime'''''''''''3''''''''9''''9'''''''''">
              <a:rPr lang="ja-JP" altLang="en-US" sz="1000" smtClean="0">
                <a:effectLst/>
              </a:rPr>
              <a:pPr/>
              <a:t>399</a:t>
            </a:fld>
            <a:endParaRPr lang="ja-JP" altLang="en-US" sz="1000" dirty="0">
              <a:sym typeface="+mn-lt"/>
            </a:endParaRPr>
          </a:p>
        </p:txBody>
      </p:sp>
      <p:sp>
        <p:nvSpPr>
          <p:cNvPr id="98" name="テキスト プレースホルダ 9"/>
          <p:cNvSpPr>
            <a:spLocks noGrp="1"/>
          </p:cNvSpPr>
          <p:nvPr>
            <p:custDataLst>
              <p:tags r:id="rId142"/>
            </p:custDataLst>
          </p:nvPr>
        </p:nvSpPr>
        <p:spPr bwMode="auto">
          <a:xfrm>
            <a:off x="5027613"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1000" dirty="0">
              <a:sym typeface="+mn-lt"/>
            </a:endParaRPr>
          </a:p>
        </p:txBody>
      </p:sp>
      <p:sp>
        <p:nvSpPr>
          <p:cNvPr id="300" name="テキスト プレースホルダ 9">
            <a:extLst>
              <a:ext uri="{FF2B5EF4-FFF2-40B4-BE49-F238E27FC236}">
                <a16:creationId xmlns:a16="http://schemas.microsoft.com/office/drawing/2014/main" id="{1024C094-9049-4ABA-8E67-D3265A914ACE}"/>
              </a:ext>
            </a:extLst>
          </p:cNvPr>
          <p:cNvSpPr>
            <a:spLocks noGrp="1"/>
          </p:cNvSpPr>
          <p:nvPr>
            <p:custDataLst>
              <p:tags r:id="rId143"/>
            </p:custDataLst>
          </p:nvPr>
        </p:nvSpPr>
        <p:spPr bwMode="gray">
          <a:xfrm>
            <a:off x="5322888" y="51577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B53BDD-740A-42B4-8ED8-D44B1DA98443}" type="datetime'''''''''''''4''''''''''0''''''9'''''''''''''''''''''''">
              <a:rPr lang="ja-JP" altLang="en-US" sz="1000" smtClean="0">
                <a:effectLst/>
              </a:rPr>
              <a:pPr/>
              <a:t>409</a:t>
            </a:fld>
            <a:endParaRPr lang="ja-JP" altLang="en-US" sz="1000" dirty="0">
              <a:sym typeface="+mn-lt"/>
            </a:endParaRPr>
          </a:p>
        </p:txBody>
      </p:sp>
      <p:sp>
        <p:nvSpPr>
          <p:cNvPr id="301" name="テキスト プレースホルダ 9">
            <a:extLst>
              <a:ext uri="{FF2B5EF4-FFF2-40B4-BE49-F238E27FC236}">
                <a16:creationId xmlns:a16="http://schemas.microsoft.com/office/drawing/2014/main" id="{46CB41CC-CED8-4A5B-B3B8-DFE9575AA923}"/>
              </a:ext>
            </a:extLst>
          </p:cNvPr>
          <p:cNvSpPr>
            <a:spLocks noGrp="1"/>
          </p:cNvSpPr>
          <p:nvPr>
            <p:custDataLst>
              <p:tags r:id="rId144"/>
            </p:custDataLst>
          </p:nvPr>
        </p:nvSpPr>
        <p:spPr bwMode="gray">
          <a:xfrm>
            <a:off x="5322888" y="56261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881347-427B-4A4F-B6C5-69E1ACA3AF25}" type="datetime'''''''''''''''''''''''''''''''''''''''''''''''''''''''3''''13'">
              <a:rPr lang="ja-JP" altLang="en-US" sz="1000" smtClean="0">
                <a:effectLst/>
              </a:rPr>
              <a:pPr/>
              <a:t>313</a:t>
            </a:fld>
            <a:endParaRPr lang="ja-JP" altLang="en-US" sz="1000" dirty="0">
              <a:sym typeface="+mn-lt"/>
            </a:endParaRPr>
          </a:p>
        </p:txBody>
      </p:sp>
      <p:sp>
        <p:nvSpPr>
          <p:cNvPr id="94" name="テキスト プレースホルダ 9"/>
          <p:cNvSpPr>
            <a:spLocks noGrp="1"/>
          </p:cNvSpPr>
          <p:nvPr>
            <p:custDataLst>
              <p:tags r:id="rId145"/>
            </p:custDataLst>
          </p:nvPr>
        </p:nvSpPr>
        <p:spPr bwMode="auto">
          <a:xfrm>
            <a:off x="5368925"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1000" dirty="0">
              <a:sym typeface="+mn-lt"/>
            </a:endParaRPr>
          </a:p>
        </p:txBody>
      </p:sp>
      <p:sp>
        <p:nvSpPr>
          <p:cNvPr id="302" name="テキスト プレースホルダ 9">
            <a:extLst>
              <a:ext uri="{FF2B5EF4-FFF2-40B4-BE49-F238E27FC236}">
                <a16:creationId xmlns:a16="http://schemas.microsoft.com/office/drawing/2014/main" id="{13816374-FC3C-480D-8320-C930A85917F1}"/>
              </a:ext>
            </a:extLst>
          </p:cNvPr>
          <p:cNvSpPr>
            <a:spLocks noGrp="1"/>
          </p:cNvSpPr>
          <p:nvPr>
            <p:custDataLst>
              <p:tags r:id="rId146"/>
            </p:custDataLst>
          </p:nvPr>
        </p:nvSpPr>
        <p:spPr bwMode="gray">
          <a:xfrm>
            <a:off x="5665788" y="51165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4A7377-1746-44D1-A11A-0BD365CCDA71}" type="datetime'4''''2''''''''''''''''''''''''2'">
              <a:rPr lang="ja-JP" altLang="en-US" sz="1000" smtClean="0">
                <a:effectLst/>
              </a:rPr>
              <a:pPr/>
              <a:t>422</a:t>
            </a:fld>
            <a:endParaRPr lang="ja-JP" altLang="en-US" sz="1000" dirty="0">
              <a:sym typeface="+mn-lt"/>
            </a:endParaRPr>
          </a:p>
        </p:txBody>
      </p:sp>
      <p:sp>
        <p:nvSpPr>
          <p:cNvPr id="303" name="テキスト プレースホルダ 9">
            <a:extLst>
              <a:ext uri="{FF2B5EF4-FFF2-40B4-BE49-F238E27FC236}">
                <a16:creationId xmlns:a16="http://schemas.microsoft.com/office/drawing/2014/main" id="{5F62C064-6F4C-4F8A-9B3A-F8245DB3168A}"/>
              </a:ext>
            </a:extLst>
          </p:cNvPr>
          <p:cNvSpPr>
            <a:spLocks noGrp="1"/>
          </p:cNvSpPr>
          <p:nvPr>
            <p:custDataLst>
              <p:tags r:id="rId147"/>
            </p:custDataLst>
          </p:nvPr>
        </p:nvSpPr>
        <p:spPr bwMode="gray">
          <a:xfrm>
            <a:off x="5665788" y="56102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5F99BB-E89F-4689-AA1B-D1F5ACE825AD}" type="datetime'''''''''''''''''3''''''''''''3''''''''''8'''''''''''''''''">
              <a:rPr lang="ja-JP" altLang="en-US" sz="1000" smtClean="0">
                <a:effectLst/>
              </a:rPr>
              <a:pPr/>
              <a:t>338</a:t>
            </a:fld>
            <a:endParaRPr lang="ja-JP" altLang="en-US" sz="1000" dirty="0">
              <a:sym typeface="+mn-lt"/>
            </a:endParaRPr>
          </a:p>
        </p:txBody>
      </p:sp>
      <p:sp>
        <p:nvSpPr>
          <p:cNvPr id="99" name="テキスト プレースホルダ 9"/>
          <p:cNvSpPr>
            <a:spLocks noGrp="1"/>
          </p:cNvSpPr>
          <p:nvPr>
            <p:custDataLst>
              <p:tags r:id="rId148"/>
            </p:custDataLst>
          </p:nvPr>
        </p:nvSpPr>
        <p:spPr bwMode="auto">
          <a:xfrm>
            <a:off x="6053138"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1000" dirty="0">
              <a:sym typeface="+mn-lt"/>
            </a:endParaRPr>
          </a:p>
        </p:txBody>
      </p:sp>
      <p:sp>
        <p:nvSpPr>
          <p:cNvPr id="307" name="テキスト プレースホルダ 9">
            <a:extLst>
              <a:ext uri="{FF2B5EF4-FFF2-40B4-BE49-F238E27FC236}">
                <a16:creationId xmlns:a16="http://schemas.microsoft.com/office/drawing/2014/main" id="{3F7B6481-C345-44C7-B651-080BA37A6698}"/>
              </a:ext>
            </a:extLst>
          </p:cNvPr>
          <p:cNvSpPr>
            <a:spLocks noGrp="1"/>
          </p:cNvSpPr>
          <p:nvPr>
            <p:custDataLst>
              <p:tags r:id="rId149"/>
            </p:custDataLst>
          </p:nvPr>
        </p:nvSpPr>
        <p:spPr bwMode="gray">
          <a:xfrm>
            <a:off x="6350000" y="56022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17C888-C34B-48FF-8E2C-6AB3B395276C}" type="datetime'''3''''''''''5''''''''''''''''0'''''''">
              <a:rPr lang="ja-JP" altLang="en-US" sz="1000" smtClean="0">
                <a:effectLst/>
              </a:rPr>
              <a:pPr/>
              <a:t>350</a:t>
            </a:fld>
            <a:endParaRPr lang="ja-JP" altLang="en-US" sz="1000" dirty="0">
              <a:sym typeface="+mn-lt"/>
            </a:endParaRPr>
          </a:p>
        </p:txBody>
      </p:sp>
      <p:sp>
        <p:nvSpPr>
          <p:cNvPr id="262" name="テキスト プレースホルダ 9">
            <a:extLst>
              <a:ext uri="{FF2B5EF4-FFF2-40B4-BE49-F238E27FC236}">
                <a16:creationId xmlns:a16="http://schemas.microsoft.com/office/drawing/2014/main" id="{D0AB008D-DC5E-4A4B-8EFE-CBDFC32F0A56}"/>
              </a:ext>
            </a:extLst>
          </p:cNvPr>
          <p:cNvSpPr>
            <a:spLocks noGrp="1"/>
          </p:cNvSpPr>
          <p:nvPr>
            <p:custDataLst>
              <p:tags r:id="rId150"/>
            </p:custDataLst>
          </p:nvPr>
        </p:nvSpPr>
        <p:spPr bwMode="auto">
          <a:xfrm>
            <a:off x="7080250"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98F6DF-C6FC-4DE4-BFA8-40CBBC767028}" type="datetime'''''1''''''''''7'''''''''''''''''''''''''''''''''''''''''''">
              <a:rPr kumimoji="0" lang="ja-JP" altLang="en-US" sz="1000" smtClean="0"/>
              <a:pPr/>
              <a:t>17</a:t>
            </a:fld>
            <a:endParaRPr kumimoji="0" lang="ja-JP" altLang="en-US" sz="1000" dirty="0">
              <a:sym typeface="+mn-lt"/>
            </a:endParaRPr>
          </a:p>
        </p:txBody>
      </p:sp>
      <p:sp>
        <p:nvSpPr>
          <p:cNvPr id="100" name="テキスト プレースホルダ 9"/>
          <p:cNvSpPr>
            <a:spLocks noGrp="1"/>
          </p:cNvSpPr>
          <p:nvPr>
            <p:custDataLst>
              <p:tags r:id="rId151"/>
            </p:custDataLst>
          </p:nvPr>
        </p:nvSpPr>
        <p:spPr bwMode="auto">
          <a:xfrm>
            <a:off x="6396038"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1000" dirty="0">
              <a:sym typeface="+mn-lt"/>
            </a:endParaRPr>
          </a:p>
        </p:txBody>
      </p:sp>
      <p:sp>
        <p:nvSpPr>
          <p:cNvPr id="87" name="テキスト プレースホルダ 9"/>
          <p:cNvSpPr>
            <a:spLocks noGrp="1"/>
          </p:cNvSpPr>
          <p:nvPr>
            <p:custDataLst>
              <p:tags r:id="rId152"/>
            </p:custDataLst>
          </p:nvPr>
        </p:nvSpPr>
        <p:spPr bwMode="auto">
          <a:xfrm>
            <a:off x="5711825"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1000" dirty="0">
              <a:sym typeface="+mn-lt"/>
            </a:endParaRPr>
          </a:p>
        </p:txBody>
      </p:sp>
      <p:sp>
        <p:nvSpPr>
          <p:cNvPr id="313" name="テキスト プレースホルダ 9">
            <a:extLst>
              <a:ext uri="{FF2B5EF4-FFF2-40B4-BE49-F238E27FC236}">
                <a16:creationId xmlns:a16="http://schemas.microsoft.com/office/drawing/2014/main" id="{490B37A4-A073-4BA8-A5A5-C1A4C5FA9FCC}"/>
              </a:ext>
            </a:extLst>
          </p:cNvPr>
          <p:cNvSpPr>
            <a:spLocks noGrp="1"/>
          </p:cNvSpPr>
          <p:nvPr>
            <p:custDataLst>
              <p:tags r:id="rId153"/>
            </p:custDataLst>
          </p:nvPr>
        </p:nvSpPr>
        <p:spPr bwMode="gray">
          <a:xfrm>
            <a:off x="7377113" y="56054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466485-88A8-456E-A0CF-CF099AA0B5F4}" type="datetime'''''''''''''''''''''3''''''''''4''''''''''''''''''''''4'''">
              <a:rPr lang="ja-JP" altLang="en-US" sz="1000" smtClean="0">
                <a:effectLst/>
              </a:rPr>
              <a:pPr/>
              <a:t>344</a:t>
            </a:fld>
            <a:endParaRPr lang="ja-JP" altLang="en-US" sz="1000" dirty="0">
              <a:sym typeface="+mn-lt"/>
            </a:endParaRPr>
          </a:p>
        </p:txBody>
      </p:sp>
      <p:sp>
        <p:nvSpPr>
          <p:cNvPr id="316" name="テキスト プレースホルダ 9">
            <a:extLst>
              <a:ext uri="{FF2B5EF4-FFF2-40B4-BE49-F238E27FC236}">
                <a16:creationId xmlns:a16="http://schemas.microsoft.com/office/drawing/2014/main" id="{60EBB810-08D9-4F20-AE57-2D556741FA6B}"/>
              </a:ext>
            </a:extLst>
          </p:cNvPr>
          <p:cNvSpPr>
            <a:spLocks noGrp="1"/>
          </p:cNvSpPr>
          <p:nvPr>
            <p:custDataLst>
              <p:tags r:id="rId154"/>
            </p:custDataLst>
          </p:nvPr>
        </p:nvSpPr>
        <p:spPr bwMode="gray">
          <a:xfrm>
            <a:off x="7718425" y="560387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0C91BB6-94EB-43A8-B66E-382C0B4934C2}" type="datetime'''''''''''''3''''''''''''''''''''''''''4''''''''8'''''''''''">
              <a:rPr lang="ja-JP" altLang="en-US" sz="1000" smtClean="0">
                <a:effectLst/>
                <a:sym typeface="+mn-lt"/>
              </a:rPr>
              <a:pPr/>
              <a:t>348</a:t>
            </a:fld>
            <a:endParaRPr lang="ja-JP" altLang="en-US" sz="1000" dirty="0">
              <a:sym typeface="+mn-lt"/>
            </a:endParaRPr>
          </a:p>
        </p:txBody>
      </p:sp>
      <p:sp>
        <p:nvSpPr>
          <p:cNvPr id="297" name="テキスト プレースホルダ 9">
            <a:extLst>
              <a:ext uri="{FF2B5EF4-FFF2-40B4-BE49-F238E27FC236}">
                <a16:creationId xmlns:a16="http://schemas.microsoft.com/office/drawing/2014/main" id="{2AC476A9-B434-4BAE-907C-B3511B427507}"/>
              </a:ext>
            </a:extLst>
          </p:cNvPr>
          <p:cNvSpPr>
            <a:spLocks noGrp="1"/>
          </p:cNvSpPr>
          <p:nvPr>
            <p:custDataLst>
              <p:tags r:id="rId155"/>
            </p:custDataLst>
          </p:nvPr>
        </p:nvSpPr>
        <p:spPr bwMode="auto">
          <a:xfrm>
            <a:off x="7764463" y="5991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E01D32-A9D8-4BFE-8210-41A7E84CB59C}" type="datetime'''''''''''''1''''''''''''''''''''''''''9'''''''''''''''">
              <a:rPr kumimoji="0" lang="ja-JP" altLang="en-US" sz="1000" smtClean="0"/>
              <a:pPr/>
              <a:t>19</a:t>
            </a:fld>
            <a:endParaRPr kumimoji="0" lang="ja-JP" altLang="en-US" sz="1000" dirty="0">
              <a:sym typeface="+mn-lt"/>
            </a:endParaRPr>
          </a:p>
        </p:txBody>
      </p:sp>
      <p:sp>
        <p:nvSpPr>
          <p:cNvPr id="127" name="テキスト プレースホルダ 9"/>
          <p:cNvSpPr>
            <a:spLocks noGrp="1"/>
          </p:cNvSpPr>
          <p:nvPr>
            <p:custDataLst>
              <p:tags r:id="rId156"/>
            </p:custDataLst>
          </p:nvPr>
        </p:nvSpPr>
        <p:spPr bwMode="gray">
          <a:xfrm>
            <a:off x="1900238" y="49260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743955-D41D-4C3D-A439-CE933EF968CB}" type="datetime'''6''''''''''''''1''''''''''''''9'''''">
              <a:rPr lang="ja-JP" altLang="en-US" sz="1000" smtClean="0"/>
              <a:pPr/>
              <a:t>619</a:t>
            </a:fld>
            <a:endParaRPr kumimoji="0" lang="ja-JP" altLang="en-US" sz="1000" dirty="0">
              <a:sym typeface="+mn-lt"/>
            </a:endParaRPr>
          </a:p>
        </p:txBody>
      </p:sp>
      <p:sp>
        <p:nvSpPr>
          <p:cNvPr id="193" name="テキスト プレースホルダ 9"/>
          <p:cNvSpPr>
            <a:spLocks noGrp="1"/>
          </p:cNvSpPr>
          <p:nvPr>
            <p:custDataLst>
              <p:tags r:id="rId157"/>
            </p:custDataLst>
          </p:nvPr>
        </p:nvSpPr>
        <p:spPr bwMode="gray">
          <a:xfrm>
            <a:off x="2243138" y="49736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D2CA1F-DC0C-4940-8AA9-BB0212596A09}" type="datetime'''''''''''5''''''''''''''''''''''''''''''''''''''8''''''''2'">
              <a:rPr lang="ja-JP" altLang="en-US" sz="1000" smtClean="0"/>
              <a:pPr/>
              <a:t>582</a:t>
            </a:fld>
            <a:endParaRPr kumimoji="0" lang="ja-JP" altLang="en-US" sz="1000" dirty="0">
              <a:sym typeface="+mn-lt"/>
            </a:endParaRPr>
          </a:p>
        </p:txBody>
      </p:sp>
      <p:sp>
        <p:nvSpPr>
          <p:cNvPr id="194" name="テキスト プレースホルダ 9"/>
          <p:cNvSpPr>
            <a:spLocks noGrp="1"/>
          </p:cNvSpPr>
          <p:nvPr>
            <p:custDataLst>
              <p:tags r:id="rId158"/>
            </p:custDataLst>
          </p:nvPr>
        </p:nvSpPr>
        <p:spPr bwMode="gray">
          <a:xfrm>
            <a:off x="2584450" y="49450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926BE3-B6E2-473A-A239-C3A3C6085BEF}" type="datetime'''''''''''''''''''''''''''''6''''''''''''''03'''''''''">
              <a:rPr lang="ja-JP" altLang="en-US" sz="1000" smtClean="0"/>
              <a:pPr/>
              <a:t>603</a:t>
            </a:fld>
            <a:endParaRPr kumimoji="0" lang="ja-JP" altLang="en-US" sz="1000" dirty="0">
              <a:sym typeface="+mn-lt"/>
            </a:endParaRPr>
          </a:p>
        </p:txBody>
      </p:sp>
      <p:sp>
        <p:nvSpPr>
          <p:cNvPr id="196" name="テキスト プレースホルダ 9"/>
          <p:cNvSpPr>
            <a:spLocks noGrp="1"/>
          </p:cNvSpPr>
          <p:nvPr>
            <p:custDataLst>
              <p:tags r:id="rId159"/>
            </p:custDataLst>
          </p:nvPr>
        </p:nvSpPr>
        <p:spPr bwMode="gray">
          <a:xfrm>
            <a:off x="3270250" y="48942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726D10-C867-4B5D-A6F6-547D179854EC}" type="datetime'''''''''''6''''''''4''''''''''''''''''''2'''''''''''''''''">
              <a:rPr lang="ja-JP" altLang="en-US" sz="1000" smtClean="0"/>
              <a:pPr/>
              <a:t>642</a:t>
            </a:fld>
            <a:endParaRPr kumimoji="0" lang="ja-JP" altLang="en-US" sz="1000" dirty="0">
              <a:sym typeface="+mn-lt"/>
            </a:endParaRPr>
          </a:p>
        </p:txBody>
      </p:sp>
      <p:sp>
        <p:nvSpPr>
          <p:cNvPr id="198" name="テキスト プレースホルダ 9"/>
          <p:cNvSpPr>
            <a:spLocks noGrp="1"/>
          </p:cNvSpPr>
          <p:nvPr>
            <p:custDataLst>
              <p:tags r:id="rId160"/>
            </p:custDataLst>
          </p:nvPr>
        </p:nvSpPr>
        <p:spPr bwMode="gray">
          <a:xfrm>
            <a:off x="3954463" y="48434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A8ABC5A-6809-427C-93B7-79DD2CF7C785}" type="datetime'''''''''6''''''''''8''''''''1'''''''''''''">
              <a:rPr lang="ja-JP" altLang="en-US" sz="1000" smtClean="0"/>
              <a:pPr/>
              <a:t>681</a:t>
            </a:fld>
            <a:endParaRPr kumimoji="0" lang="ja-JP" altLang="en-US" sz="1000" dirty="0">
              <a:sym typeface="+mn-lt"/>
            </a:endParaRPr>
          </a:p>
        </p:txBody>
      </p:sp>
      <p:sp>
        <p:nvSpPr>
          <p:cNvPr id="199" name="テキスト プレースホルダ 9"/>
          <p:cNvSpPr>
            <a:spLocks noGrp="1"/>
          </p:cNvSpPr>
          <p:nvPr>
            <p:custDataLst>
              <p:tags r:id="rId161"/>
            </p:custDataLst>
          </p:nvPr>
        </p:nvSpPr>
        <p:spPr bwMode="gray">
          <a:xfrm>
            <a:off x="4295775" y="48117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81D9CC7-640E-4FF0-BE43-328F19A31C19}" type="datetime'''''''''''''''''''7''''''''0''6'''''''''''''''''''''''''">
              <a:rPr lang="ja-JP" altLang="en-US" sz="1000" smtClean="0"/>
              <a:pPr/>
              <a:t>706</a:t>
            </a:fld>
            <a:endParaRPr kumimoji="0" lang="ja-JP" altLang="en-US" sz="1000" dirty="0">
              <a:sym typeface="+mn-lt"/>
            </a:endParaRPr>
          </a:p>
        </p:txBody>
      </p:sp>
      <p:sp>
        <p:nvSpPr>
          <p:cNvPr id="311" name="テキスト プレースホルダ 9">
            <a:extLst>
              <a:ext uri="{FF2B5EF4-FFF2-40B4-BE49-F238E27FC236}">
                <a16:creationId xmlns:a16="http://schemas.microsoft.com/office/drawing/2014/main" id="{C704DF2F-2207-412F-B70F-5F350E1602E7}"/>
              </a:ext>
            </a:extLst>
          </p:cNvPr>
          <p:cNvSpPr>
            <a:spLocks noGrp="1"/>
          </p:cNvSpPr>
          <p:nvPr>
            <p:custDataLst>
              <p:tags r:id="rId162"/>
            </p:custDataLst>
          </p:nvPr>
        </p:nvSpPr>
        <p:spPr bwMode="gray">
          <a:xfrm>
            <a:off x="7034213" y="560387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34B83F-18F7-436E-82B5-92CDE22305DF}" type="datetime'''3''4''''''''6'''''''''''''''''''''">
              <a:rPr lang="ja-JP" altLang="en-US" sz="1000" smtClean="0">
                <a:effectLst/>
              </a:rPr>
              <a:pPr/>
              <a:t>346</a:t>
            </a:fld>
            <a:endParaRPr lang="ja-JP" altLang="en-US" sz="1000" dirty="0">
              <a:sym typeface="+mn-lt"/>
            </a:endParaRPr>
          </a:p>
        </p:txBody>
      </p:sp>
      <p:sp>
        <p:nvSpPr>
          <p:cNvPr id="201" name="テキスト プレースホルダ 9"/>
          <p:cNvSpPr>
            <a:spLocks noGrp="1"/>
          </p:cNvSpPr>
          <p:nvPr>
            <p:custDataLst>
              <p:tags r:id="rId163"/>
            </p:custDataLst>
          </p:nvPr>
        </p:nvSpPr>
        <p:spPr bwMode="gray">
          <a:xfrm>
            <a:off x="4981575" y="47942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8D3F8F-36CC-4CA4-B259-FFBBFFB66473}" type="datetime'71''''''''''''''9'''''''''''''''">
              <a:rPr lang="ja-JP" altLang="en-US" sz="1000" smtClean="0"/>
              <a:pPr/>
              <a:t>719</a:t>
            </a:fld>
            <a:endParaRPr kumimoji="0" lang="ja-JP" altLang="en-US" sz="1000" dirty="0">
              <a:sym typeface="+mn-lt"/>
            </a:endParaRPr>
          </a:p>
        </p:txBody>
      </p:sp>
      <p:sp>
        <p:nvSpPr>
          <p:cNvPr id="203" name="テキスト プレースホルダ 9"/>
          <p:cNvSpPr>
            <a:spLocks noGrp="1"/>
          </p:cNvSpPr>
          <p:nvPr>
            <p:custDataLst>
              <p:tags r:id="rId164"/>
            </p:custDataLst>
          </p:nvPr>
        </p:nvSpPr>
        <p:spPr bwMode="gray">
          <a:xfrm>
            <a:off x="5665788" y="47418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ED24537-54A5-450D-8AEB-BD7B12355813}" type="datetime'''''7''''''''''''6''0'''''''''''''">
              <a:rPr lang="ja-JP" altLang="en-US" sz="1000" smtClean="0"/>
              <a:pPr/>
              <a:t>760</a:t>
            </a:fld>
            <a:endParaRPr kumimoji="0" lang="ja-JP" altLang="en-US" sz="1000" dirty="0">
              <a:sym typeface="+mn-lt"/>
            </a:endParaRPr>
          </a:p>
        </p:txBody>
      </p:sp>
      <p:sp>
        <p:nvSpPr>
          <p:cNvPr id="204" name="テキスト プレースホルダ 9"/>
          <p:cNvSpPr>
            <a:spLocks noGrp="1"/>
          </p:cNvSpPr>
          <p:nvPr>
            <p:custDataLst>
              <p:tags r:id="rId165"/>
            </p:custDataLst>
          </p:nvPr>
        </p:nvSpPr>
        <p:spPr bwMode="gray">
          <a:xfrm>
            <a:off x="6007100" y="46942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C923C5-0989-47DF-9D13-AE8840A9A161}" type="datetime'7''9''''''''''''''''''''''''''''7'''''''''''''">
              <a:rPr lang="ja-JP" altLang="en-US" sz="1000" smtClean="0"/>
              <a:pPr/>
              <a:t>797</a:t>
            </a:fld>
            <a:endParaRPr kumimoji="0" lang="ja-JP" altLang="en-US" sz="1000" dirty="0">
              <a:sym typeface="+mn-lt"/>
            </a:endParaRPr>
          </a:p>
        </p:txBody>
      </p:sp>
      <p:sp>
        <p:nvSpPr>
          <p:cNvPr id="205" name="テキスト プレースホルダ 9"/>
          <p:cNvSpPr>
            <a:spLocks noGrp="1"/>
          </p:cNvSpPr>
          <p:nvPr>
            <p:custDataLst>
              <p:tags r:id="rId166"/>
            </p:custDataLst>
          </p:nvPr>
        </p:nvSpPr>
        <p:spPr bwMode="gray">
          <a:xfrm>
            <a:off x="6350000" y="46783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660B79-352A-4D79-8D9E-44031CA6B4A7}" type="datetime'''''''''''''''80''''''9'''''''''''''''''''''">
              <a:rPr lang="ja-JP" altLang="en-US" sz="1000" smtClean="0"/>
              <a:pPr/>
              <a:t>809</a:t>
            </a:fld>
            <a:endParaRPr kumimoji="0" lang="ja-JP" altLang="en-US" sz="1000" dirty="0">
              <a:sym typeface="+mn-lt"/>
            </a:endParaRPr>
          </a:p>
        </p:txBody>
      </p:sp>
      <p:sp>
        <p:nvSpPr>
          <p:cNvPr id="268" name="テキスト プレースホルダ 9">
            <a:extLst>
              <a:ext uri="{FF2B5EF4-FFF2-40B4-BE49-F238E27FC236}">
                <a16:creationId xmlns:a16="http://schemas.microsoft.com/office/drawing/2014/main" id="{C70C7CA6-41FB-4B0B-8409-796B7182DDAB}"/>
              </a:ext>
            </a:extLst>
          </p:cNvPr>
          <p:cNvSpPr>
            <a:spLocks noGrp="1"/>
          </p:cNvSpPr>
          <p:nvPr>
            <p:custDataLst>
              <p:tags r:id="rId167"/>
            </p:custDataLst>
          </p:nvPr>
        </p:nvSpPr>
        <p:spPr bwMode="gray">
          <a:xfrm>
            <a:off x="6692900" y="46926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F9620E-5B7D-4FC6-8DDC-CE4ED417C8CD}" type="datetime'''7''''''''''''''''''''9''''''''''''''''''''''''''9'''''''''">
              <a:rPr lang="ja-JP" altLang="en-US" sz="1000" smtClean="0"/>
              <a:pPr/>
              <a:t>799</a:t>
            </a:fld>
            <a:endParaRPr lang="ja-JP" altLang="en-US" sz="1000" dirty="0">
              <a:sym typeface="+mn-lt"/>
            </a:endParaRPr>
          </a:p>
        </p:txBody>
      </p:sp>
      <p:sp>
        <p:nvSpPr>
          <p:cNvPr id="269" name="テキスト プレースホルダ 9">
            <a:extLst>
              <a:ext uri="{FF2B5EF4-FFF2-40B4-BE49-F238E27FC236}">
                <a16:creationId xmlns:a16="http://schemas.microsoft.com/office/drawing/2014/main" id="{9FF7D792-A4D5-48BE-8DD6-FDFEF43ABE06}"/>
              </a:ext>
            </a:extLst>
          </p:cNvPr>
          <p:cNvSpPr>
            <a:spLocks noGrp="1"/>
          </p:cNvSpPr>
          <p:nvPr>
            <p:custDataLst>
              <p:tags r:id="rId168"/>
            </p:custDataLst>
          </p:nvPr>
        </p:nvSpPr>
        <p:spPr bwMode="gray">
          <a:xfrm>
            <a:off x="7034213" y="465296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20E2FC-A3BB-4E2D-B522-6EF1441B7FC1}" type="datetime'''''''8''''''''''''''''''''''''''''2''''''''''9'''">
              <a:rPr lang="ja-JP" altLang="en-US" sz="1000" smtClean="0"/>
              <a:pPr/>
              <a:t>829</a:t>
            </a:fld>
            <a:endParaRPr lang="ja-JP" altLang="en-US" sz="1000" dirty="0">
              <a:sym typeface="+mn-lt"/>
            </a:endParaRPr>
          </a:p>
        </p:txBody>
      </p:sp>
      <p:sp>
        <p:nvSpPr>
          <p:cNvPr id="270" name="テキスト プレースホルダ 9">
            <a:extLst>
              <a:ext uri="{FF2B5EF4-FFF2-40B4-BE49-F238E27FC236}">
                <a16:creationId xmlns:a16="http://schemas.microsoft.com/office/drawing/2014/main" id="{B84EF1B7-04A5-4DCB-9FF9-5F1B9018DCD4}"/>
              </a:ext>
            </a:extLst>
          </p:cNvPr>
          <p:cNvSpPr>
            <a:spLocks noGrp="1"/>
          </p:cNvSpPr>
          <p:nvPr>
            <p:custDataLst>
              <p:tags r:id="rId169"/>
            </p:custDataLst>
          </p:nvPr>
        </p:nvSpPr>
        <p:spPr bwMode="gray">
          <a:xfrm>
            <a:off x="7377113" y="46434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65F89E-3F2E-49FA-957B-02C9D7EFD30B}" type="datetime'''''''''''''''''''''''''''8''''''''''''''3''''''''''''''7'''">
              <a:rPr lang="ja-JP" altLang="en-US" sz="1000" smtClean="0"/>
              <a:pPr/>
              <a:t>837</a:t>
            </a:fld>
            <a:endParaRPr lang="ja-JP" altLang="en-US" sz="1000" dirty="0">
              <a:sym typeface="+mn-lt"/>
            </a:endParaRPr>
          </a:p>
        </p:txBody>
      </p:sp>
      <p:sp>
        <p:nvSpPr>
          <p:cNvPr id="315" name="テキスト プレースホルダ 9">
            <a:extLst>
              <a:ext uri="{FF2B5EF4-FFF2-40B4-BE49-F238E27FC236}">
                <a16:creationId xmlns:a16="http://schemas.microsoft.com/office/drawing/2014/main" id="{622004D5-2FA4-4F82-80DD-E355DBF298AD}"/>
              </a:ext>
            </a:extLst>
          </p:cNvPr>
          <p:cNvSpPr>
            <a:spLocks noGrp="1"/>
          </p:cNvSpPr>
          <p:nvPr>
            <p:custDataLst>
              <p:tags r:id="rId170"/>
            </p:custDataLst>
          </p:nvPr>
        </p:nvSpPr>
        <p:spPr bwMode="gray">
          <a:xfrm>
            <a:off x="7718425" y="462121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38BE92-4D29-406B-B238-DF311EAD02B8}" type="datetime'''''''''''''''''''''''''8''''''''''5''''''''''''''''''''3'''''">
              <a:rPr lang="ja-JP" altLang="en-US" sz="1000" smtClean="0">
                <a:sym typeface="+mn-lt"/>
              </a:rPr>
              <a:pPr/>
              <a:t>853</a:t>
            </a:fld>
            <a:endParaRPr lang="ja-JP" altLang="en-US" sz="1000" dirty="0">
              <a:sym typeface="+mn-lt"/>
            </a:endParaRPr>
          </a:p>
        </p:txBody>
      </p:sp>
      <p:sp>
        <p:nvSpPr>
          <p:cNvPr id="332" name="テキスト プレースホルダ 9">
            <a:extLst>
              <a:ext uri="{FF2B5EF4-FFF2-40B4-BE49-F238E27FC236}">
                <a16:creationId xmlns:a16="http://schemas.microsoft.com/office/drawing/2014/main" id="{ABC84330-92B1-4041-B9B4-6E2150EB3FC5}"/>
              </a:ext>
            </a:extLst>
          </p:cNvPr>
          <p:cNvSpPr>
            <a:spLocks noGrp="1"/>
          </p:cNvSpPr>
          <p:nvPr>
            <p:custDataLst>
              <p:tags r:id="rId171"/>
            </p:custDataLst>
          </p:nvPr>
        </p:nvSpPr>
        <p:spPr bwMode="gray">
          <a:xfrm>
            <a:off x="1558925" y="52816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4294DA-3E97-4E4F-849A-A8A4C5F4AD43}" type="datetime'''''''''''''''''''''3''''5''''''''''''''''''''''2'''''''''''">
              <a:rPr lang="ja-JP" altLang="en-US" sz="1000" smtClean="0">
                <a:effectLst/>
                <a:sym typeface="+mn-lt"/>
              </a:rPr>
              <a:pPr marL="0" indent="0" algn="ctr">
                <a:spcBef>
                  <a:spcPct val="0"/>
                </a:spcBef>
                <a:buNone/>
              </a:pPr>
              <a:t>352</a:t>
            </a:fld>
            <a:endParaRPr lang="ja-JP" altLang="en-US" sz="1000" dirty="0">
              <a:sym typeface="+mn-lt"/>
            </a:endParaRPr>
          </a:p>
        </p:txBody>
      </p:sp>
      <p:sp>
        <p:nvSpPr>
          <p:cNvPr id="128" name="テキスト プレースホルダ 9"/>
          <p:cNvSpPr>
            <a:spLocks noGrp="1"/>
          </p:cNvSpPr>
          <p:nvPr>
            <p:custDataLst>
              <p:tags r:id="rId172"/>
            </p:custDataLst>
          </p:nvPr>
        </p:nvSpPr>
        <p:spPr bwMode="gray">
          <a:xfrm>
            <a:off x="4638675" y="48037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0A5AF5-3A85-42C0-85A3-088BB5BFF786}" type="datetime'''''71''''''''''''''''''''''''''''''''''''''''''2'''">
              <a:rPr lang="ja-JP" altLang="en-US" sz="1000" smtClean="0"/>
              <a:pPr/>
              <a:t>712</a:t>
            </a:fld>
            <a:endParaRPr kumimoji="0" lang="ja-JP" altLang="en-US" sz="1000" dirty="0">
              <a:sym typeface="+mn-lt"/>
            </a:endParaRPr>
          </a:p>
        </p:txBody>
      </p:sp>
      <p:sp>
        <p:nvSpPr>
          <p:cNvPr id="175" name="Rectangle 174"/>
          <p:cNvSpPr/>
          <p:nvPr>
            <p:custDataLst>
              <p:tags r:id="rId173"/>
            </p:custDataLst>
          </p:nvPr>
        </p:nvSpPr>
        <p:spPr bwMode="gray">
          <a:xfrm>
            <a:off x="8312150" y="2901950"/>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174"/>
            </p:custDataLst>
          </p:nvPr>
        </p:nvSpPr>
        <p:spPr bwMode="gray">
          <a:xfrm>
            <a:off x="8312150" y="3089275"/>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6" name="テキスト プレースホルダ 9"/>
          <p:cNvSpPr>
            <a:spLocks noGrp="1"/>
          </p:cNvSpPr>
          <p:nvPr>
            <p:custDataLst>
              <p:tags r:id="rId175"/>
            </p:custDataLst>
          </p:nvPr>
        </p:nvSpPr>
        <p:spPr bwMode="auto">
          <a:xfrm>
            <a:off x="8523288" y="308610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sym typeface="+mn-lt"/>
              </a:rPr>
              <a:pPr marL="0" indent="0">
                <a:spcBef>
                  <a:spcPct val="0"/>
                </a:spcBef>
                <a:buNone/>
              </a:pPr>
              <a:t>政府の医療費支出</a:t>
            </a:fld>
            <a:endParaRPr kumimoji="0" lang="ja-JP" altLang="en-US" sz="900" dirty="0">
              <a:sym typeface="+mn-lt"/>
            </a:endParaRPr>
          </a:p>
        </p:txBody>
      </p:sp>
      <p:sp>
        <p:nvSpPr>
          <p:cNvPr id="173" name="テキスト プレースホルダ 9"/>
          <p:cNvSpPr>
            <a:spLocks noGrp="1"/>
          </p:cNvSpPr>
          <p:nvPr>
            <p:custDataLst>
              <p:tags r:id="rId176"/>
            </p:custDataLst>
          </p:nvPr>
        </p:nvSpPr>
        <p:spPr bwMode="auto">
          <a:xfrm>
            <a:off x="8523288" y="289877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sym typeface="+mn-lt"/>
              </a:rPr>
              <a:pPr marL="0" indent="0">
                <a:spcBef>
                  <a:spcPct val="0"/>
                </a:spcBef>
                <a:buNone/>
              </a:pPr>
              <a:t>政府以外の医療費支出</a:t>
            </a:fld>
            <a:endParaRPr kumimoji="0" lang="ja-JP" altLang="en-US" sz="900" dirty="0">
              <a:sym typeface="+mn-lt"/>
            </a:endParaRPr>
          </a:p>
        </p:txBody>
      </p:sp>
      <p:sp>
        <p:nvSpPr>
          <p:cNvPr id="278" name="Rectangle 277"/>
          <p:cNvSpPr/>
          <p:nvPr>
            <p:custDataLst>
              <p:tags r:id="rId177"/>
            </p:custDataLst>
          </p:nvPr>
        </p:nvSpPr>
        <p:spPr bwMode="gray">
          <a:xfrm>
            <a:off x="8485187" y="5503863"/>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178"/>
            </p:custDataLst>
          </p:nvPr>
        </p:nvSpPr>
        <p:spPr bwMode="gray">
          <a:xfrm>
            <a:off x="8485187" y="5707063"/>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179"/>
            </p:custDataLst>
          </p:nvPr>
        </p:nvSpPr>
        <p:spPr bwMode="auto">
          <a:xfrm>
            <a:off x="8715375" y="549910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180"/>
            </p:custDataLst>
          </p:nvPr>
        </p:nvSpPr>
        <p:spPr bwMode="auto">
          <a:xfrm>
            <a:off x="8715375" y="5702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10" name="Straight Connector 9">
            <a:extLst>
              <a:ext uri="{FF2B5EF4-FFF2-40B4-BE49-F238E27FC236}">
                <a16:creationId xmlns:a16="http://schemas.microsoft.com/office/drawing/2014/main" id="{37FB13D1-F3B3-4D06-AAF2-BB03A942F5B3}"/>
              </a:ext>
            </a:extLst>
          </p:cNvPr>
          <p:cNvCxnSpPr/>
          <p:nvPr>
            <p:custDataLst>
              <p:tags r:id="rId181"/>
            </p:custDataLst>
          </p:nvPr>
        </p:nvCxnSpPr>
        <p:spPr bwMode="gray">
          <a:xfrm>
            <a:off x="8316913" y="3460750"/>
            <a:ext cx="23653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182"/>
            </p:custDataLst>
          </p:nvPr>
        </p:nvSpPr>
        <p:spPr bwMode="gray">
          <a:xfrm>
            <a:off x="8396288" y="3422650"/>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83"/>
            </p:custDataLst>
          </p:nvPr>
        </p:nvSpPr>
        <p:spPr bwMode="auto">
          <a:xfrm>
            <a:off x="8609013" y="3397250"/>
            <a:ext cx="1222375" cy="2730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900"/>
              <a:pPr marL="0" indent="0">
                <a:spcBef>
                  <a:spcPct val="0"/>
                </a:spcBef>
                <a:buNone/>
              </a:pPr>
              <a:t>医療費支出総額における
政府の負担割合</a:t>
            </a:fld>
            <a:endParaRPr kumimoji="0" lang="ja-JP" altLang="en-US" sz="900" dirty="0">
              <a:sym typeface="+mn-lt"/>
            </a:endParaRPr>
          </a:p>
        </p:txBody>
      </p:sp>
      <p:sp>
        <p:nvSpPr>
          <p:cNvPr id="337" name="テキスト ボックス 6"/>
          <p:cNvSpPr txBox="1"/>
          <p:nvPr/>
        </p:nvSpPr>
        <p:spPr>
          <a:xfrm>
            <a:off x="4776341" y="6359526"/>
            <a:ext cx="473481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1" name="テキスト ボックス 35"/>
          <p:cNvSpPr txBox="1"/>
          <p:nvPr/>
        </p:nvSpPr>
        <p:spPr>
          <a:xfrm>
            <a:off x="214267" y="1066693"/>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支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0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うち政府が捻出した医療費支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3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人当たり医療費は増加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53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た</a:t>
            </a:r>
          </a:p>
        </p:txBody>
      </p:sp>
      <p:sp>
        <p:nvSpPr>
          <p:cNvPr id="20" name="Rectangle 19" hidden="1">
            <a:extLst>
              <a:ext uri="{FF2B5EF4-FFF2-40B4-BE49-F238E27FC236}">
                <a16:creationId xmlns:a16="http://schemas.microsoft.com/office/drawing/2014/main" id="{859C2FFF-537D-411B-893C-35481E6510BB}"/>
              </a:ext>
            </a:extLst>
          </p:cNvPr>
          <p:cNvSpPr/>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ja-JP" altLang="en-US" sz="1000" dirty="0">
              <a:solidFill>
                <a:schemeClr val="tx1"/>
              </a:solidFill>
              <a:sym typeface="+mn-lt"/>
            </a:endParaRPr>
          </a:p>
        </p:txBody>
      </p:sp>
    </p:spTree>
    <p:extLst>
      <p:ext uri="{BB962C8B-B14F-4D97-AF65-F5344CB8AC3E}">
        <p14:creationId xmlns:p14="http://schemas.microsoft.com/office/powerpoint/2010/main" val="9418239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3993926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19" imgW="360" imgH="360" progId="TCLayout.ActiveDocument.1">
                  <p:embed/>
                </p:oleObj>
              </mc:Choice>
              <mc:Fallback>
                <p:oleObj name="think-cell Slide" r:id="rId19" imgW="360" imgH="360" progId="TCLayout.ActiveDocument.1">
                  <p:embed/>
                  <p:pic>
                    <p:nvPicPr>
                      <p:cNvPr id="9" name="Object 8"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ブラジル／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04928" y="3861048"/>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3" name="Chart 3"/>
          <p:cNvGraphicFramePr/>
          <p:nvPr>
            <p:custDataLst>
              <p:tags r:id="rId4"/>
            </p:custDataLst>
            <p:extLst>
              <p:ext uri="{D42A27DB-BD31-4B8C-83A1-F6EECF244321}">
                <p14:modId xmlns:p14="http://schemas.microsoft.com/office/powerpoint/2010/main" val="2792390324"/>
              </p:ext>
            </p:ext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21"/>
          </a:graphicData>
        </a:graphic>
      </p:graphicFrame>
      <p:sp>
        <p:nvSpPr>
          <p:cNvPr id="13" name="Rectangle 12"/>
          <p:cNvSpPr/>
          <p:nvPr>
            <p:custDataLst>
              <p:tags r:id="rId5"/>
            </p:custDataLst>
          </p:nvPr>
        </p:nvSpPr>
        <p:spPr bwMode="gray">
          <a:xfrm>
            <a:off x="809625" y="5775325"/>
            <a:ext cx="285750" cy="214313"/>
          </a:xfrm>
          <a:prstGeom prst="rect">
            <a:avLst/>
          </a:prstGeom>
          <a:solidFill>
            <a:srgbClr val="1F497D"/>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6"/>
            </p:custDataLst>
          </p:nvPr>
        </p:nvSpPr>
        <p:spPr bwMode="gray">
          <a:xfrm>
            <a:off x="2060575" y="5775325"/>
            <a:ext cx="285750" cy="214313"/>
          </a:xfrm>
          <a:prstGeom prst="rect">
            <a:avLst/>
          </a:prstGeom>
          <a:solidFill>
            <a:srgbClr val="80CCE8"/>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7"/>
            </p:custDataLst>
          </p:nvPr>
        </p:nvSpPr>
        <p:spPr bwMode="gray">
          <a:xfrm>
            <a:off x="3108325" y="5775325"/>
            <a:ext cx="285750" cy="214313"/>
          </a:xfrm>
          <a:prstGeom prst="rect">
            <a:avLst/>
          </a:prstGeom>
          <a:solidFill>
            <a:srgbClr val="C0E6F4"/>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8"/>
            </p:custDataLst>
          </p:nvPr>
        </p:nvSpPr>
        <p:spPr bwMode="auto">
          <a:xfrm>
            <a:off x="1146175"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9B33C8-9B5D-4B9D-B725-311EFF1368FA}" type="datetime'''非''''''''''''''''''感''染''''''症'''''''''">
              <a:rPr lang="ja-JP" altLang="en-US">
                <a:sym typeface="+mn-lt"/>
              </a:rPr>
              <a:pPr marL="0" indent="0">
                <a:spcBef>
                  <a:spcPct val="0"/>
                </a:spcBef>
                <a:buNone/>
              </a:pPr>
              <a:t>非感染症</a:t>
            </a:fld>
            <a:endParaRPr kumimoji="0" lang="ja-JP" altLang="en-US" dirty="0">
              <a:sym typeface="+mn-lt"/>
            </a:endParaRPr>
          </a:p>
        </p:txBody>
      </p:sp>
      <p:sp>
        <p:nvSpPr>
          <p:cNvPr id="29" name="テキスト プレースホルダ 9"/>
          <p:cNvSpPr>
            <a:spLocks noGrp="1"/>
          </p:cNvSpPr>
          <p:nvPr>
            <p:custDataLst>
              <p:tags r:id="rId9"/>
            </p:custDataLst>
          </p:nvPr>
        </p:nvSpPr>
        <p:spPr bwMode="auto">
          <a:xfrm>
            <a:off x="239712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sp>
        <p:nvSpPr>
          <p:cNvPr id="28" name="テキスト プレースホルダ 9"/>
          <p:cNvSpPr>
            <a:spLocks noGrp="1"/>
          </p:cNvSpPr>
          <p:nvPr>
            <p:custDataLst>
              <p:tags r:id="rId10"/>
            </p:custDataLst>
          </p:nvPr>
        </p:nvSpPr>
        <p:spPr bwMode="auto">
          <a:xfrm>
            <a:off x="344487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graphicFrame>
        <p:nvGraphicFramePr>
          <p:cNvPr id="40" name="Chart 39">
            <a:extLst>
              <a:ext uri="{FF2B5EF4-FFF2-40B4-BE49-F238E27FC236}">
                <a16:creationId xmlns:a16="http://schemas.microsoft.com/office/drawing/2014/main" id="{E6D6037F-FCDE-4269-885F-FB33494D99F4}"/>
              </a:ext>
            </a:extLst>
          </p:cNvPr>
          <p:cNvGraphicFramePr/>
          <p:nvPr>
            <p:custDataLst>
              <p:tags r:id="rId11"/>
            </p:custDataLst>
            <p:extLst>
              <p:ext uri="{D42A27DB-BD31-4B8C-83A1-F6EECF244321}">
                <p14:modId xmlns:p14="http://schemas.microsoft.com/office/powerpoint/2010/main" val="2306729155"/>
              </p:ext>
            </p:extLst>
          </p:nvPr>
        </p:nvGraphicFramePr>
        <p:xfrm>
          <a:off x="5318125" y="3081338"/>
          <a:ext cx="3784600" cy="2325687"/>
        </p:xfrm>
        <a:graphic>
          <a:graphicData uri="http://schemas.openxmlformats.org/drawingml/2006/chart">
            <c:chart xmlns:c="http://schemas.openxmlformats.org/drawingml/2006/chart" xmlns:r="http://schemas.openxmlformats.org/officeDocument/2006/relationships" r:id="rId22"/>
          </a:graphicData>
        </a:graphic>
      </p:graphicFrame>
      <p:sp>
        <p:nvSpPr>
          <p:cNvPr id="51" name="Rectangle 50"/>
          <p:cNvSpPr/>
          <p:nvPr>
            <p:custDataLst>
              <p:tags r:id="rId12"/>
            </p:custDataLst>
          </p:nvPr>
        </p:nvSpPr>
        <p:spPr bwMode="gray">
          <a:xfrm>
            <a:off x="5732463"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Rectangle 51"/>
          <p:cNvSpPr/>
          <p:nvPr>
            <p:custDataLst>
              <p:tags r:id="rId13"/>
            </p:custDataLst>
          </p:nvPr>
        </p:nvSpPr>
        <p:spPr bwMode="gray">
          <a:xfrm>
            <a:off x="8031163"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Rectangle 49"/>
          <p:cNvSpPr/>
          <p:nvPr>
            <p:custDataLst>
              <p:tags r:id="rId14"/>
            </p:custDataLst>
          </p:nvPr>
        </p:nvSpPr>
        <p:spPr bwMode="gray">
          <a:xfrm>
            <a:off x="6983413"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テキスト プレースホルダ 9"/>
          <p:cNvSpPr>
            <a:spLocks noGrp="1"/>
          </p:cNvSpPr>
          <p:nvPr>
            <p:custDataLst>
              <p:tags r:id="rId15"/>
            </p:custDataLst>
          </p:nvPr>
        </p:nvSpPr>
        <p:spPr bwMode="auto">
          <a:xfrm>
            <a:off x="6069013"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F248B68-E9AA-4BAB-8CE6-590A6B320D1F}" type="datetime'''''''''''''''非''''''''''''''''''''''''感染''症'''''''''''''">
              <a:rPr lang="ja-JP" altLang="en-US"/>
              <a:pPr marL="0" indent="0">
                <a:spcBef>
                  <a:spcPct val="0"/>
                </a:spcBef>
                <a:buNone/>
              </a:pPr>
              <a:t>非感染症</a:t>
            </a:fld>
            <a:endParaRPr kumimoji="0" lang="ja-JP" altLang="en-US" dirty="0">
              <a:sym typeface="+mn-lt"/>
            </a:endParaRPr>
          </a:p>
        </p:txBody>
      </p:sp>
      <p:sp>
        <p:nvSpPr>
          <p:cNvPr id="55" name="テキスト プレースホルダ 9"/>
          <p:cNvSpPr>
            <a:spLocks noGrp="1"/>
          </p:cNvSpPr>
          <p:nvPr>
            <p:custDataLst>
              <p:tags r:id="rId16"/>
            </p:custDataLst>
          </p:nvPr>
        </p:nvSpPr>
        <p:spPr bwMode="auto">
          <a:xfrm>
            <a:off x="731996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8902A2-B407-4CD9-9325-85C4D61BD01E}" type="datetime'''''''''''''''''''''''''''感''''''染''症'''''''">
              <a:rPr lang="ja-JP" altLang="en-US"/>
              <a:pPr marL="0" indent="0">
                <a:spcBef>
                  <a:spcPct val="0"/>
                </a:spcBef>
                <a:buNone/>
              </a:pPr>
              <a:t>感染症</a:t>
            </a:fld>
            <a:endParaRPr kumimoji="0" lang="ja-JP" altLang="en-US" dirty="0">
              <a:sym typeface="+mn-lt"/>
            </a:endParaRPr>
          </a:p>
        </p:txBody>
      </p:sp>
      <p:sp>
        <p:nvSpPr>
          <p:cNvPr id="53" name="テキスト プレースホルダ 9"/>
          <p:cNvSpPr>
            <a:spLocks noGrp="1"/>
          </p:cNvSpPr>
          <p:nvPr>
            <p:custDataLst>
              <p:tags r:id="rId17"/>
            </p:custDataLst>
          </p:nvPr>
        </p:nvSpPr>
        <p:spPr bwMode="auto">
          <a:xfrm>
            <a:off x="836771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C6E186-92B4-4138-BB8F-17768231CA6A}" type="datetime'''''''''''''''''''''''''''''''''''''事''''''''''''故等'''''''">
              <a:rPr lang="ja-JP" altLang="en-US"/>
              <a:pPr marL="0" indent="0">
                <a:spcBef>
                  <a:spcPct val="0"/>
                </a:spcBef>
                <a:buNone/>
              </a:pPr>
              <a:t>事故等</a:t>
            </a:fld>
            <a:endParaRPr kumimoji="0" lang="ja-JP" altLang="en-US" dirty="0">
              <a:sym typeface="+mn-lt"/>
            </a:endParaRPr>
          </a:p>
        </p:txBody>
      </p:sp>
      <p:sp>
        <p:nvSpPr>
          <p:cNvPr id="37" name="テキスト ボックス 2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死亡要因を比較すると、非感染症の割合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763299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61522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7" imgW="360" imgH="360" progId="TCLayout.ActiveDocument.1">
                  <p:embed/>
                </p:oleObj>
              </mc:Choice>
              <mc:Fallback>
                <p:oleObj name="think-cell Slide" r:id="rId7" imgW="360" imgH="36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7" name="テキスト ボックス 56"/>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分類で見ると、「心血管疾患」が死亡要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であることに変化はないが、「新生物」「糖尿病、腎臓疾患」による死亡の増加が顕著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6" name="Chart 3"/>
          <p:cNvGraphicFramePr/>
          <p:nvPr>
            <p:custDataLst>
              <p:tags r:id="rId4"/>
            </p:custDataLst>
            <p:extLst>
              <p:ext uri="{D42A27DB-BD31-4B8C-83A1-F6EECF244321}">
                <p14:modId xmlns:p14="http://schemas.microsoft.com/office/powerpoint/2010/main" val="2205497862"/>
              </p:ext>
            </p:extLst>
          </p:nvPr>
        </p:nvGraphicFramePr>
        <p:xfrm>
          <a:off x="71438" y="4425950"/>
          <a:ext cx="9832975" cy="1651000"/>
        </p:xfrm>
        <a:graphic>
          <a:graphicData uri="http://schemas.openxmlformats.org/drawingml/2006/chart">
            <c:chart xmlns:c="http://schemas.openxmlformats.org/drawingml/2006/chart" xmlns:r="http://schemas.openxmlformats.org/officeDocument/2006/relationships" r:id="rId9"/>
          </a:graphicData>
        </a:graphic>
      </p:graphicFrame>
      <p:sp>
        <p:nvSpPr>
          <p:cNvPr id="5" name="タイトル 4"/>
          <p:cNvSpPr>
            <a:spLocks noGrp="1"/>
          </p:cNvSpPr>
          <p:nvPr>
            <p:ph type="title"/>
          </p:nvPr>
        </p:nvSpPr>
        <p:spPr/>
        <p:txBody>
          <a:bodyPr vert="horz"/>
          <a:lstStyle/>
          <a:p>
            <a:r>
              <a:rPr lang="ja-JP" altLang="en-US" dirty="0"/>
              <a:t>ブラジル／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18907" y="2301386"/>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 （</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119" name="テキスト ボックス 118"/>
          <p:cNvSpPr txBox="1"/>
          <p:nvPr/>
        </p:nvSpPr>
        <p:spPr>
          <a:xfrm>
            <a:off x="56456" y="3861075"/>
            <a:ext cx="434082" cy="200055"/>
          </a:xfrm>
          <a:prstGeom prst="rect">
            <a:avLst/>
          </a:prstGeom>
          <a:noFill/>
        </p:spPr>
        <p:txBody>
          <a:bodyPr wrap="square" rtlCol="0">
            <a:spAutoFit/>
          </a:bodyPr>
          <a:lstStyle/>
          <a:p>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56456" y="5060021"/>
            <a:ext cx="648072" cy="200055"/>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1" name="Chart 70">
            <a:extLst>
              <a:ext uri="{FF2B5EF4-FFF2-40B4-BE49-F238E27FC236}">
                <a16:creationId xmlns:a16="http://schemas.microsoft.com/office/drawing/2014/main" id="{74EEAD55-608C-40E7-9CF4-39DD07EEFA5A}"/>
              </a:ext>
            </a:extLst>
          </p:cNvPr>
          <p:cNvGraphicFramePr/>
          <p:nvPr>
            <p:custDataLst>
              <p:tags r:id="rId5"/>
            </p:custDataLst>
            <p:extLst>
              <p:ext uri="{D42A27DB-BD31-4B8C-83A1-F6EECF244321}">
                <p14:modId xmlns:p14="http://schemas.microsoft.com/office/powerpoint/2010/main" val="1428967833"/>
              </p:ext>
            </p:extLst>
          </p:nvPr>
        </p:nvGraphicFramePr>
        <p:xfrm>
          <a:off x="298450" y="3232150"/>
          <a:ext cx="9377363" cy="1319213"/>
        </p:xfrm>
        <a:graphic>
          <a:graphicData uri="http://schemas.openxmlformats.org/drawingml/2006/chart">
            <c:chart xmlns:c="http://schemas.openxmlformats.org/drawingml/2006/chart" xmlns:r="http://schemas.openxmlformats.org/officeDocument/2006/relationships" r:id="rId10"/>
          </a:graphicData>
        </a:graphic>
      </p:graphicFrame>
      <p:grpSp>
        <p:nvGrpSpPr>
          <p:cNvPr id="11" name="グループ化 10"/>
          <p:cNvGrpSpPr/>
          <p:nvPr/>
        </p:nvGrpSpPr>
        <p:grpSpPr>
          <a:xfrm>
            <a:off x="380492" y="2643957"/>
            <a:ext cx="994818" cy="648528"/>
            <a:chOff x="-1179690" y="716065"/>
            <a:chExt cx="994818" cy="648528"/>
          </a:xfrm>
        </p:grpSpPr>
        <p:sp>
          <p:nvSpPr>
            <p:cNvPr id="87" name="正方形/長方形 86"/>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588623"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6"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テキスト ボックス 90"/>
          <p:cNvSpPr txBox="1"/>
          <p:nvPr/>
        </p:nvSpPr>
        <p:spPr>
          <a:xfrm>
            <a:off x="1496616" y="3816134"/>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35" name="テキスト ボックス 134"/>
          <p:cNvSpPr txBox="1"/>
          <p:nvPr/>
        </p:nvSpPr>
        <p:spPr>
          <a:xfrm>
            <a:off x="1375310" y="5092325"/>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79" name="テキスト ボックス 78"/>
          <p:cNvSpPr txBox="1"/>
          <p:nvPr/>
        </p:nvSpPr>
        <p:spPr>
          <a:xfrm>
            <a:off x="3728864" y="3834048"/>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60" name="テキスト ボックス 59"/>
          <p:cNvSpPr txBox="1"/>
          <p:nvPr/>
        </p:nvSpPr>
        <p:spPr>
          <a:xfrm>
            <a:off x="3318072" y="5108283"/>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137" name="テキスト ボックス 136"/>
          <p:cNvSpPr txBox="1"/>
          <p:nvPr/>
        </p:nvSpPr>
        <p:spPr>
          <a:xfrm>
            <a:off x="4580049" y="3785019"/>
            <a:ext cx="88865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糖尿病、</a:t>
            </a:r>
            <a:endParaRPr lang="en-US" altLang="ja-JP" b="0" dirty="0">
              <a:solidFill>
                <a:schemeClr val="bg1"/>
              </a:solidFill>
            </a:endParaRPr>
          </a:p>
          <a:p>
            <a:r>
              <a:rPr lang="ja-JP" altLang="en-US" b="0" dirty="0">
                <a:solidFill>
                  <a:schemeClr val="bg1"/>
                </a:solidFill>
              </a:rPr>
              <a:t>腎臓疾患</a:t>
            </a:r>
          </a:p>
        </p:txBody>
      </p:sp>
      <p:sp>
        <p:nvSpPr>
          <p:cNvPr id="112" name="テキスト ボックス 111"/>
          <p:cNvSpPr txBox="1"/>
          <p:nvPr/>
        </p:nvSpPr>
        <p:spPr>
          <a:xfrm>
            <a:off x="4000720" y="5046622"/>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br>
              <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1" name="テキスト ボックス 60"/>
          <p:cNvSpPr txBox="1"/>
          <p:nvPr/>
        </p:nvSpPr>
        <p:spPr>
          <a:xfrm>
            <a:off x="4417674" y="5049903"/>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その他の</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非感染症</a:t>
            </a:r>
          </a:p>
        </p:txBody>
      </p:sp>
      <p:sp>
        <p:nvSpPr>
          <p:cNvPr id="188" name="テキスト ボックス 187"/>
          <p:cNvSpPr txBox="1"/>
          <p:nvPr/>
        </p:nvSpPr>
        <p:spPr>
          <a:xfrm>
            <a:off x="4842860" y="5060021"/>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消化器</a:t>
            </a:r>
            <a:endParaRPr lang="en-US" altLang="ja-JP" dirty="0">
              <a:solidFill>
                <a:schemeClr val="bg1"/>
              </a:solidFill>
            </a:endParaRPr>
          </a:p>
          <a:p>
            <a:r>
              <a:rPr lang="ja-JP" altLang="en-US" dirty="0">
                <a:solidFill>
                  <a:schemeClr val="bg1"/>
                </a:solidFill>
              </a:rPr>
              <a:t>疾患</a:t>
            </a:r>
          </a:p>
        </p:txBody>
      </p:sp>
      <p:sp>
        <p:nvSpPr>
          <p:cNvPr id="111" name="テキスト ボックス 110"/>
          <p:cNvSpPr txBox="1"/>
          <p:nvPr/>
        </p:nvSpPr>
        <p:spPr>
          <a:xfrm>
            <a:off x="5068941" y="5044632"/>
            <a:ext cx="625692"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腎臓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38" name="テキスト ボックス 137"/>
          <p:cNvSpPr txBox="1"/>
          <p:nvPr/>
        </p:nvSpPr>
        <p:spPr>
          <a:xfrm>
            <a:off x="5991825" y="3769572"/>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a:t>
            </a:r>
            <a:br>
              <a:rPr lang="en-US" altLang="ja-JP" dirty="0">
                <a:solidFill>
                  <a:schemeClr val="bg1"/>
                </a:solidFill>
              </a:rPr>
            </a:br>
            <a:r>
              <a:rPr lang="ja-JP" altLang="en-US" dirty="0">
                <a:solidFill>
                  <a:schemeClr val="bg1"/>
                </a:solidFill>
              </a:rPr>
              <a:t>呼吸器病</a:t>
            </a:r>
          </a:p>
        </p:txBody>
      </p:sp>
      <p:sp>
        <p:nvSpPr>
          <p:cNvPr id="177" name="テキスト ボックス 176"/>
          <p:cNvSpPr txBox="1"/>
          <p:nvPr/>
        </p:nvSpPr>
        <p:spPr>
          <a:xfrm>
            <a:off x="5533420" y="3752366"/>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8" name="左中かっこ 117"/>
          <p:cNvSpPr/>
          <p:nvPr/>
        </p:nvSpPr>
        <p:spPr>
          <a:xfrm rot="5400000">
            <a:off x="7106682" y="3403366"/>
            <a:ext cx="82541" cy="441174"/>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p:nvPr/>
        </p:nvSpPr>
        <p:spPr>
          <a:xfrm>
            <a:off x="5241032" y="2920080"/>
            <a:ext cx="1815541" cy="438582"/>
          </a:xfrm>
          <a:prstGeom prst="rect">
            <a:avLst/>
          </a:prstGeom>
          <a:noFill/>
          <a:ln>
            <a:solidFill>
              <a:schemeClr val="tx1">
                <a:lumMod val="50000"/>
                <a:lumOff val="50000"/>
              </a:schemeClr>
            </a:solidFill>
          </a:ln>
        </p:spPr>
        <p:txBody>
          <a:bodyPr wrap="square" rtlCol="0">
            <a:spAutoFit/>
          </a:bodyPr>
          <a:lstStyle/>
          <a:p>
            <a:r>
              <a:rPr lang="ja-JP" altLang="en-US" sz="750" dirty="0">
                <a:latin typeface="Arial" panose="020B0604020202020204" pitchFamily="34" charset="0"/>
                <a:ea typeface="ＭＳ Ｐゴシック" panose="020B0600070205080204" pitchFamily="50" charset="-128"/>
                <a:cs typeface="Arial" panose="020B0604020202020204" pitchFamily="34" charset="0"/>
              </a:rPr>
              <a:t>その他の非感染症／物質使用障害／</a:t>
            </a:r>
          </a:p>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皮膚及び皮下疾患／筋骨格系疾患</a:t>
            </a:r>
          </a:p>
          <a:p>
            <a:r>
              <a:rPr lang="en-US" altLang="ja-JP" sz="7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7" name="直線コネクタ 96"/>
          <p:cNvCxnSpPr/>
          <p:nvPr/>
        </p:nvCxnSpPr>
        <p:spPr>
          <a:xfrm>
            <a:off x="6782039" y="3389202"/>
            <a:ext cx="375201" cy="20250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左中かっこ 179"/>
          <p:cNvSpPr/>
          <p:nvPr/>
        </p:nvSpPr>
        <p:spPr>
          <a:xfrm rot="5400000">
            <a:off x="8166634" y="3388897"/>
            <a:ext cx="89596" cy="463057"/>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08" name="テキスト ボックス 107"/>
          <p:cNvSpPr txBox="1"/>
          <p:nvPr/>
        </p:nvSpPr>
        <p:spPr>
          <a:xfrm>
            <a:off x="7306900" y="2674113"/>
            <a:ext cx="2110596" cy="669414"/>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妊産婦・新生児の障害／</a:t>
            </a:r>
            <a:endParaRPr lang="en-US" altLang="ja-JP" sz="750" dirty="0"/>
          </a:p>
          <a:p>
            <a:r>
              <a:rPr lang="en-US" altLang="ja-JP" sz="750" dirty="0"/>
              <a:t>HIV /</a:t>
            </a:r>
            <a:r>
              <a:rPr lang="ja-JP" altLang="en-US" sz="750" dirty="0"/>
              <a:t>エイズ・性感染症／</a:t>
            </a:r>
          </a:p>
          <a:p>
            <a:r>
              <a:rPr lang="ja-JP" altLang="en-US" sz="750" dirty="0"/>
              <a:t>顧みられない熱帯病とマラリア／栄養失調</a:t>
            </a:r>
            <a:endParaRPr lang="en-US" altLang="ja-JP" sz="750" dirty="0"/>
          </a:p>
          <a:p>
            <a:r>
              <a:rPr lang="ja-JP" altLang="en-US" sz="750" dirty="0"/>
              <a:t>／腸管感染症／その他の感染症</a:t>
            </a:r>
          </a:p>
          <a:p>
            <a:r>
              <a:rPr lang="en-US" altLang="ja-JP" sz="750" dirty="0"/>
              <a:t>※</a:t>
            </a:r>
            <a:r>
              <a:rPr lang="ja-JP" altLang="en-US" sz="750" dirty="0"/>
              <a:t>割合の大きい順</a:t>
            </a:r>
          </a:p>
        </p:txBody>
      </p:sp>
      <p:cxnSp>
        <p:nvCxnSpPr>
          <p:cNvPr id="109" name="直線コネクタ 108"/>
          <p:cNvCxnSpPr/>
          <p:nvPr/>
        </p:nvCxnSpPr>
        <p:spPr>
          <a:xfrm>
            <a:off x="8206740" y="3352800"/>
            <a:ext cx="0" cy="2286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2" name="左中かっこ 131"/>
          <p:cNvSpPr/>
          <p:nvPr/>
        </p:nvSpPr>
        <p:spPr>
          <a:xfrm rot="16200000" flipV="1">
            <a:off x="5721034" y="5240974"/>
            <a:ext cx="55943" cy="37394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p:nvPr/>
        </p:nvSpPr>
        <p:spPr>
          <a:xfrm>
            <a:off x="4854350" y="6037513"/>
            <a:ext cx="1338828" cy="553998"/>
          </a:xfrm>
          <a:prstGeom prst="rect">
            <a:avLst/>
          </a:prstGeom>
          <a:noFill/>
          <a:ln>
            <a:solidFill>
              <a:schemeClr val="tx1">
                <a:lumMod val="50000"/>
                <a:lumOff val="50000"/>
              </a:schemeClr>
            </a:solidFill>
          </a:ln>
        </p:spPr>
        <p:txBody>
          <a:bodyPr wrap="non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神経疾患／物質使用障害／</a:t>
            </a:r>
          </a:p>
          <a:p>
            <a:r>
              <a:rPr lang="ja-JP" altLang="en-US" sz="750" dirty="0"/>
              <a:t>皮膚及び皮下疾患／</a:t>
            </a:r>
          </a:p>
          <a:p>
            <a:r>
              <a:rPr lang="ja-JP" altLang="en-US" sz="750" dirty="0"/>
              <a:t>筋骨格系疾患</a:t>
            </a:r>
          </a:p>
          <a:p>
            <a:r>
              <a:rPr lang="en-US" altLang="ja-JP" sz="750" dirty="0"/>
              <a:t>※</a:t>
            </a:r>
            <a:r>
              <a:rPr lang="ja-JP" altLang="en-US" sz="750" dirty="0"/>
              <a:t>割合の大きい順</a:t>
            </a:r>
          </a:p>
        </p:txBody>
      </p:sp>
      <p:cxnSp>
        <p:nvCxnSpPr>
          <p:cNvPr id="183" name="直線コネクタ 182"/>
          <p:cNvCxnSpPr>
            <a:stCxn id="132" idx="1"/>
            <a:endCxn id="171" idx="0"/>
          </p:cNvCxnSpPr>
          <p:nvPr/>
        </p:nvCxnSpPr>
        <p:spPr>
          <a:xfrm flipH="1">
            <a:off x="5523764" y="5455920"/>
            <a:ext cx="225242" cy="58159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1" name="テキスト ボックス 130"/>
          <p:cNvSpPr txBox="1"/>
          <p:nvPr/>
        </p:nvSpPr>
        <p:spPr>
          <a:xfrm>
            <a:off x="7469189" y="6037513"/>
            <a:ext cx="1582968"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栄養失調／その他の感染症／</a:t>
            </a:r>
          </a:p>
          <a:p>
            <a:r>
              <a:rPr lang="ja-JP" altLang="en-US" sz="750" dirty="0"/>
              <a:t>顧みられない熱帯病とマラリア／</a:t>
            </a:r>
          </a:p>
          <a:p>
            <a:r>
              <a:rPr lang="en-US" altLang="ja-JP" sz="750" dirty="0"/>
              <a:t>HIV /</a:t>
            </a:r>
            <a:r>
              <a:rPr lang="ja-JP" altLang="en-US" sz="750" dirty="0"/>
              <a:t>エイズ・性感染症</a:t>
            </a:r>
          </a:p>
          <a:p>
            <a:r>
              <a:rPr lang="en-US" altLang="ja-JP" sz="750" dirty="0"/>
              <a:t>※</a:t>
            </a:r>
            <a:r>
              <a:rPr lang="ja-JP" altLang="en-US" sz="750" dirty="0"/>
              <a:t>割合の大きい順</a:t>
            </a:r>
          </a:p>
        </p:txBody>
      </p:sp>
      <p:sp>
        <p:nvSpPr>
          <p:cNvPr id="175" name="左中かっこ 174"/>
          <p:cNvSpPr/>
          <p:nvPr/>
        </p:nvSpPr>
        <p:spPr>
          <a:xfrm rot="16200000" flipV="1">
            <a:off x="8026175" y="5161056"/>
            <a:ext cx="55944" cy="533784"/>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84" name="直線コネクタ 183"/>
          <p:cNvCxnSpPr>
            <a:stCxn id="175" idx="1"/>
            <a:endCxn id="131" idx="0"/>
          </p:cNvCxnSpPr>
          <p:nvPr/>
        </p:nvCxnSpPr>
        <p:spPr>
          <a:xfrm>
            <a:off x="8054147" y="5455920"/>
            <a:ext cx="206526" cy="58159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3" name="テキスト ボックス 112"/>
          <p:cNvSpPr txBox="1"/>
          <p:nvPr/>
        </p:nvSpPr>
        <p:spPr>
          <a:xfrm>
            <a:off x="9068797" y="3762032"/>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2" name="テキスト ボックス 61"/>
          <p:cNvSpPr txBox="1"/>
          <p:nvPr/>
        </p:nvSpPr>
        <p:spPr>
          <a:xfrm>
            <a:off x="8948356" y="5040714"/>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3" name="テキスト ボックス 142"/>
          <p:cNvSpPr txBox="1"/>
          <p:nvPr/>
        </p:nvSpPr>
        <p:spPr>
          <a:xfrm flipH="1">
            <a:off x="8619809" y="3727310"/>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63" name="テキスト ボックス 62"/>
          <p:cNvSpPr txBox="1"/>
          <p:nvPr/>
        </p:nvSpPr>
        <p:spPr>
          <a:xfrm flipH="1">
            <a:off x="8475029" y="4992230"/>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98" name="正方形/長方形 97"/>
          <p:cNvSpPr/>
          <p:nvPr/>
        </p:nvSpPr>
        <p:spPr>
          <a:xfrm>
            <a:off x="9281550" y="3728430"/>
            <a:ext cx="473206" cy="323165"/>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64" name="正方形/長方形 63"/>
          <p:cNvSpPr/>
          <p:nvPr/>
        </p:nvSpPr>
        <p:spPr>
          <a:xfrm>
            <a:off x="9199436" y="4998465"/>
            <a:ext cx="473206" cy="323165"/>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65" name="テキスト ボックス 64"/>
          <p:cNvSpPr txBox="1"/>
          <p:nvPr/>
        </p:nvSpPr>
        <p:spPr>
          <a:xfrm>
            <a:off x="6040980" y="5001976"/>
            <a:ext cx="51011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妊産婦・新生児</a:t>
            </a:r>
            <a:endParaRPr lang="en-US" altLang="ja-JP" dirty="0"/>
          </a:p>
          <a:p>
            <a:r>
              <a:rPr lang="ja-JP" altLang="en-US" dirty="0"/>
              <a:t>の障害</a:t>
            </a:r>
          </a:p>
        </p:txBody>
      </p:sp>
      <p:sp>
        <p:nvSpPr>
          <p:cNvPr id="67" name="テキスト ボックス 66"/>
          <p:cNvSpPr txBox="1"/>
          <p:nvPr/>
        </p:nvSpPr>
        <p:spPr>
          <a:xfrm>
            <a:off x="6755283" y="5052652"/>
            <a:ext cx="551617"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感染症</a:t>
            </a:r>
            <a:endParaRPr kumimoji="1"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8" name="テキスト ボックス 67"/>
          <p:cNvSpPr txBox="1"/>
          <p:nvPr/>
        </p:nvSpPr>
        <p:spPr>
          <a:xfrm>
            <a:off x="7404518" y="3799382"/>
            <a:ext cx="551617"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感染症</a:t>
            </a:r>
            <a:endParaRPr kumimoji="1"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0" name="テキスト ボックス 79"/>
          <p:cNvSpPr txBox="1"/>
          <p:nvPr/>
        </p:nvSpPr>
        <p:spPr>
          <a:xfrm>
            <a:off x="7430683" y="5030873"/>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腸管</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感染症</a:t>
            </a:r>
          </a:p>
        </p:txBody>
      </p:sp>
      <p:sp>
        <p:nvSpPr>
          <p:cNvPr id="72" name="テキスト ボックス 115">
            <a:extLst>
              <a:ext uri="{FF2B5EF4-FFF2-40B4-BE49-F238E27FC236}">
                <a16:creationId xmlns:a16="http://schemas.microsoft.com/office/drawing/2014/main" id="{07C08360-8512-4064-A741-BA02D121B6BA}"/>
              </a:ext>
            </a:extLst>
          </p:cNvPr>
          <p:cNvSpPr txBox="1"/>
          <p:nvPr/>
        </p:nvSpPr>
        <p:spPr>
          <a:xfrm>
            <a:off x="6569831" y="3772037"/>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神経</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743862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ブラジル／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648744" y="1810178"/>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144688" y="1499614"/>
            <a:ext cx="561662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sz="1400" dirty="0">
                  <a:solidFill>
                    <a:srgbClr val="000000"/>
                  </a:solidFill>
                  <a:latin typeface="Arial Black" pitchFamily="34" charset="0"/>
                  <a:ea typeface="HGP創英角ｺﾞｼｯｸUB" pitchFamily="50" charset="-128"/>
                </a:rPr>
                <a:t> </a:t>
              </a: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1158496344"/>
              </p:ext>
            </p:extLst>
          </p:nvPr>
        </p:nvGraphicFramePr>
        <p:xfrm>
          <a:off x="2648744" y="2034533"/>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6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9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前立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6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胃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6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乳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4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0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食道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8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頸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白血病</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肝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膀胱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喉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卵巣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胆嚢・胆管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腎臓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甲状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中皮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鼻咽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精巣腫瘍</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230664" y="1817376"/>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3925972449"/>
              </p:ext>
            </p:extLst>
          </p:nvPr>
        </p:nvGraphicFramePr>
        <p:xfrm>
          <a:off x="5230664" y="2041731"/>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2.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9.2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1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5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大動脈瘤</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抹消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内膜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1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30664" y="4354056"/>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extLst>
              <p:ext uri="{D42A27DB-BD31-4B8C-83A1-F6EECF244321}">
                <p14:modId xmlns:p14="http://schemas.microsoft.com/office/powerpoint/2010/main" val="265767358"/>
              </p:ext>
            </p:extLst>
          </p:nvPr>
        </p:nvGraphicFramePr>
        <p:xfrm>
          <a:off x="5230664" y="4578411"/>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糖尿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4.6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慢性腎臓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3.0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35730" y="6218541"/>
            <a:ext cx="2408914" cy="3693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0" y="1034963"/>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死亡要因を小分類別で見ると、「</a:t>
            </a:r>
            <a:r>
              <a:rPr lang="zh-CN" altLang="en-US" sz="1400" dirty="0">
                <a:solidFill>
                  <a:srgbClr val="000000"/>
                </a:solidFill>
                <a:latin typeface="ＭＳ Ｐゴシック" panose="020B0600070205080204" pitchFamily="50" charset="-128"/>
                <a:ea typeface="ＭＳ Ｐゴシック" panose="020B0600070205080204" pitchFamily="50" charset="-128"/>
              </a:rPr>
              <a:t>虚血性心疾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脳血管疾患」がそれぞ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高く、次いで「糖尿病」</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慢性腎臓病」</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いう内訳に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025" y="6686217"/>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5078479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8437823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56" imgW="360" imgH="360" progId="TCLayout.ActiveDocument.1">
                  <p:embed/>
                </p:oleObj>
              </mc:Choice>
              <mc:Fallback>
                <p:oleObj name="think-cell Slide" r:id="rId56" imgW="360" imgH="360" progId="TCLayout.ActiveDocument.1">
                  <p:embed/>
                  <p:pic>
                    <p:nvPicPr>
                      <p:cNvPr id="14" name="Object 13" hidden="1"/>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ブラジル／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endParaRPr lang="en-US" altLang="ja-JP" dirty="0"/>
          </a:p>
        </p:txBody>
      </p:sp>
      <p:grpSp>
        <p:nvGrpSpPr>
          <p:cNvPr id="4" name="グループ化 7"/>
          <p:cNvGrpSpPr/>
          <p:nvPr/>
        </p:nvGrpSpPr>
        <p:grpSpPr>
          <a:xfrm>
            <a:off x="200471" y="1772816"/>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別施設数の推移</a:t>
              </a:r>
            </a:p>
          </p:txBody>
        </p:sp>
      </p:grpSp>
      <p:grpSp>
        <p:nvGrpSpPr>
          <p:cNvPr id="7" name="グループ化 7"/>
          <p:cNvGrpSpPr/>
          <p:nvPr/>
        </p:nvGrpSpPr>
        <p:grpSpPr>
          <a:xfrm>
            <a:off x="5169024" y="1772816"/>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0" name="テキスト ボックス 19"/>
          <p:cNvSpPr txBox="1"/>
          <p:nvPr/>
        </p:nvSpPr>
        <p:spPr>
          <a:xfrm>
            <a:off x="5169024"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1" name="テキスト ボックス 20"/>
          <p:cNvSpPr txBox="1"/>
          <p:nvPr/>
        </p:nvSpPr>
        <p:spPr>
          <a:xfrm>
            <a:off x="9201472" y="206084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4" name="テキスト ボックス 17"/>
          <p:cNvSpPr txBox="1"/>
          <p:nvPr/>
        </p:nvSpPr>
        <p:spPr>
          <a:xfrm>
            <a:off x="195479" y="6527861"/>
            <a:ext cx="712879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Development Indicato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政府統計（</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DataS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58">
                  <a:extLst>
                    <a:ext uri="{A12FA001-AC4F-418D-AE19-62706E023703}">
                      <ahyp:hlinkClr xmlns:ahyp="http://schemas.microsoft.com/office/drawing/2018/hyperlinkcolor" val="tx"/>
                    </a:ext>
                  </a:extLst>
                </a:hlinkClick>
              </a:rPr>
              <a:t>https://datasus.saude.gov.br/</a:t>
            </a:r>
            <a:r>
              <a:rPr lang="ja-JP" altLang="en-US" sz="800" dirty="0">
                <a:latin typeface="Arial" panose="020B0604020202020204" pitchFamily="34" charset="0"/>
                <a:ea typeface="ＭＳ Ｐゴシック" panose="020B0600070205080204" pitchFamily="50" charset="-128"/>
                <a:cs typeface="Arial" panose="020B0604020202020204" pitchFamily="34" charset="0"/>
                <a:hlinkClick r:id="rId58">
                  <a:extLst>
                    <a:ext uri="{A12FA001-AC4F-418D-AE19-62706E023703}">
                      <ahyp:hlinkClr xmlns:ahyp="http://schemas.microsoft.com/office/drawing/2018/hyperlinkcolor" val="tx"/>
                    </a:ext>
                  </a:extLst>
                </a:hlinkClick>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53" name="Chart 252">
            <a:extLst>
              <a:ext uri="{FF2B5EF4-FFF2-40B4-BE49-F238E27FC236}">
                <a16:creationId xmlns:a16="http://schemas.microsoft.com/office/drawing/2014/main" id="{BE7B2F9A-7838-43F8-BBAE-A520575E4AF6}"/>
              </a:ext>
            </a:extLst>
          </p:cNvPr>
          <p:cNvGraphicFramePr/>
          <p:nvPr>
            <p:custDataLst>
              <p:tags r:id="rId4"/>
            </p:custDataLst>
            <p:extLst>
              <p:ext uri="{D42A27DB-BD31-4B8C-83A1-F6EECF244321}">
                <p14:modId xmlns:p14="http://schemas.microsoft.com/office/powerpoint/2010/main" val="2685974169"/>
              </p:ext>
            </p:extLst>
          </p:nvPr>
        </p:nvGraphicFramePr>
        <p:xfrm>
          <a:off x="4999038" y="2144713"/>
          <a:ext cx="4597400" cy="3659187"/>
        </p:xfrm>
        <a:graphic>
          <a:graphicData uri="http://schemas.openxmlformats.org/drawingml/2006/chart">
            <c:chart xmlns:c="http://schemas.openxmlformats.org/drawingml/2006/chart" xmlns:r="http://schemas.openxmlformats.org/officeDocument/2006/relationships" r:id="rId59"/>
          </a:graphicData>
        </a:graphic>
      </p:graphicFrame>
      <p:sp>
        <p:nvSpPr>
          <p:cNvPr id="29" name="テキスト プレースホルダ 9"/>
          <p:cNvSpPr>
            <a:spLocks noGrp="1"/>
          </p:cNvSpPr>
          <p:nvPr>
            <p:custDataLst>
              <p:tags r:id="rId5"/>
            </p:custDataLst>
          </p:nvPr>
        </p:nvSpPr>
        <p:spPr bwMode="auto">
          <a:xfrm>
            <a:off x="5748338" y="57912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DF3272-7E07-401D-BB8B-2B0453D7DBCA}" type="datetime'''''''''''''''2''''''0''''''1''''''''''''''''''''''''''3'''''">
              <a:rPr lang="en-US" altLang="en-US" sz="1000" smtClean="0"/>
              <a:pPr marL="0" indent="0" algn="ctr">
                <a:spcBef>
                  <a:spcPct val="0"/>
                </a:spcBef>
                <a:buNone/>
              </a:pPr>
              <a:t>2013</a:t>
            </a:fld>
            <a:endParaRPr kumimoji="0" lang="ja-JP" altLang="en-US" sz="1000" dirty="0">
              <a:sym typeface="+mn-lt"/>
            </a:endParaRPr>
          </a:p>
        </p:txBody>
      </p:sp>
      <p:sp>
        <p:nvSpPr>
          <p:cNvPr id="26" name="テキスト プレースホルダ 9"/>
          <p:cNvSpPr>
            <a:spLocks noGrp="1"/>
          </p:cNvSpPr>
          <p:nvPr>
            <p:custDataLst>
              <p:tags r:id="rId6"/>
            </p:custDataLst>
          </p:nvPr>
        </p:nvSpPr>
        <p:spPr bwMode="auto">
          <a:xfrm>
            <a:off x="6259513"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1E6EA1-8C76-4578-94F6-AC26D219CFA5}" type="datetime'''''''''''''''''''''''''''1''''''''''''''4'''''''">
              <a:rPr lang="ja-JP" altLang="en-US" sz="1000"/>
              <a:pPr marL="0" indent="0" algn="ctr">
                <a:spcBef>
                  <a:spcPct val="0"/>
                </a:spcBef>
                <a:buNone/>
              </a:pPr>
              <a:t>14</a:t>
            </a:fld>
            <a:endParaRPr kumimoji="0" lang="ja-JP" altLang="en-US" sz="1000" dirty="0">
              <a:sym typeface="+mn-lt"/>
            </a:endParaRPr>
          </a:p>
        </p:txBody>
      </p:sp>
      <p:sp>
        <p:nvSpPr>
          <p:cNvPr id="31" name="テキスト プレースホルダ 9"/>
          <p:cNvSpPr>
            <a:spLocks noGrp="1"/>
          </p:cNvSpPr>
          <p:nvPr>
            <p:custDataLst>
              <p:tags r:id="rId7"/>
            </p:custDataLst>
          </p:nvPr>
        </p:nvSpPr>
        <p:spPr bwMode="auto">
          <a:xfrm>
            <a:off x="6699250"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9A2CAB-686F-49C2-B3D6-6E66F6FBCFCA}" type="datetime'''''''1''''''''''''''''''5'''''''''''''''''''''">
              <a:rPr lang="ja-JP" altLang="en-US" sz="1000"/>
              <a:pPr marL="0" indent="0" algn="ctr">
                <a:spcBef>
                  <a:spcPct val="0"/>
                </a:spcBef>
                <a:buNone/>
              </a:pPr>
              <a:t>15</a:t>
            </a:fld>
            <a:endParaRPr kumimoji="0" lang="ja-JP" altLang="en-US" sz="1000" dirty="0">
              <a:sym typeface="+mn-lt"/>
            </a:endParaRPr>
          </a:p>
        </p:txBody>
      </p:sp>
      <p:sp>
        <p:nvSpPr>
          <p:cNvPr id="27" name="テキスト プレースホルダ 9"/>
          <p:cNvSpPr>
            <a:spLocks noGrp="1"/>
          </p:cNvSpPr>
          <p:nvPr>
            <p:custDataLst>
              <p:tags r:id="rId8"/>
            </p:custDataLst>
          </p:nvPr>
        </p:nvSpPr>
        <p:spPr bwMode="auto">
          <a:xfrm>
            <a:off x="714057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EA080B-0221-4D26-A46B-0A2059FD1203}" type="datetime'''''''''''''''''1''''''''''''6'''''''''''''''">
              <a:rPr lang="ja-JP" altLang="en-US" sz="1000"/>
              <a:pPr marL="0" indent="0" algn="ctr">
                <a:spcBef>
                  <a:spcPct val="0"/>
                </a:spcBef>
                <a:buNone/>
              </a:pPr>
              <a:t>16</a:t>
            </a:fld>
            <a:endParaRPr kumimoji="0" lang="ja-JP" altLang="en-US" sz="1000" dirty="0">
              <a:sym typeface="+mn-lt"/>
            </a:endParaRPr>
          </a:p>
        </p:txBody>
      </p:sp>
      <p:sp>
        <p:nvSpPr>
          <p:cNvPr id="28" name="テキスト プレースホルダ 9"/>
          <p:cNvSpPr>
            <a:spLocks noGrp="1"/>
          </p:cNvSpPr>
          <p:nvPr>
            <p:custDataLst>
              <p:tags r:id="rId9"/>
            </p:custDataLst>
          </p:nvPr>
        </p:nvSpPr>
        <p:spPr bwMode="auto">
          <a:xfrm>
            <a:off x="7581900"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B90D68-00A9-47FF-9433-037DA41C801F}" type="datetime'''''''''''1''''''''7'''''''''''''''''''''''''''''''''''''">
              <a:rPr lang="ja-JP" altLang="en-US" sz="1000"/>
              <a:pPr marL="0" indent="0" algn="ctr">
                <a:spcBef>
                  <a:spcPct val="0"/>
                </a:spcBef>
                <a:buNone/>
              </a:pPr>
              <a:t>17</a:t>
            </a:fld>
            <a:endParaRPr kumimoji="0" lang="ja-JP" altLang="en-US" sz="1000" dirty="0">
              <a:sym typeface="+mn-lt"/>
            </a:endParaRPr>
          </a:p>
        </p:txBody>
      </p:sp>
      <p:sp>
        <p:nvSpPr>
          <p:cNvPr id="161" name="テキスト プレースホルダ 9"/>
          <p:cNvSpPr>
            <a:spLocks noGrp="1"/>
          </p:cNvSpPr>
          <p:nvPr>
            <p:custDataLst>
              <p:tags r:id="rId10"/>
            </p:custDataLst>
          </p:nvPr>
        </p:nvSpPr>
        <p:spPr bwMode="auto">
          <a:xfrm>
            <a:off x="802322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B2B770-D97E-4EFE-BB64-8BA299264E0E}" type="datetime'''''''''''''''''''''''''1''''''''''''''''''''''''''''''8'''">
              <a:rPr lang="ja-JP" altLang="en-US" sz="1000" smtClean="0"/>
              <a:pPr marL="0" indent="0" algn="ctr">
                <a:spcBef>
                  <a:spcPct val="0"/>
                </a:spcBef>
                <a:buNone/>
              </a:pPr>
              <a:t>18</a:t>
            </a:fld>
            <a:endParaRPr kumimoji="0" lang="ja-JP" altLang="en-US" sz="1000" dirty="0">
              <a:sym typeface="+mn-lt"/>
            </a:endParaRPr>
          </a:p>
        </p:txBody>
      </p:sp>
      <p:sp>
        <p:nvSpPr>
          <p:cNvPr id="52" name="テキスト プレースホルダ 9"/>
          <p:cNvSpPr>
            <a:spLocks noGrp="1"/>
          </p:cNvSpPr>
          <p:nvPr>
            <p:custDataLst>
              <p:tags r:id="rId11"/>
            </p:custDataLst>
          </p:nvPr>
        </p:nvSpPr>
        <p:spPr bwMode="auto">
          <a:xfrm>
            <a:off x="8462963"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7CCA1E-F787-42D0-B84B-45930C7F68F1}" type="datetime'''''''''''''''''1''''''''''9'''''''''''''''''''''''''''''">
              <a:rPr lang="en-US" altLang="en-US" sz="1000" smtClean="0"/>
              <a:pPr marL="0" indent="0" algn="ctr">
                <a:spcBef>
                  <a:spcPct val="0"/>
                </a:spcBef>
                <a:buNone/>
              </a:pPr>
              <a:t>19</a:t>
            </a:fld>
            <a:endParaRPr kumimoji="0" lang="ja-JP" altLang="en-US" sz="1000" dirty="0">
              <a:sym typeface="+mn-lt"/>
            </a:endParaRPr>
          </a:p>
        </p:txBody>
      </p:sp>
      <p:sp>
        <p:nvSpPr>
          <p:cNvPr id="169" name="テキスト プレースホルダ 9">
            <a:extLst>
              <a:ext uri="{FF2B5EF4-FFF2-40B4-BE49-F238E27FC236}">
                <a16:creationId xmlns:a16="http://schemas.microsoft.com/office/drawing/2014/main" id="{26BF89E3-C944-48D3-8444-A9CC65331A0E}"/>
              </a:ext>
            </a:extLst>
          </p:cNvPr>
          <p:cNvSpPr>
            <a:spLocks noGrp="1"/>
          </p:cNvSpPr>
          <p:nvPr>
            <p:custDataLst>
              <p:tags r:id="rId12"/>
            </p:custDataLst>
          </p:nvPr>
        </p:nvSpPr>
        <p:spPr bwMode="auto">
          <a:xfrm>
            <a:off x="8904288"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376EAC-C313-46E9-B9A0-8B6E9749A11C}" type="datetime'''''''''''''''''''''2''''''0'''''">
              <a:rPr kumimoji="0" lang="ja-JP" altLang="en-US" sz="1000" smtClean="0"/>
              <a:pPr/>
              <a:t>20</a:t>
            </a:fld>
            <a:endParaRPr kumimoji="0" lang="ja-JP" altLang="en-US" sz="1000" dirty="0">
              <a:sym typeface="+mn-lt"/>
            </a:endParaRPr>
          </a:p>
        </p:txBody>
      </p:sp>
      <p:sp>
        <p:nvSpPr>
          <p:cNvPr id="32" name="Rectangle 31"/>
          <p:cNvSpPr/>
          <p:nvPr>
            <p:custDataLst>
              <p:tags r:id="rId13"/>
            </p:custDataLst>
          </p:nvPr>
        </p:nvSpPr>
        <p:spPr bwMode="gray">
          <a:xfrm>
            <a:off x="6489700" y="60055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0" name="Straight Connector 39">
            <a:extLst>
              <a:ext uri="{FF2B5EF4-FFF2-40B4-BE49-F238E27FC236}">
                <a16:creationId xmlns:a16="http://schemas.microsoft.com/office/drawing/2014/main" id="{10230AB3-E8F5-4677-8DD7-492979969833}"/>
              </a:ext>
            </a:extLst>
          </p:cNvPr>
          <p:cNvCxnSpPr/>
          <p:nvPr>
            <p:custDataLst>
              <p:tags r:id="rId14"/>
            </p:custDataLst>
          </p:nvPr>
        </p:nvCxnSpPr>
        <p:spPr bwMode="gray">
          <a:xfrm>
            <a:off x="7202488" y="6072188"/>
            <a:ext cx="26511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 name="Oval 33"/>
          <p:cNvSpPr/>
          <p:nvPr>
            <p:custDataLst>
              <p:tags r:id="rId15"/>
            </p:custDataLst>
          </p:nvPr>
        </p:nvSpPr>
        <p:spPr bwMode="gray">
          <a:xfrm>
            <a:off x="7296150" y="6034088"/>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プレースホルダ 9"/>
          <p:cNvSpPr>
            <a:spLocks noGrp="1"/>
          </p:cNvSpPr>
          <p:nvPr>
            <p:custDataLst>
              <p:tags r:id="rId16"/>
            </p:custDataLst>
          </p:nvPr>
        </p:nvSpPr>
        <p:spPr bwMode="auto">
          <a:xfrm>
            <a:off x="7518400" y="6000750"/>
            <a:ext cx="11191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a:t>
            </a:r>
            <a:r>
              <a:rPr lang="ja-JP" altLang="en-US" sz="1000" dirty="0"/>
              <a:t>人あたり病床数</a:t>
            </a:r>
            <a:endParaRPr kumimoji="0" lang="ja-JP" altLang="en-US" sz="1000" dirty="0">
              <a:sym typeface="+mn-lt"/>
            </a:endParaRPr>
          </a:p>
        </p:txBody>
      </p:sp>
      <p:sp>
        <p:nvSpPr>
          <p:cNvPr id="36" name="テキスト プレースホルダ 9"/>
          <p:cNvSpPr>
            <a:spLocks noGrp="1"/>
          </p:cNvSpPr>
          <p:nvPr>
            <p:custDataLst>
              <p:tags r:id="rId17"/>
            </p:custDataLst>
          </p:nvPr>
        </p:nvSpPr>
        <p:spPr bwMode="auto">
          <a:xfrm>
            <a:off x="6719888" y="60007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病床数</a:t>
            </a:r>
          </a:p>
        </p:txBody>
      </p:sp>
      <p:graphicFrame>
        <p:nvGraphicFramePr>
          <p:cNvPr id="140" name="Chart 139">
            <a:extLst>
              <a:ext uri="{FF2B5EF4-FFF2-40B4-BE49-F238E27FC236}">
                <a16:creationId xmlns:a16="http://schemas.microsoft.com/office/drawing/2014/main" id="{356B7BD4-F724-4082-8D82-1E265DF820F1}"/>
              </a:ext>
            </a:extLst>
          </p:cNvPr>
          <p:cNvGraphicFramePr/>
          <p:nvPr>
            <p:custDataLst>
              <p:tags r:id="rId18"/>
            </p:custDataLst>
            <p:extLst>
              <p:ext uri="{D42A27DB-BD31-4B8C-83A1-F6EECF244321}">
                <p14:modId xmlns:p14="http://schemas.microsoft.com/office/powerpoint/2010/main" val="2625642625"/>
              </p:ext>
            </p:extLst>
          </p:nvPr>
        </p:nvGraphicFramePr>
        <p:xfrm>
          <a:off x="19050" y="2178050"/>
          <a:ext cx="4800600" cy="3625850"/>
        </p:xfrm>
        <a:graphic>
          <a:graphicData uri="http://schemas.openxmlformats.org/drawingml/2006/chart">
            <c:chart xmlns:c="http://schemas.openxmlformats.org/drawingml/2006/chart" xmlns:r="http://schemas.openxmlformats.org/officeDocument/2006/relationships" r:id="rId60"/>
          </a:graphicData>
        </a:graphic>
      </p:graphicFrame>
      <p:sp>
        <p:nvSpPr>
          <p:cNvPr id="48" name="テキスト プレースホルダ 9"/>
          <p:cNvSpPr>
            <a:spLocks noGrp="1"/>
          </p:cNvSpPr>
          <p:nvPr>
            <p:custDataLst>
              <p:tags r:id="rId19"/>
            </p:custDataLst>
          </p:nvPr>
        </p:nvSpPr>
        <p:spPr bwMode="auto">
          <a:xfrm>
            <a:off x="3876675"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DAA16B-DE1C-44EE-A63B-13A181A56EA8}" type="datetime'''''1''''''''9'''''''''''">
              <a:rPr lang="ja-JP" altLang="en-US" sz="1000" smtClean="0"/>
              <a:pPr/>
              <a:t>19</a:t>
            </a:fld>
            <a:endParaRPr kumimoji="0" lang="ja-JP" altLang="en-US" sz="1000" dirty="0">
              <a:sym typeface="+mn-lt"/>
            </a:endParaRPr>
          </a:p>
        </p:txBody>
      </p:sp>
      <p:sp>
        <p:nvSpPr>
          <p:cNvPr id="129" name="テキスト プレースホルダ 9">
            <a:extLst>
              <a:ext uri="{FF2B5EF4-FFF2-40B4-BE49-F238E27FC236}">
                <a16:creationId xmlns:a16="http://schemas.microsoft.com/office/drawing/2014/main" id="{5D633374-ADD1-40BF-9D25-C2EF6A212BA6}"/>
              </a:ext>
            </a:extLst>
          </p:cNvPr>
          <p:cNvSpPr>
            <a:spLocks noGrp="1"/>
          </p:cNvSpPr>
          <p:nvPr>
            <p:custDataLst>
              <p:tags r:id="rId20"/>
            </p:custDataLst>
          </p:nvPr>
        </p:nvSpPr>
        <p:spPr bwMode="gray">
          <a:xfrm>
            <a:off x="1685925" y="4700588"/>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6F8C62-8622-4325-831E-C2FD31822C4F}" type="datetime'''''''''''''''''''''''4'',''''''''''3''''''''''3''''''6'''">
              <a:rPr lang="ja-JP" altLang="en-US" sz="1000" smtClean="0">
                <a:effectLst/>
                <a:sym typeface="+mn-lt"/>
              </a:rPr>
              <a:pPr marL="0" indent="0" algn="ctr">
                <a:spcBef>
                  <a:spcPct val="0"/>
                </a:spcBef>
                <a:buNone/>
              </a:pPr>
              <a:t>4,336</a:t>
            </a:fld>
            <a:endParaRPr lang="ja-JP" altLang="en-US" sz="1000" dirty="0">
              <a:sym typeface="+mn-lt"/>
            </a:endParaRPr>
          </a:p>
        </p:txBody>
      </p:sp>
      <p:sp>
        <p:nvSpPr>
          <p:cNvPr id="79" name="テキスト プレースホルダ 9"/>
          <p:cNvSpPr>
            <a:spLocks noGrp="1"/>
          </p:cNvSpPr>
          <p:nvPr>
            <p:custDataLst>
              <p:tags r:id="rId21"/>
            </p:custDataLst>
          </p:nvPr>
        </p:nvSpPr>
        <p:spPr bwMode="auto">
          <a:xfrm>
            <a:off x="1262063"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A01053-9FFD-4DD0-8904-6C58C8A6A9F8}" type="datetime'''''''''''''''''''''''''''1''''''''''''''''''''''4'''">
              <a:rPr lang="ja-JP" altLang="en-US" sz="1000" smtClean="0"/>
              <a:pPr/>
              <a:t>14</a:t>
            </a:fld>
            <a:endParaRPr kumimoji="0" lang="ja-JP" altLang="en-US" sz="1000" dirty="0">
              <a:sym typeface="+mn-lt"/>
            </a:endParaRPr>
          </a:p>
        </p:txBody>
      </p:sp>
      <p:sp>
        <p:nvSpPr>
          <p:cNvPr id="114" name="テキスト プレースホルダ 9"/>
          <p:cNvSpPr>
            <a:spLocks noGrp="1"/>
          </p:cNvSpPr>
          <p:nvPr>
            <p:custDataLst>
              <p:tags r:id="rId22"/>
            </p:custDataLst>
          </p:nvPr>
        </p:nvSpPr>
        <p:spPr bwMode="auto">
          <a:xfrm>
            <a:off x="3352800"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04A05E-E048-469B-8BFB-54A2592C6F73}" type="datetime'''''''''''''''1''8'''''">
              <a:rPr lang="ja-JP" altLang="en-US" sz="1000" smtClean="0"/>
              <a:pPr/>
              <a:t>18</a:t>
            </a:fld>
            <a:endParaRPr kumimoji="0" lang="ja-JP" altLang="en-US" sz="1000" dirty="0">
              <a:sym typeface="+mn-lt"/>
            </a:endParaRPr>
          </a:p>
        </p:txBody>
      </p:sp>
      <p:sp>
        <p:nvSpPr>
          <p:cNvPr id="80" name="テキスト プレースホルダ 9"/>
          <p:cNvSpPr>
            <a:spLocks noGrp="1"/>
          </p:cNvSpPr>
          <p:nvPr>
            <p:custDataLst>
              <p:tags r:id="rId23"/>
            </p:custDataLst>
          </p:nvPr>
        </p:nvSpPr>
        <p:spPr bwMode="auto">
          <a:xfrm>
            <a:off x="1784350"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93C78B-3331-422E-B811-3FEDEFA2BE49}" type="datetime'1''''''''''''''''''''''''''''5'''''''''''''''''">
              <a:rPr lang="ja-JP" altLang="en-US" sz="1000" smtClean="0"/>
              <a:pPr/>
              <a:t>15</a:t>
            </a:fld>
            <a:endParaRPr kumimoji="0" lang="ja-JP" altLang="en-US" sz="1000" dirty="0">
              <a:sym typeface="+mn-lt"/>
            </a:endParaRPr>
          </a:p>
        </p:txBody>
      </p:sp>
      <p:sp>
        <p:nvSpPr>
          <p:cNvPr id="112" name="テキスト プレースホルダ 9"/>
          <p:cNvSpPr>
            <a:spLocks noGrp="1"/>
          </p:cNvSpPr>
          <p:nvPr>
            <p:custDataLst>
              <p:tags r:id="rId24"/>
            </p:custDataLst>
          </p:nvPr>
        </p:nvSpPr>
        <p:spPr bwMode="auto">
          <a:xfrm>
            <a:off x="2308225"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9A39A4-90EF-42B4-8D9E-563A227A892B}" type="datetime'''''1''''''''''''''''''''''''''''6'''''''''">
              <a:rPr lang="ja-JP" altLang="en-US" sz="1000" smtClean="0"/>
              <a:pPr/>
              <a:t>16</a:t>
            </a:fld>
            <a:endParaRPr kumimoji="0" lang="ja-JP" altLang="en-US" sz="1000" dirty="0">
              <a:sym typeface="+mn-lt"/>
            </a:endParaRPr>
          </a:p>
        </p:txBody>
      </p:sp>
      <p:sp>
        <p:nvSpPr>
          <p:cNvPr id="124" name="テキスト プレースホルダ 9">
            <a:extLst>
              <a:ext uri="{FF2B5EF4-FFF2-40B4-BE49-F238E27FC236}">
                <a16:creationId xmlns:a16="http://schemas.microsoft.com/office/drawing/2014/main" id="{2AF7EA16-911D-4FCA-801D-58F529672E27}"/>
              </a:ext>
            </a:extLst>
          </p:cNvPr>
          <p:cNvSpPr>
            <a:spLocks noGrp="1"/>
          </p:cNvSpPr>
          <p:nvPr>
            <p:custDataLst>
              <p:tags r:id="rId25"/>
            </p:custDataLst>
          </p:nvPr>
        </p:nvSpPr>
        <p:spPr bwMode="gray">
          <a:xfrm>
            <a:off x="639763" y="3281363"/>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7CA87B-86FE-428F-A7B5-C2993C5A01F4}" type="datetime'''''''''''''''2'''''''''''''',2''''''''''''''''''''''''''''52'">
              <a:rPr lang="ja-JP" altLang="en-US" sz="1000" smtClean="0">
                <a:effectLst/>
                <a:sym typeface="+mn-lt"/>
              </a:rPr>
              <a:pPr marL="0" indent="0" algn="ctr">
                <a:spcBef>
                  <a:spcPct val="0"/>
                </a:spcBef>
                <a:buNone/>
              </a:pPr>
              <a:t>2,252</a:t>
            </a:fld>
            <a:endParaRPr lang="ja-JP" altLang="en-US" sz="1000" dirty="0">
              <a:sym typeface="+mn-lt"/>
            </a:endParaRPr>
          </a:p>
        </p:txBody>
      </p:sp>
      <p:sp>
        <p:nvSpPr>
          <p:cNvPr id="120" name="テキスト プレースホルダ 9"/>
          <p:cNvSpPr>
            <a:spLocks noGrp="1"/>
          </p:cNvSpPr>
          <p:nvPr>
            <p:custDataLst>
              <p:tags r:id="rId26"/>
            </p:custDataLst>
          </p:nvPr>
        </p:nvSpPr>
        <p:spPr bwMode="gray">
          <a:xfrm>
            <a:off x="2209800" y="2652713"/>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2C73FFF-55AC-4FE3-8C4F-06E47A512880}" type="datetime'''6'',''7''''''''''''0''9'''''''">
              <a:rPr lang="ja-JP" altLang="en-US" sz="1000" smtClean="0"/>
              <a:pPr/>
              <a:t>6,709</a:t>
            </a:fld>
            <a:endParaRPr kumimoji="0" lang="ja-JP" altLang="en-US" sz="1000" dirty="0">
              <a:sym typeface="+mn-lt"/>
            </a:endParaRPr>
          </a:p>
        </p:txBody>
      </p:sp>
      <p:sp>
        <p:nvSpPr>
          <p:cNvPr id="113" name="テキスト プレースホルダ 9"/>
          <p:cNvSpPr>
            <a:spLocks noGrp="1"/>
          </p:cNvSpPr>
          <p:nvPr>
            <p:custDataLst>
              <p:tags r:id="rId27"/>
            </p:custDataLst>
          </p:nvPr>
        </p:nvSpPr>
        <p:spPr bwMode="auto">
          <a:xfrm>
            <a:off x="2830513"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730F78-B60C-4B85-BA1B-8B12D43F3483}" type="datetime'''''1''''''''''''''''''''''''''''''''''''''''''''''7'">
              <a:rPr lang="ja-JP" altLang="en-US" sz="1000" smtClean="0"/>
              <a:pPr/>
              <a:t>17</a:t>
            </a:fld>
            <a:endParaRPr kumimoji="0" lang="ja-JP" altLang="en-US" sz="1000" dirty="0">
              <a:sym typeface="+mn-lt"/>
            </a:endParaRPr>
          </a:p>
        </p:txBody>
      </p:sp>
      <p:sp>
        <p:nvSpPr>
          <p:cNvPr id="131" name="テキスト プレースホルダ 9">
            <a:extLst>
              <a:ext uri="{FF2B5EF4-FFF2-40B4-BE49-F238E27FC236}">
                <a16:creationId xmlns:a16="http://schemas.microsoft.com/office/drawing/2014/main" id="{D30A8CD4-CD66-4F2F-A813-5FEE81EED4A9}"/>
              </a:ext>
            </a:extLst>
          </p:cNvPr>
          <p:cNvSpPr>
            <a:spLocks noGrp="1"/>
          </p:cNvSpPr>
          <p:nvPr>
            <p:custDataLst>
              <p:tags r:id="rId28"/>
            </p:custDataLst>
          </p:nvPr>
        </p:nvSpPr>
        <p:spPr bwMode="gray">
          <a:xfrm>
            <a:off x="2209800" y="4705350"/>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18E06E-17E7-47F6-8CDB-A805DB0AD70C}" type="datetime'4'',''''''''''3''''''''''''''''''''''''''''''''''''''1''3'''">
              <a:rPr lang="ja-JP" altLang="en-US" sz="1000" smtClean="0">
                <a:effectLst/>
                <a:sym typeface="+mn-lt"/>
              </a:rPr>
              <a:pPr marL="0" indent="0" algn="ctr">
                <a:spcBef>
                  <a:spcPct val="0"/>
                </a:spcBef>
                <a:buNone/>
              </a:pPr>
              <a:t>4,313</a:t>
            </a:fld>
            <a:endParaRPr lang="ja-JP" altLang="en-US" sz="1000" dirty="0">
              <a:sym typeface="+mn-lt"/>
            </a:endParaRPr>
          </a:p>
        </p:txBody>
      </p:sp>
      <p:sp>
        <p:nvSpPr>
          <p:cNvPr id="103" name="テキスト プレースホルダ 9"/>
          <p:cNvSpPr>
            <a:spLocks noGrp="1"/>
          </p:cNvSpPr>
          <p:nvPr>
            <p:custDataLst>
              <p:tags r:id="rId29"/>
            </p:custDataLst>
          </p:nvPr>
        </p:nvSpPr>
        <p:spPr bwMode="gray">
          <a:xfrm>
            <a:off x="639763" y="2697163"/>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24F79A-E2A9-43F2-BAC8-1283117F9EF2}" type="datetime'''''''''6'',''''''''6''''''''0''4'''''''''''''''''''''''''">
              <a:rPr lang="ja-JP" altLang="en-US" sz="1000" smtClean="0"/>
              <a:pPr/>
              <a:t>6,604</a:t>
            </a:fld>
            <a:endParaRPr kumimoji="0" lang="ja-JP" altLang="en-US" sz="1000" dirty="0">
              <a:sym typeface="+mn-lt"/>
            </a:endParaRPr>
          </a:p>
        </p:txBody>
      </p:sp>
      <p:sp>
        <p:nvSpPr>
          <p:cNvPr id="118" name="テキスト プレースホルダ 9">
            <a:extLst>
              <a:ext uri="{FF2B5EF4-FFF2-40B4-BE49-F238E27FC236}">
                <a16:creationId xmlns:a16="http://schemas.microsoft.com/office/drawing/2014/main" id="{F1D5A23A-FB5E-4C0E-B630-CA0EF33663BF}"/>
              </a:ext>
            </a:extLst>
          </p:cNvPr>
          <p:cNvSpPr>
            <a:spLocks noGrp="1"/>
          </p:cNvSpPr>
          <p:nvPr>
            <p:custDataLst>
              <p:tags r:id="rId30"/>
            </p:custDataLst>
          </p:nvPr>
        </p:nvSpPr>
        <p:spPr bwMode="gray">
          <a:xfrm>
            <a:off x="4300538" y="2514600"/>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4D9BBA0-04A8-468A-ACB2-3F89386D02EE}" type="datetime'7'''''''''''''''''''''''''''''''',''''''03''1'''''''''''''''''">
              <a:rPr lang="ja-JP" altLang="en-US" sz="1000" smtClean="0">
                <a:effectLst/>
                <a:sym typeface="+mn-lt"/>
              </a:rPr>
              <a:pPr marL="0" indent="0" algn="ctr">
                <a:spcBef>
                  <a:spcPct val="0"/>
                </a:spcBef>
                <a:buNone/>
              </a:pPr>
              <a:t>7,031</a:t>
            </a:fld>
            <a:endParaRPr lang="ja-JP" altLang="en-US" sz="1000" dirty="0">
              <a:sym typeface="+mn-lt"/>
            </a:endParaRPr>
          </a:p>
        </p:txBody>
      </p:sp>
      <p:sp>
        <p:nvSpPr>
          <p:cNvPr id="104" name="テキスト プレースホルダ 9"/>
          <p:cNvSpPr>
            <a:spLocks noGrp="1"/>
          </p:cNvSpPr>
          <p:nvPr>
            <p:custDataLst>
              <p:tags r:id="rId31"/>
            </p:custDataLst>
          </p:nvPr>
        </p:nvSpPr>
        <p:spPr bwMode="gray">
          <a:xfrm>
            <a:off x="1163638" y="2641600"/>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A7F13C-2D60-4837-820D-CA18EE3846ED}" type="datetime'''''''''''6'',''''''7''''''3''''5'">
              <a:rPr lang="ja-JP" altLang="en-US" sz="1000" smtClean="0"/>
              <a:pPr/>
              <a:t>6,735</a:t>
            </a:fld>
            <a:endParaRPr kumimoji="0" lang="ja-JP" altLang="en-US" sz="1000" dirty="0">
              <a:sym typeface="+mn-lt"/>
            </a:endParaRPr>
          </a:p>
        </p:txBody>
      </p:sp>
      <p:sp>
        <p:nvSpPr>
          <p:cNvPr id="105" name="テキスト プレースホルダ 9"/>
          <p:cNvSpPr>
            <a:spLocks noGrp="1"/>
          </p:cNvSpPr>
          <p:nvPr>
            <p:custDataLst>
              <p:tags r:id="rId32"/>
            </p:custDataLst>
          </p:nvPr>
        </p:nvSpPr>
        <p:spPr bwMode="gray">
          <a:xfrm>
            <a:off x="1685925" y="2655888"/>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5B5BC0-8D28-47C5-BBFE-F9BD7138085C}" type="datetime'''''''''''''''''''''''''''6'''''''''''',''''7''0''2'''">
              <a:rPr lang="ja-JP" altLang="en-US" sz="1000" smtClean="0"/>
              <a:pPr/>
              <a:t>6,702</a:t>
            </a:fld>
            <a:endParaRPr kumimoji="0" lang="ja-JP" altLang="en-US" sz="1000" dirty="0">
              <a:sym typeface="+mn-lt"/>
            </a:endParaRPr>
          </a:p>
        </p:txBody>
      </p:sp>
      <p:sp>
        <p:nvSpPr>
          <p:cNvPr id="136" name="テキスト プレースホルダ 9">
            <a:extLst>
              <a:ext uri="{FF2B5EF4-FFF2-40B4-BE49-F238E27FC236}">
                <a16:creationId xmlns:a16="http://schemas.microsoft.com/office/drawing/2014/main" id="{B969FD07-2866-455C-A7AF-C522B3765963}"/>
              </a:ext>
            </a:extLst>
          </p:cNvPr>
          <p:cNvSpPr>
            <a:spLocks noGrp="1"/>
          </p:cNvSpPr>
          <p:nvPr>
            <p:custDataLst>
              <p:tags r:id="rId33"/>
            </p:custDataLst>
          </p:nvPr>
        </p:nvSpPr>
        <p:spPr bwMode="gray">
          <a:xfrm>
            <a:off x="3778250" y="3265488"/>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4E5602-8583-46A7-AF8F-9C795976F20A}" type="datetime'''''''''''''2'''''',''''''''''''4''''''''''48'''''''''''''''''">
              <a:rPr lang="ja-JP" altLang="en-US" sz="1000" smtClean="0">
                <a:effectLst/>
                <a:sym typeface="+mn-lt"/>
              </a:rPr>
              <a:pPr marL="0" indent="0" algn="ctr">
                <a:spcBef>
                  <a:spcPct val="0"/>
                </a:spcBef>
                <a:buNone/>
              </a:pPr>
              <a:t>2,448</a:t>
            </a:fld>
            <a:endParaRPr lang="ja-JP" altLang="en-US" sz="1000" dirty="0">
              <a:sym typeface="+mn-lt"/>
            </a:endParaRPr>
          </a:p>
        </p:txBody>
      </p:sp>
      <p:sp>
        <p:nvSpPr>
          <p:cNvPr id="78" name="テキスト プレースホルダ 9"/>
          <p:cNvSpPr>
            <a:spLocks noGrp="1"/>
          </p:cNvSpPr>
          <p:nvPr>
            <p:custDataLst>
              <p:tags r:id="rId34"/>
            </p:custDataLst>
          </p:nvPr>
        </p:nvSpPr>
        <p:spPr bwMode="auto">
          <a:xfrm>
            <a:off x="668338" y="5748338"/>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A28A72-A39A-449D-AB8E-219FF72FE5B1}" type="datetime'''''''''2''''''0''1''''''''3'''''''''">
              <a:rPr lang="ja-JP" altLang="en-US" sz="1000" smtClean="0"/>
              <a:pPr/>
              <a:t>2013</a:t>
            </a:fld>
            <a:endParaRPr kumimoji="0" lang="ja-JP" altLang="en-US" sz="1000" dirty="0">
              <a:sym typeface="+mn-lt"/>
            </a:endParaRPr>
          </a:p>
        </p:txBody>
      </p:sp>
      <p:sp>
        <p:nvSpPr>
          <p:cNvPr id="123" name="テキスト プレースホルダ 9"/>
          <p:cNvSpPr>
            <a:spLocks noGrp="1"/>
          </p:cNvSpPr>
          <p:nvPr>
            <p:custDataLst>
              <p:tags r:id="rId35"/>
            </p:custDataLst>
          </p:nvPr>
        </p:nvSpPr>
        <p:spPr bwMode="gray">
          <a:xfrm>
            <a:off x="3254375" y="2663825"/>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5F18AB-2043-44C1-8BD6-2CF40578E42C}" type="datetime'''6'''',''''''''6''''''''''''''''8''''''''''''''''''''''''''3'">
              <a:rPr lang="ja-JP" altLang="en-US" sz="1000" smtClean="0"/>
              <a:pPr/>
              <a:t>6,683</a:t>
            </a:fld>
            <a:endParaRPr kumimoji="0" lang="ja-JP" altLang="en-US" sz="1000" dirty="0">
              <a:sym typeface="+mn-lt"/>
            </a:endParaRPr>
          </a:p>
        </p:txBody>
      </p:sp>
      <p:sp>
        <p:nvSpPr>
          <p:cNvPr id="65" name="テキスト プレースホルダ 9">
            <a:extLst>
              <a:ext uri="{FF2B5EF4-FFF2-40B4-BE49-F238E27FC236}">
                <a16:creationId xmlns:a16="http://schemas.microsoft.com/office/drawing/2014/main" id="{B10A6276-3893-40B5-B54E-6FDB8BD36CBC}"/>
              </a:ext>
            </a:extLst>
          </p:cNvPr>
          <p:cNvSpPr>
            <a:spLocks noGrp="1"/>
          </p:cNvSpPr>
          <p:nvPr>
            <p:custDataLst>
              <p:tags r:id="rId36"/>
            </p:custDataLst>
          </p:nvPr>
        </p:nvSpPr>
        <p:spPr bwMode="auto">
          <a:xfrm>
            <a:off x="4398963"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AD83EE-40A0-4B9C-A795-5509CC018207}" type="datetime'''''''''''''''''''''2''''''''''''''''''''''''''0'">
              <a:rPr kumimoji="0" lang="ja-JP" altLang="en-US" sz="1000" smtClean="0"/>
              <a:pPr/>
              <a:t>20</a:t>
            </a:fld>
            <a:endParaRPr kumimoji="0" lang="ja-JP" altLang="en-US" sz="1000" dirty="0">
              <a:sym typeface="+mn-lt"/>
            </a:endParaRPr>
          </a:p>
        </p:txBody>
      </p:sp>
      <p:sp>
        <p:nvSpPr>
          <p:cNvPr id="117" name="テキスト プレースホルダ 9">
            <a:extLst>
              <a:ext uri="{FF2B5EF4-FFF2-40B4-BE49-F238E27FC236}">
                <a16:creationId xmlns:a16="http://schemas.microsoft.com/office/drawing/2014/main" id="{754E30F0-32C1-463B-B464-A895C41BAD7F}"/>
              </a:ext>
            </a:extLst>
          </p:cNvPr>
          <p:cNvSpPr>
            <a:spLocks noGrp="1"/>
          </p:cNvSpPr>
          <p:nvPr>
            <p:custDataLst>
              <p:tags r:id="rId37"/>
            </p:custDataLst>
          </p:nvPr>
        </p:nvSpPr>
        <p:spPr bwMode="gray">
          <a:xfrm>
            <a:off x="3778250" y="2640013"/>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1702F3-281D-404E-9171-FD591E02D56D}" type="datetime'''6'''',''''7''''''''''''''''''''3''''''''''''''7'''''''''''''">
              <a:rPr lang="ja-JP" altLang="en-US" sz="1000" smtClean="0">
                <a:effectLst/>
                <a:sym typeface="+mn-lt"/>
              </a:rPr>
              <a:pPr marL="0" indent="0" algn="ctr">
                <a:spcBef>
                  <a:spcPct val="0"/>
                </a:spcBef>
                <a:buNone/>
              </a:pPr>
              <a:t>6,737</a:t>
            </a:fld>
            <a:endParaRPr lang="ja-JP" altLang="en-US" sz="1000" dirty="0">
              <a:sym typeface="+mn-lt"/>
            </a:endParaRPr>
          </a:p>
        </p:txBody>
      </p:sp>
      <p:sp>
        <p:nvSpPr>
          <p:cNvPr id="125" name="テキスト プレースホルダ 9">
            <a:extLst>
              <a:ext uri="{FF2B5EF4-FFF2-40B4-BE49-F238E27FC236}">
                <a16:creationId xmlns:a16="http://schemas.microsoft.com/office/drawing/2014/main" id="{A7E941D0-49FD-40E6-8E30-D641389ADF1F}"/>
              </a:ext>
            </a:extLst>
          </p:cNvPr>
          <p:cNvSpPr>
            <a:spLocks noGrp="1"/>
          </p:cNvSpPr>
          <p:nvPr>
            <p:custDataLst>
              <p:tags r:id="rId38"/>
            </p:custDataLst>
          </p:nvPr>
        </p:nvSpPr>
        <p:spPr bwMode="gray">
          <a:xfrm>
            <a:off x="639763" y="4695825"/>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B574C4-7CF6-451D-92E0-6B2173BFF275}" type="datetime'''4'',''''''''3''''''''''''''''5''''''''''''''''''''''2'''">
              <a:rPr lang="ja-JP" altLang="en-US" sz="1000" smtClean="0">
                <a:effectLst/>
                <a:sym typeface="+mn-lt"/>
              </a:rPr>
              <a:pPr marL="0" indent="0" algn="ctr">
                <a:spcBef>
                  <a:spcPct val="0"/>
                </a:spcBef>
                <a:buNone/>
              </a:pPr>
              <a:t>4,352</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90A9B9AD-5740-405F-8F03-EF68A0674597}"/>
              </a:ext>
            </a:extLst>
          </p:cNvPr>
          <p:cNvSpPr>
            <a:spLocks noGrp="1"/>
          </p:cNvSpPr>
          <p:nvPr>
            <p:custDataLst>
              <p:tags r:id="rId39"/>
            </p:custDataLst>
          </p:nvPr>
        </p:nvSpPr>
        <p:spPr bwMode="gray">
          <a:xfrm>
            <a:off x="1163638" y="3244850"/>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A57553B-1F5A-4914-AD16-3CDE6CB0F64D}" type="datetime'2,''''''3''44'''''''''''''''''''''''''''''''''''''''">
              <a:rPr lang="ja-JP" altLang="en-US" sz="1000" smtClean="0">
                <a:effectLst/>
                <a:sym typeface="+mn-lt"/>
              </a:rPr>
              <a:pPr marL="0" indent="0" algn="ctr">
                <a:spcBef>
                  <a:spcPct val="0"/>
                </a:spcBef>
                <a:buNone/>
              </a:pPr>
              <a:t>2,344</a:t>
            </a:fld>
            <a:endParaRPr lang="ja-JP" altLang="en-US" sz="1000" dirty="0">
              <a:sym typeface="+mn-lt"/>
            </a:endParaRPr>
          </a:p>
        </p:txBody>
      </p:sp>
      <p:sp>
        <p:nvSpPr>
          <p:cNvPr id="138" name="テキスト プレースホルダ 9">
            <a:extLst>
              <a:ext uri="{FF2B5EF4-FFF2-40B4-BE49-F238E27FC236}">
                <a16:creationId xmlns:a16="http://schemas.microsoft.com/office/drawing/2014/main" id="{47A0A97C-1549-49BD-A1D3-8037136A3D8C}"/>
              </a:ext>
            </a:extLst>
          </p:cNvPr>
          <p:cNvSpPr>
            <a:spLocks noGrp="1"/>
          </p:cNvSpPr>
          <p:nvPr>
            <p:custDataLst>
              <p:tags r:id="rId40"/>
            </p:custDataLst>
          </p:nvPr>
        </p:nvSpPr>
        <p:spPr bwMode="gray">
          <a:xfrm>
            <a:off x="4300538" y="3195638"/>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541D44-6859-4152-8AB9-6C6ACA0A82E4}" type="datetime'2'''''''''''''''',''7''''''''''0''''''6'''''''''''''''''''''">
              <a:rPr lang="ja-JP" altLang="en-US" sz="1000" smtClean="0">
                <a:effectLst/>
                <a:sym typeface="+mn-lt"/>
              </a:rPr>
              <a:pPr marL="0" indent="0" algn="ctr">
                <a:spcBef>
                  <a:spcPct val="0"/>
                </a:spcBef>
                <a:buNone/>
              </a:pPr>
              <a:t>2,706</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6633B9FA-6B2E-4BBF-8D10-800475315A28}"/>
              </a:ext>
            </a:extLst>
          </p:cNvPr>
          <p:cNvSpPr>
            <a:spLocks noGrp="1"/>
          </p:cNvSpPr>
          <p:nvPr>
            <p:custDataLst>
              <p:tags r:id="rId41"/>
            </p:custDataLst>
          </p:nvPr>
        </p:nvSpPr>
        <p:spPr bwMode="gray">
          <a:xfrm>
            <a:off x="1163638" y="4687888"/>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4CE195C-07C5-41F7-93ED-F6EAE80FF105}" type="datetime'4'''''''''''''''',3''''''''''''''''''9''''''''''''1'''''''''">
              <a:rPr lang="ja-JP" altLang="en-US" sz="1000" smtClean="0">
                <a:effectLst/>
                <a:sym typeface="+mn-lt"/>
              </a:rPr>
              <a:pPr marL="0" indent="0" algn="ctr">
                <a:spcBef>
                  <a:spcPct val="0"/>
                </a:spcBef>
                <a:buNone/>
              </a:pPr>
              <a:t>4,391</a:t>
            </a:fld>
            <a:endParaRPr lang="ja-JP" altLang="en-US" sz="1000" dirty="0">
              <a:sym typeface="+mn-lt"/>
            </a:endParaRPr>
          </a:p>
        </p:txBody>
      </p:sp>
      <p:sp>
        <p:nvSpPr>
          <p:cNvPr id="128" name="テキスト プレースホルダ 9">
            <a:extLst>
              <a:ext uri="{FF2B5EF4-FFF2-40B4-BE49-F238E27FC236}">
                <a16:creationId xmlns:a16="http://schemas.microsoft.com/office/drawing/2014/main" id="{990D6411-F361-4889-859C-C0454DD19932}"/>
              </a:ext>
            </a:extLst>
          </p:cNvPr>
          <p:cNvSpPr>
            <a:spLocks noGrp="1"/>
          </p:cNvSpPr>
          <p:nvPr>
            <p:custDataLst>
              <p:tags r:id="rId42"/>
            </p:custDataLst>
          </p:nvPr>
        </p:nvSpPr>
        <p:spPr bwMode="gray">
          <a:xfrm>
            <a:off x="1685925" y="3263900"/>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6A6CB4-6AFE-4FA8-8A3F-46C2C1613E45}" type="datetime'''''''''2'''''''''''',''''''''3''''''''''6''6'''">
              <a:rPr lang="ja-JP" altLang="en-US" sz="1000" smtClean="0">
                <a:effectLst/>
                <a:sym typeface="+mn-lt"/>
              </a:rPr>
              <a:pPr marL="0" indent="0" algn="ctr">
                <a:spcBef>
                  <a:spcPct val="0"/>
                </a:spcBef>
                <a:buNone/>
              </a:pPr>
              <a:t>2,366</a:t>
            </a:fld>
            <a:endParaRPr lang="ja-JP" altLang="en-US" sz="1000" dirty="0">
              <a:sym typeface="+mn-lt"/>
            </a:endParaRPr>
          </a:p>
        </p:txBody>
      </p:sp>
      <p:sp>
        <p:nvSpPr>
          <p:cNvPr id="130" name="テキスト プレースホルダ 9">
            <a:extLst>
              <a:ext uri="{FF2B5EF4-FFF2-40B4-BE49-F238E27FC236}">
                <a16:creationId xmlns:a16="http://schemas.microsoft.com/office/drawing/2014/main" id="{29277FBB-AD7D-43E2-87F4-FE34D0F05EE8}"/>
              </a:ext>
            </a:extLst>
          </p:cNvPr>
          <p:cNvSpPr>
            <a:spLocks noGrp="1"/>
          </p:cNvSpPr>
          <p:nvPr>
            <p:custDataLst>
              <p:tags r:id="rId43"/>
            </p:custDataLst>
          </p:nvPr>
        </p:nvSpPr>
        <p:spPr bwMode="gray">
          <a:xfrm>
            <a:off x="2209800" y="3267075"/>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DD20CB-96F0-4051-B88D-1D64CBE9B4BE}" type="datetime'2'''',''''''''''''''''''''''''''''''''3''''9''6'''''''''">
              <a:rPr lang="ja-JP" altLang="en-US" sz="1000" smtClean="0">
                <a:effectLst/>
                <a:sym typeface="+mn-lt"/>
              </a:rPr>
              <a:pPr marL="0" indent="0" algn="ctr">
                <a:spcBef>
                  <a:spcPct val="0"/>
                </a:spcBef>
                <a:buNone/>
              </a:pPr>
              <a:t>2,396</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45B92ACA-1ABA-4EB6-AE22-11D3540E5FC2}"/>
              </a:ext>
            </a:extLst>
          </p:cNvPr>
          <p:cNvSpPr>
            <a:spLocks noGrp="1"/>
          </p:cNvSpPr>
          <p:nvPr>
            <p:custDataLst>
              <p:tags r:id="rId44"/>
            </p:custDataLst>
          </p:nvPr>
        </p:nvSpPr>
        <p:spPr bwMode="gray">
          <a:xfrm>
            <a:off x="2732088" y="3232150"/>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33F1D9-E556-42B9-A70F-3BC4B4AFBED9}" type="datetime'''''''''''''2'''''''''''''''''''''',''4''''''''''''''30'''''">
              <a:rPr lang="ja-JP" altLang="en-US" sz="1000" smtClean="0">
                <a:effectLst/>
                <a:sym typeface="+mn-lt"/>
              </a:rPr>
              <a:pPr marL="0" indent="0" algn="ctr">
                <a:spcBef>
                  <a:spcPct val="0"/>
                </a:spcBef>
                <a:buNone/>
              </a:pPr>
              <a:t>2,430</a:t>
            </a:fld>
            <a:endParaRPr lang="ja-JP" altLang="en-US" sz="1000" dirty="0">
              <a:sym typeface="+mn-lt"/>
            </a:endParaRPr>
          </a:p>
        </p:txBody>
      </p:sp>
      <p:sp>
        <p:nvSpPr>
          <p:cNvPr id="133" name="テキスト プレースホルダ 9">
            <a:extLst>
              <a:ext uri="{FF2B5EF4-FFF2-40B4-BE49-F238E27FC236}">
                <a16:creationId xmlns:a16="http://schemas.microsoft.com/office/drawing/2014/main" id="{C5C476F1-37CE-4D1F-AE1E-B79586295E95}"/>
              </a:ext>
            </a:extLst>
          </p:cNvPr>
          <p:cNvSpPr>
            <a:spLocks noGrp="1"/>
          </p:cNvSpPr>
          <p:nvPr>
            <p:custDataLst>
              <p:tags r:id="rId45"/>
            </p:custDataLst>
          </p:nvPr>
        </p:nvSpPr>
        <p:spPr bwMode="gray">
          <a:xfrm>
            <a:off x="2732088" y="4691063"/>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D0E5BE-8E7A-4D84-B12B-3FCDCA1E3705}" type="datetime'4'''''''''''''''',''''''37''''''''''''''''8'''''''''''">
              <a:rPr lang="ja-JP" altLang="en-US" sz="1000" smtClean="0">
                <a:effectLst/>
                <a:sym typeface="+mn-lt"/>
              </a:rPr>
              <a:pPr marL="0" indent="0" algn="ctr">
                <a:spcBef>
                  <a:spcPct val="0"/>
                </a:spcBef>
                <a:buNone/>
              </a:pPr>
              <a:t>4,378</a:t>
            </a:fld>
            <a:endParaRPr lang="ja-JP" altLang="en-US" sz="1000" dirty="0">
              <a:sym typeface="+mn-lt"/>
            </a:endParaRPr>
          </a:p>
        </p:txBody>
      </p:sp>
      <p:sp>
        <p:nvSpPr>
          <p:cNvPr id="134" name="テキスト プレースホルダ 9">
            <a:extLst>
              <a:ext uri="{FF2B5EF4-FFF2-40B4-BE49-F238E27FC236}">
                <a16:creationId xmlns:a16="http://schemas.microsoft.com/office/drawing/2014/main" id="{0A5D3763-ED2D-4AFB-8E37-91B3C1F86382}"/>
              </a:ext>
            </a:extLst>
          </p:cNvPr>
          <p:cNvSpPr>
            <a:spLocks noGrp="1"/>
          </p:cNvSpPr>
          <p:nvPr>
            <p:custDataLst>
              <p:tags r:id="rId46"/>
            </p:custDataLst>
          </p:nvPr>
        </p:nvSpPr>
        <p:spPr bwMode="gray">
          <a:xfrm>
            <a:off x="3254375" y="3286125"/>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227ABD-C8BE-4BA8-94F9-42C081666D12}" type="datetime'''''''''''2'''''''''''',''''''4''''''3''''''''1'''''''''''''">
              <a:rPr lang="ja-JP" altLang="en-US" sz="1000" smtClean="0">
                <a:effectLst/>
                <a:sym typeface="+mn-lt"/>
              </a:rPr>
              <a:pPr marL="0" indent="0" algn="ctr">
                <a:spcBef>
                  <a:spcPct val="0"/>
                </a:spcBef>
                <a:buNone/>
              </a:pPr>
              <a:t>2,431</a:t>
            </a:fld>
            <a:endParaRPr lang="ja-JP" altLang="en-US" sz="1000" dirty="0">
              <a:sym typeface="+mn-lt"/>
            </a:endParaRPr>
          </a:p>
        </p:txBody>
      </p:sp>
      <p:sp>
        <p:nvSpPr>
          <p:cNvPr id="135" name="テキスト プレースホルダ 9">
            <a:extLst>
              <a:ext uri="{FF2B5EF4-FFF2-40B4-BE49-F238E27FC236}">
                <a16:creationId xmlns:a16="http://schemas.microsoft.com/office/drawing/2014/main" id="{C452085E-FBB3-4BB2-9929-DA1312A6F81D}"/>
              </a:ext>
            </a:extLst>
          </p:cNvPr>
          <p:cNvSpPr>
            <a:spLocks noGrp="1"/>
          </p:cNvSpPr>
          <p:nvPr>
            <p:custDataLst>
              <p:tags r:id="rId47"/>
            </p:custDataLst>
          </p:nvPr>
        </p:nvSpPr>
        <p:spPr bwMode="gray">
          <a:xfrm>
            <a:off x="3254375" y="4718050"/>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0A57D7-4FB0-4197-B44A-20646CB756EC}" type="datetime'''''''''''''''''''''''4'''''''',''2''''5''''''2'">
              <a:rPr lang="ja-JP" altLang="en-US" sz="1000" smtClean="0">
                <a:effectLst/>
                <a:sym typeface="+mn-lt"/>
              </a:rPr>
              <a:pPr marL="0" indent="0" algn="ctr">
                <a:spcBef>
                  <a:spcPct val="0"/>
                </a:spcBef>
                <a:buNone/>
              </a:pPr>
              <a:t>4,252</a:t>
            </a:fld>
            <a:endParaRPr lang="ja-JP" altLang="en-US" sz="1000" dirty="0">
              <a:sym typeface="+mn-lt"/>
            </a:endParaRPr>
          </a:p>
        </p:txBody>
      </p:sp>
      <p:sp>
        <p:nvSpPr>
          <p:cNvPr id="137" name="テキスト プレースホルダ 9">
            <a:extLst>
              <a:ext uri="{FF2B5EF4-FFF2-40B4-BE49-F238E27FC236}">
                <a16:creationId xmlns:a16="http://schemas.microsoft.com/office/drawing/2014/main" id="{E6F8F2C3-77E9-4376-B98D-DF399128B232}"/>
              </a:ext>
            </a:extLst>
          </p:cNvPr>
          <p:cNvSpPr>
            <a:spLocks noGrp="1"/>
          </p:cNvSpPr>
          <p:nvPr>
            <p:custDataLst>
              <p:tags r:id="rId48"/>
            </p:custDataLst>
          </p:nvPr>
        </p:nvSpPr>
        <p:spPr bwMode="gray">
          <a:xfrm>
            <a:off x="3778250" y="4710113"/>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C5E8C97-6410-4CEE-A96E-B54950DCEA27}" type="datetime'4'''''''''',''''2''''''''8''''9'''''''''''">
              <a:rPr lang="ja-JP" altLang="en-US" sz="1000" smtClean="0">
                <a:effectLst/>
                <a:sym typeface="+mn-lt"/>
              </a:rPr>
              <a:pPr marL="0" indent="0" algn="ctr">
                <a:spcBef>
                  <a:spcPct val="0"/>
                </a:spcBef>
                <a:buNone/>
              </a:pPr>
              <a:t>4,289</a:t>
            </a:fld>
            <a:endParaRPr lang="ja-JP" altLang="en-US" sz="1000" dirty="0">
              <a:sym typeface="+mn-lt"/>
            </a:endParaRPr>
          </a:p>
        </p:txBody>
      </p:sp>
      <p:sp>
        <p:nvSpPr>
          <p:cNvPr id="139" name="テキスト プレースホルダ 9">
            <a:extLst>
              <a:ext uri="{FF2B5EF4-FFF2-40B4-BE49-F238E27FC236}">
                <a16:creationId xmlns:a16="http://schemas.microsoft.com/office/drawing/2014/main" id="{CF9FDCBE-6871-4983-99A3-7E6949ABD28F}"/>
              </a:ext>
            </a:extLst>
          </p:cNvPr>
          <p:cNvSpPr>
            <a:spLocks noGrp="1"/>
          </p:cNvSpPr>
          <p:nvPr>
            <p:custDataLst>
              <p:tags r:id="rId49"/>
            </p:custDataLst>
          </p:nvPr>
        </p:nvSpPr>
        <p:spPr bwMode="gray">
          <a:xfrm>
            <a:off x="4300538" y="4702175"/>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55A160-6551-4B59-AE5B-CE31FC713438}" type="datetime'''''''''''''''''''4'''''''''''',''''''3''''''2''''''''5'">
              <a:rPr lang="ja-JP" altLang="en-US" sz="1000" smtClean="0">
                <a:effectLst/>
                <a:sym typeface="+mn-lt"/>
              </a:rPr>
              <a:pPr marL="0" indent="0" algn="ctr">
                <a:spcBef>
                  <a:spcPct val="0"/>
                </a:spcBef>
                <a:buNone/>
              </a:pPr>
              <a:t>4,325</a:t>
            </a:fld>
            <a:endParaRPr lang="ja-JP" altLang="en-US" sz="1000" dirty="0">
              <a:sym typeface="+mn-lt"/>
            </a:endParaRPr>
          </a:p>
        </p:txBody>
      </p:sp>
      <p:sp>
        <p:nvSpPr>
          <p:cNvPr id="122" name="テキスト プレースホルダ 9"/>
          <p:cNvSpPr>
            <a:spLocks noGrp="1"/>
          </p:cNvSpPr>
          <p:nvPr>
            <p:custDataLst>
              <p:tags r:id="rId50"/>
            </p:custDataLst>
          </p:nvPr>
        </p:nvSpPr>
        <p:spPr bwMode="gray">
          <a:xfrm>
            <a:off x="2732088" y="2609850"/>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4B7F5B-E92C-47E9-B67F-8E9F9D214666}" type="datetime'''''''''''6'''''''''''''''''''''',''808'''''''''''''''''">
              <a:rPr lang="ja-JP" altLang="en-US" sz="1000" smtClean="0"/>
              <a:pPr/>
              <a:t>6,808</a:t>
            </a:fld>
            <a:endParaRPr kumimoji="0" lang="ja-JP" altLang="en-US" sz="1000" dirty="0">
              <a:sym typeface="+mn-lt"/>
            </a:endParaRPr>
          </a:p>
        </p:txBody>
      </p:sp>
      <p:sp>
        <p:nvSpPr>
          <p:cNvPr id="15" name="正方形/長方形 14"/>
          <p:cNvSpPr/>
          <p:nvPr>
            <p:custDataLst>
              <p:tags r:id="rId51"/>
            </p:custDataLst>
          </p:nvPr>
        </p:nvSpPr>
        <p:spPr bwMode="auto">
          <a:xfrm>
            <a:off x="1243013" y="6005513"/>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正方形/長方形 15"/>
          <p:cNvSpPr/>
          <p:nvPr>
            <p:custDataLst>
              <p:tags r:id="rId52"/>
            </p:custDataLst>
          </p:nvPr>
        </p:nvSpPr>
        <p:spPr bwMode="auto">
          <a:xfrm>
            <a:off x="1243013" y="6208713"/>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1" name="テキスト プレースホルダ 9"/>
          <p:cNvSpPr>
            <a:spLocks noGrp="1"/>
          </p:cNvSpPr>
          <p:nvPr>
            <p:custDataLst>
              <p:tags r:id="rId53"/>
            </p:custDataLst>
          </p:nvPr>
        </p:nvSpPr>
        <p:spPr bwMode="auto">
          <a:xfrm>
            <a:off x="1473200" y="6000750"/>
            <a:ext cx="762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E49296D-1C65-4456-94CA-F31A70C2CD08}" type="datetime'公的''''''医''''''''''''''''療''''''''''''機''''関'''">
              <a:rPr lang="ja-JP" altLang="en-US" sz="1000" smtClean="0"/>
              <a:pPr marL="0" indent="0">
                <a:spcBef>
                  <a:spcPct val="0"/>
                </a:spcBef>
                <a:buNone/>
              </a:pPr>
              <a:t>公的医療機関</a:t>
            </a:fld>
            <a:endParaRPr kumimoji="0" lang="ja-JP" altLang="en-US" sz="1000" dirty="0">
              <a:sym typeface="+mn-lt"/>
            </a:endParaRPr>
          </a:p>
        </p:txBody>
      </p:sp>
      <p:sp>
        <p:nvSpPr>
          <p:cNvPr id="96" name="テキスト プレースホルダ 9"/>
          <p:cNvSpPr>
            <a:spLocks noGrp="1"/>
          </p:cNvSpPr>
          <p:nvPr>
            <p:custDataLst>
              <p:tags r:id="rId54"/>
            </p:custDataLst>
          </p:nvPr>
        </p:nvSpPr>
        <p:spPr bwMode="auto">
          <a:xfrm>
            <a:off x="1473200" y="6203950"/>
            <a:ext cx="762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201F750-0CFC-4B7B-8515-2ADDA5AAAB93}" type="datetime'民''間''''''''医''療''機''''''''''''''''''''''''関'''''''''''''''">
              <a:rPr lang="ja-JP" altLang="en-US" sz="1000" smtClean="0">
                <a:sym typeface="+mn-lt"/>
              </a:rPr>
              <a:pPr marL="0" indent="0">
                <a:spcBef>
                  <a:spcPct val="0"/>
                </a:spcBef>
                <a:buNone/>
              </a:pPr>
              <a:t>民間医療機関</a:t>
            </a:fld>
            <a:endParaRPr kumimoji="0" lang="ja-JP" altLang="en-US" sz="1000" dirty="0">
              <a:sym typeface="+mn-lt"/>
            </a:endParaRPr>
          </a:p>
        </p:txBody>
      </p:sp>
      <p:sp>
        <p:nvSpPr>
          <p:cNvPr id="149" name="テキスト ボックス 148"/>
          <p:cNvSpPr txBox="1"/>
          <p:nvPr/>
        </p:nvSpPr>
        <p:spPr>
          <a:xfrm>
            <a:off x="272480" y="6309320"/>
            <a:ext cx="849592"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上の数字は合計</a:t>
            </a:r>
            <a:endParaRPr lang="ja-JP" altLang="en-US" sz="800" dirty="0">
              <a:solidFill>
                <a:srgbClr val="000000"/>
              </a:solidFill>
              <a:cs typeface="Arial" panose="020B0604020202020204" pitchFamily="34" charset="0"/>
            </a:endParaRPr>
          </a:p>
        </p:txBody>
      </p:sp>
      <p:sp>
        <p:nvSpPr>
          <p:cNvPr id="160" name="テキスト ボックス 159"/>
          <p:cNvSpPr txBox="1"/>
          <p:nvPr/>
        </p:nvSpPr>
        <p:spPr>
          <a:xfrm>
            <a:off x="200472"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49" name="テキスト ボックス 4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機関数は、ここ数年で大きな増減が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1,000</a:t>
            </a:r>
            <a:r>
              <a:rPr lang="ja-JP" altLang="en-US" sz="1400" dirty="0"/>
              <a:t>人あたり病床数は微減傾向であったが、</a:t>
            </a:r>
            <a:r>
              <a:rPr lang="en-US" altLang="ja-JP" sz="1400" dirty="0"/>
              <a:t>2020</a:t>
            </a:r>
            <a:r>
              <a:rPr lang="ja-JP" altLang="en-US" sz="1400" dirty="0"/>
              <a:t>年時点では</a:t>
            </a:r>
            <a:r>
              <a:rPr lang="en-US" altLang="ja-JP" sz="1400" dirty="0"/>
              <a:t>2.1</a:t>
            </a:r>
            <a:r>
              <a:rPr lang="ja-JP" altLang="en-US" sz="1400" dirty="0"/>
              <a:t>床まで増加した。</a:t>
            </a:r>
            <a:endParaRPr lang="en-US" altLang="ja-JP" sz="1400" dirty="0"/>
          </a:p>
        </p:txBody>
      </p:sp>
    </p:spTree>
    <p:extLst>
      <p:ext uri="{BB962C8B-B14F-4D97-AF65-F5344CB8AC3E}">
        <p14:creationId xmlns:p14="http://schemas.microsoft.com/office/powerpoint/2010/main" val="21900166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649A47E-7BFA-47F9-A019-D7D288BDFCE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6649A47E-7BFA-47F9-A019-D7D288BDFCE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49275"/>
            <a:ext cx="9505950" cy="359445"/>
          </a:xfrm>
        </p:spPr>
        <p:txBody>
          <a:bodyPr vert="horz" lIns="91440" tIns="45720" rIns="91440" bIns="45720" rtlCol="0" anchor="b" anchorCtr="0">
            <a:noAutofit/>
          </a:bodyPr>
          <a:lstStyle/>
          <a:p>
            <a:r>
              <a:rPr lang="ja-JP" altLang="en-US" dirty="0"/>
              <a:t>目次（</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612543244"/>
              </p:ext>
            </p:extLst>
          </p:nvPr>
        </p:nvGraphicFramePr>
        <p:xfrm>
          <a:off x="200025" y="1152000"/>
          <a:ext cx="4500000" cy="375689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mn-lt"/>
                          <a:ea typeface="+mj-ea"/>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964795309"/>
              </p:ext>
            </p:extLst>
          </p:nvPr>
        </p:nvGraphicFramePr>
        <p:xfrm>
          <a:off x="5205600" y="1152000"/>
          <a:ext cx="4500000" cy="546030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療・公衆衛生</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a:t>健康水準および医療水準</a:t>
                      </a:r>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a:t>医療費支出額</a:t>
                      </a:r>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45791946"/>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98352042"/>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lang="ja-JP" altLang="en-US" sz="1050" dirty="0"/>
                        <a:t>医療機関 </a:t>
                      </a:r>
                      <a:r>
                        <a:rPr lang="en-US" altLang="ja-JP" sz="1050" dirty="0"/>
                        <a:t>- </a:t>
                      </a:r>
                      <a:r>
                        <a:rPr lang="ja-JP" altLang="en-US" sz="1050" dirty="0"/>
                        <a:t>医療機関区分と施設数・病床数の推移</a:t>
                      </a: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a:t>医療機関 </a:t>
                      </a:r>
                      <a:r>
                        <a:rPr lang="en-US" altLang="ja-JP" sz="1050"/>
                        <a:t>- </a:t>
                      </a:r>
                      <a:r>
                        <a:rPr lang="ja-JP" altLang="en-US" sz="1050"/>
                        <a:t>公的医療機関</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a:t>医療従事者</a:t>
                      </a:r>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1</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現地の臨床工学技士や理学療法士などの資格の有無</a:t>
                      </a:r>
                      <a:endParaRPr lang="ja-JP" altLang="en-US" sz="1050" dirty="0">
                        <a:solidFill>
                          <a:srgbClr val="FF0000"/>
                        </a:solidFill>
                      </a:endParaRP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22027685"/>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制度</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水準</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公的保険制度（</a:t>
                      </a:r>
                      <a:r>
                        <a:rPr lang="en-US" altLang="ja-JP" sz="1050" dirty="0"/>
                        <a:t>SUS</a:t>
                      </a:r>
                      <a:r>
                        <a:rPr lang="ja-JP" altLang="en-US" sz="1050" dirty="0"/>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民間保険制度</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lang="ja-JP" altLang="en-US" sz="1050" dirty="0"/>
                        <a:t>医薬品規制</a:t>
                      </a: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臨床試験に関する規制</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2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外国人医師のライセンス</a:t>
                      </a:r>
                      <a:endParaRPr lang="en-US" altLang="ja-JP"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endParaRPr kumimoji="1" lang="en-US" altLang="ja-JP"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1</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情報・個人情報保護、データサーバーの置き場に</a:t>
                      </a:r>
                      <a:br>
                        <a:rPr kumimoji="1"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関する法規制、ガイドライン</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endParaRPr kumimoji="1" lang="en-US" altLang="ja-JP"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04906764"/>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t>医療現場で使用される言語に関する情報</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endParaRPr kumimoji="1" lang="en-US" altLang="ja-JP"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2998431"/>
                  </a:ext>
                </a:extLst>
              </a:tr>
              <a:tr h="213039">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cxnSp>
        <p:nvCxnSpPr>
          <p:cNvPr id="11" name="Straight Connector 10">
            <a:extLst>
              <a:ext uri="{FF2B5EF4-FFF2-40B4-BE49-F238E27FC236}">
                <a16:creationId xmlns:a16="http://schemas.microsoft.com/office/drawing/2014/main" id="{20A2266F-AB60-49E1-B456-6C973F1C0332}"/>
              </a:ext>
            </a:extLst>
          </p:cNvPr>
          <p:cNvCxnSpPr>
            <a:cxnSpLocks/>
          </p:cNvCxnSpPr>
          <p:nvPr/>
        </p:nvCxnSpPr>
        <p:spPr>
          <a:xfrm>
            <a:off x="4952812"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44942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医療関連／医療・公衆衛生</a:t>
            </a:r>
            <a:endParaRPr kumimoji="1" lang="ja-JP" altLang="en-US" dirty="0"/>
          </a:p>
        </p:txBody>
      </p:sp>
      <p:sp>
        <p:nvSpPr>
          <p:cNvPr id="5" name="テキスト プレースホルダー 4"/>
          <p:cNvSpPr>
            <a:spLocks noGrp="1"/>
          </p:cNvSpPr>
          <p:nvPr>
            <p:ph type="body" sz="quarter" idx="15"/>
          </p:nvPr>
        </p:nvSpPr>
        <p:spPr/>
        <p:txBody>
          <a:bodyPr/>
          <a:lstStyle/>
          <a:p>
            <a:r>
              <a:rPr lang="zh-TW" altLang="en-US" dirty="0"/>
              <a:t>医療機関 </a:t>
            </a:r>
            <a:r>
              <a:rPr lang="en-US" altLang="zh-TW" dirty="0"/>
              <a:t>- </a:t>
            </a:r>
            <a:r>
              <a:rPr lang="zh-TW" altLang="en-US" dirty="0"/>
              <a:t>公的医療機関</a:t>
            </a:r>
          </a:p>
        </p:txBody>
      </p:sp>
      <p:sp>
        <p:nvSpPr>
          <p:cNvPr id="6" name="テキスト ボックス 5"/>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としては、サンパウロ州に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州立大学附属病院（州立カンピーナス大学附属病院、州立サンパウロ大学附属病院）が特に有名である。</a:t>
            </a:r>
          </a:p>
        </p:txBody>
      </p:sp>
      <p:grpSp>
        <p:nvGrpSpPr>
          <p:cNvPr id="7" name="グループ化 7"/>
          <p:cNvGrpSpPr/>
          <p:nvPr/>
        </p:nvGrpSpPr>
        <p:grpSpPr>
          <a:xfrm>
            <a:off x="416496" y="1772816"/>
            <a:ext cx="9073008"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p>
          </p:txBody>
        </p:sp>
      </p:grpSp>
      <p:sp>
        <p:nvSpPr>
          <p:cNvPr id="23" name="テキスト ボックス 22"/>
          <p:cNvSpPr txBox="1"/>
          <p:nvPr/>
        </p:nvSpPr>
        <p:spPr>
          <a:xfrm>
            <a:off x="200471" y="6525343"/>
            <a:ext cx="9289029" cy="473905"/>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JETRO</a:t>
            </a:r>
            <a:r>
              <a:rPr kumimoji="0" lang="ja-JP" altLang="en-US" sz="800" dirty="0" bmk=""/>
              <a:t>「ブラジルの医療機器市場と規制」（</a:t>
            </a:r>
            <a:r>
              <a:rPr kumimoji="0" lang="en-US" altLang="ja-JP" sz="800" dirty="0" bmk=""/>
              <a:t>2012</a:t>
            </a:r>
            <a:r>
              <a:rPr kumimoji="0" lang="ja-JP" altLang="en-US" sz="800" dirty="0" bmk=""/>
              <a:t>）、</a:t>
            </a:r>
            <a:r>
              <a:rPr kumimoji="0" lang="en-US" altLang="ja-JP" sz="800" dirty="0" bmk=""/>
              <a:t>JSPS</a:t>
            </a:r>
            <a:r>
              <a:rPr kumimoji="0" lang="ja-JP" altLang="en-US" sz="800" dirty="0" bmk=""/>
              <a:t>「新興国ブラジルの学術研究動向」（</a:t>
            </a:r>
            <a:r>
              <a:rPr kumimoji="0" lang="en-US" altLang="ja-JP" sz="800" dirty="0" bmk=""/>
              <a:t>2015</a:t>
            </a:r>
            <a:r>
              <a:rPr kumimoji="0" lang="ja-JP" altLang="en-US" sz="800" dirty="0" bmk=""/>
              <a:t>）、各医療機関ホームページ、有識者ヒアリング、「</a:t>
            </a:r>
            <a:r>
              <a:rPr kumimoji="0" lang="en-US" altLang="ja-JP" sz="800" dirty="0" bmk=""/>
              <a:t>Hospital das </a:t>
            </a:r>
            <a:r>
              <a:rPr kumimoji="0" lang="en-US" altLang="ja-JP" sz="800" dirty="0" err="1" bmk=""/>
              <a:t>Clínicas</a:t>
            </a:r>
            <a:r>
              <a:rPr kumimoji="0" lang="en-US" altLang="ja-JP" sz="800" dirty="0" bmk=""/>
              <a:t> of University of São Paulo Medical School</a:t>
            </a:r>
            <a:r>
              <a:rPr kumimoji="0" lang="ja-JP" altLang="en-US" sz="800" dirty="0" bmk=""/>
              <a:t>」</a:t>
            </a:r>
            <a:r>
              <a:rPr kumimoji="0" lang="en-US" altLang="ja-JP" sz="800" dirty="0" bmk=""/>
              <a:t>(</a:t>
            </a:r>
            <a:r>
              <a:rPr kumimoji="0" lang="pt-BR" altLang="ja-JP" sz="800" dirty="0" bmk=""/>
              <a:t>doi: http://dx.doi.org/10.11606/issn.1679-9836.v95ispe1p37-40</a:t>
            </a:r>
            <a:r>
              <a:rPr kumimoji="0" lang="en-US" altLang="ja-JP" sz="800" dirty="0" bmk=""/>
              <a:t>)</a:t>
            </a:r>
            <a:r>
              <a:rPr kumimoji="0" lang="ja-JP" altLang="en-US" sz="800" dirty="0" bmk=""/>
              <a:t>、</a:t>
            </a:r>
            <a:r>
              <a:rPr kumimoji="0" lang="en-US" altLang="ja-JP" sz="800" dirty="0" bmk=""/>
              <a:t>AHA Journals</a:t>
            </a:r>
            <a:r>
              <a:rPr kumimoji="0" lang="ja-JP" altLang="en-US" sz="800" dirty="0" bmk=""/>
              <a:t>「</a:t>
            </a:r>
            <a:r>
              <a:rPr kumimoji="0" lang="pt-BR" altLang="ja-JP" sz="800" dirty="0" bmk=""/>
              <a:t>Instituto do Coração-INCOR (São Paulo, Brasil)</a:t>
            </a:r>
            <a:r>
              <a:rPr kumimoji="0" lang="ja-JP" altLang="en-US" sz="800" dirty="0" bmk=""/>
              <a:t>」</a:t>
            </a:r>
          </a:p>
        </p:txBody>
      </p:sp>
      <p:graphicFrame>
        <p:nvGraphicFramePr>
          <p:cNvPr id="24" name="表 12">
            <a:extLst>
              <a:ext uri="{FF2B5EF4-FFF2-40B4-BE49-F238E27FC236}">
                <a16:creationId xmlns:a16="http://schemas.microsoft.com/office/drawing/2014/main" id="{FB2012BA-A12D-4F38-B6A5-854F377FB36E}"/>
              </a:ext>
            </a:extLst>
          </p:cNvPr>
          <p:cNvGraphicFramePr>
            <a:graphicFrameLocks noGrp="1"/>
          </p:cNvGraphicFramePr>
          <p:nvPr>
            <p:extLst>
              <p:ext uri="{D42A27DB-BD31-4B8C-83A1-F6EECF244321}">
                <p14:modId xmlns:p14="http://schemas.microsoft.com/office/powerpoint/2010/main" val="2032864269"/>
              </p:ext>
            </p:extLst>
          </p:nvPr>
        </p:nvGraphicFramePr>
        <p:xfrm>
          <a:off x="433338" y="2184244"/>
          <a:ext cx="9272189" cy="4055268"/>
        </p:xfrm>
        <a:graphic>
          <a:graphicData uri="http://schemas.openxmlformats.org/drawingml/2006/table">
            <a:tbl>
              <a:tblPr firstRow="1" bandRow="1">
                <a:tableStyleId>{5C22544A-7EE6-4342-B048-85BDC9FD1C3A}</a:tableStyleId>
              </a:tblPr>
              <a:tblGrid>
                <a:gridCol w="1783358">
                  <a:extLst>
                    <a:ext uri="{9D8B030D-6E8A-4147-A177-3AD203B41FA5}">
                      <a16:colId xmlns:a16="http://schemas.microsoft.com/office/drawing/2014/main" val="20001"/>
                    </a:ext>
                  </a:extLst>
                </a:gridCol>
                <a:gridCol w="4495281">
                  <a:extLst>
                    <a:ext uri="{9D8B030D-6E8A-4147-A177-3AD203B41FA5}">
                      <a16:colId xmlns:a16="http://schemas.microsoft.com/office/drawing/2014/main" val="20002"/>
                    </a:ext>
                  </a:extLst>
                </a:gridCol>
                <a:gridCol w="498925">
                  <a:extLst>
                    <a:ext uri="{9D8B030D-6E8A-4147-A177-3AD203B41FA5}">
                      <a16:colId xmlns:a16="http://schemas.microsoft.com/office/drawing/2014/main" val="20004"/>
                    </a:ext>
                  </a:extLst>
                </a:gridCol>
                <a:gridCol w="498925">
                  <a:extLst>
                    <a:ext uri="{9D8B030D-6E8A-4147-A177-3AD203B41FA5}">
                      <a16:colId xmlns:a16="http://schemas.microsoft.com/office/drawing/2014/main" val="20005"/>
                    </a:ext>
                  </a:extLst>
                </a:gridCol>
                <a:gridCol w="498925">
                  <a:extLst>
                    <a:ext uri="{9D8B030D-6E8A-4147-A177-3AD203B41FA5}">
                      <a16:colId xmlns:a16="http://schemas.microsoft.com/office/drawing/2014/main" val="1421179307"/>
                    </a:ext>
                  </a:extLst>
                </a:gridCol>
                <a:gridCol w="498925">
                  <a:extLst>
                    <a:ext uri="{9D8B030D-6E8A-4147-A177-3AD203B41FA5}">
                      <a16:colId xmlns:a16="http://schemas.microsoft.com/office/drawing/2014/main" val="20006"/>
                    </a:ext>
                  </a:extLst>
                </a:gridCol>
                <a:gridCol w="498925">
                  <a:extLst>
                    <a:ext uri="{9D8B030D-6E8A-4147-A177-3AD203B41FA5}">
                      <a16:colId xmlns:a16="http://schemas.microsoft.com/office/drawing/2014/main" val="20007"/>
                    </a:ext>
                  </a:extLst>
                </a:gridCol>
                <a:gridCol w="498925">
                  <a:extLst>
                    <a:ext uri="{9D8B030D-6E8A-4147-A177-3AD203B41FA5}">
                      <a16:colId xmlns:a16="http://schemas.microsoft.com/office/drawing/2014/main" val="747426486"/>
                    </a:ext>
                  </a:extLst>
                </a:gridCol>
              </a:tblGrid>
              <a:tr h="248273">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25509">
                <a:tc>
                  <a:txBody>
                    <a:bodyPr/>
                    <a:lstStyle/>
                    <a:p>
                      <a:pPr algn="ctr" fontAlgn="t"/>
                      <a:r>
                        <a:rPr lang="ja-JP" altLang="en-US" sz="1000" b="1" i="0" u="none" strike="noStrike" dirty="0">
                          <a:solidFill>
                            <a:srgbClr val="000000"/>
                          </a:solidFill>
                          <a:effectLst/>
                          <a:latin typeface="MS Pゴシック"/>
                        </a:rPr>
                        <a:t>サンパウロ州立</a:t>
                      </a:r>
                      <a:br>
                        <a:rPr lang="en-US" altLang="ja-JP" sz="1000" b="1" i="0" u="none" strike="noStrike" dirty="0">
                          <a:solidFill>
                            <a:srgbClr val="000000"/>
                          </a:solidFill>
                          <a:effectLst/>
                          <a:latin typeface="MS Pゴシック"/>
                        </a:rPr>
                      </a:br>
                      <a:r>
                        <a:rPr lang="ja-JP" altLang="en-US" sz="1000" b="1" i="0" u="none" strike="noStrike" dirty="0">
                          <a:solidFill>
                            <a:srgbClr val="000000"/>
                          </a:solidFill>
                          <a:effectLst/>
                          <a:latin typeface="MS Pゴシック"/>
                        </a:rPr>
                        <a:t>カンピーナス大学附属病院</a:t>
                      </a:r>
                      <a:br>
                        <a:rPr lang="en-US" altLang="ja-JP" sz="1000" b="1" i="0" u="none" strike="noStrike" dirty="0">
                          <a:solidFill>
                            <a:srgbClr val="000000"/>
                          </a:solidFill>
                          <a:effectLst/>
                          <a:latin typeface="MS Pゴシック"/>
                        </a:rPr>
                      </a:br>
                      <a:r>
                        <a:rPr lang="ja-JP" altLang="en-US" sz="1000" b="1" i="0" u="none" strike="noStrike" dirty="0">
                          <a:solidFill>
                            <a:srgbClr val="000000"/>
                          </a:solidFill>
                          <a:effectLst/>
                          <a:latin typeface="MS Pゴシック"/>
                        </a:rPr>
                        <a:t>（</a:t>
                      </a:r>
                      <a:r>
                        <a:rPr lang="en-US" altLang="ja-JP" sz="1000" b="1" i="0" u="none" strike="noStrike" dirty="0">
                          <a:solidFill>
                            <a:srgbClr val="000000"/>
                          </a:solidFill>
                          <a:effectLst/>
                          <a:latin typeface="Arial" panose="020B0604020202020204" pitchFamily="34" charset="0"/>
                        </a:rPr>
                        <a:t>UPS</a:t>
                      </a:r>
                      <a:r>
                        <a:rPr lang="ja-JP" altLang="en-US" sz="1000" b="1" i="0" u="none" strike="noStrike" dirty="0">
                          <a:solidFill>
                            <a:srgbClr val="000000"/>
                          </a:solidFill>
                          <a:effectLst/>
                          <a:latin typeface="MS Pゴシック"/>
                        </a:rPr>
                        <a:t>）</a:t>
                      </a:r>
                      <a:endParaRPr lang="ja-JP" altLang="en-US" sz="10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Bef>
                          <a:spcPts val="0"/>
                        </a:spcBef>
                        <a:spcAft>
                          <a:spcPts val="300"/>
                        </a:spcAft>
                        <a:buClr>
                          <a:srgbClr val="5F8AC3"/>
                        </a:buClr>
                        <a:buSzPct val="100000"/>
                        <a:buFont typeface="Wingdings" panose="05000000000000000000" pitchFamily="2" charset="2"/>
                        <a:buChar char="n"/>
                      </a:pPr>
                      <a:r>
                        <a:rPr lang="ja-JP" altLang="en-US" sz="1050" dirty="0">
                          <a:latin typeface="Arial" panose="020B0604020202020204" pitchFamily="34" charset="0"/>
                          <a:ea typeface="ＭＳ Ｐゴシック" panose="020B0600070205080204" pitchFamily="50" charset="-128"/>
                        </a:rPr>
                        <a:t>サンパウロ市</a:t>
                      </a:r>
                      <a:r>
                        <a:rPr lang="ja-JP" altLang="en-US" sz="1000" dirty="0">
                          <a:latin typeface="Arial" panose="020B0604020202020204" pitchFamily="34" charset="0"/>
                          <a:ea typeface="ＭＳ Ｐゴシック" panose="020B0600070205080204" pitchFamily="50" charset="-128"/>
                        </a:rPr>
                        <a:t>から</a:t>
                      </a:r>
                      <a:r>
                        <a:rPr lang="en-US" altLang="ja-JP" sz="1000" dirty="0">
                          <a:latin typeface="Arial" panose="020B0604020202020204" pitchFamily="34" charset="0"/>
                          <a:ea typeface="ＭＳ Ｐゴシック" panose="020B0600070205080204" pitchFamily="50" charset="-128"/>
                        </a:rPr>
                        <a:t>100km</a:t>
                      </a:r>
                      <a:r>
                        <a:rPr lang="ja-JP" altLang="en-US" sz="1000" dirty="0">
                          <a:latin typeface="Arial" panose="020B0604020202020204" pitchFamily="34" charset="0"/>
                          <a:ea typeface="ＭＳ Ｐゴシック" panose="020B0600070205080204" pitchFamily="50" charset="-128"/>
                        </a:rPr>
                        <a:t>離れたカンピーナス市にある</a:t>
                      </a:r>
                      <a:r>
                        <a:rPr lang="ja-JP" altLang="en-US" sz="1050" dirty="0">
                          <a:solidFill>
                            <a:srgbClr val="000000"/>
                          </a:solidFill>
                          <a:latin typeface="Arial Black" pitchFamily="34" charset="0"/>
                          <a:ea typeface="HGP創英角ｺﾞｼｯｸUB" pitchFamily="50" charset="-128"/>
                        </a:rPr>
                        <a:t>州立大学の附属病院</a:t>
                      </a:r>
                      <a:r>
                        <a:rPr lang="ja-JP" altLang="en-US" sz="1000" dirty="0">
                          <a:latin typeface="Arial" panose="020B0604020202020204" pitchFamily="34" charset="0"/>
                          <a:ea typeface="ＭＳ Ｐゴシック" panose="020B0600070205080204" pitchFamily="50" charset="-128"/>
                        </a:rPr>
                        <a:t>。</a:t>
                      </a:r>
                    </a:p>
                    <a:p>
                      <a:pPr marL="171450" indent="-171450" algn="l" fontAlgn="ctr">
                        <a:lnSpc>
                          <a:spcPct val="114000"/>
                        </a:lnSpc>
                        <a:spcBef>
                          <a:spcPts val="0"/>
                        </a:spcBef>
                        <a:spcAft>
                          <a:spcPts val="300"/>
                        </a:spcAft>
                        <a:buClr>
                          <a:srgbClr val="5F8AC3"/>
                        </a:buClr>
                        <a:buSzPct val="100000"/>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rPr>
                        <a:t>毎年</a:t>
                      </a:r>
                      <a:r>
                        <a:rPr lang="en-US" altLang="ja-JP" sz="1000" dirty="0">
                          <a:latin typeface="Arial" panose="020B0604020202020204" pitchFamily="34" charset="0"/>
                          <a:ea typeface="ＭＳ Ｐゴシック" panose="020B0600070205080204" pitchFamily="50" charset="-128"/>
                        </a:rPr>
                        <a:t>100</a:t>
                      </a:r>
                      <a:r>
                        <a:rPr lang="ja-JP" altLang="en-US" sz="1000" dirty="0">
                          <a:latin typeface="Arial" panose="020B0604020202020204" pitchFamily="34" charset="0"/>
                          <a:ea typeface="ＭＳ Ｐゴシック" panose="020B0600070205080204" pitchFamily="50" charset="-128"/>
                        </a:rPr>
                        <a:t>万人の利用実績があり、ブラジル</a:t>
                      </a:r>
                      <a:r>
                        <a:rPr lang="ja-JP" altLang="en-US" sz="1050" dirty="0">
                          <a:solidFill>
                            <a:srgbClr val="000000"/>
                          </a:solidFill>
                          <a:latin typeface="Arial Black" pitchFamily="34" charset="0"/>
                          <a:ea typeface="HGP創英角ｺﾞｼｯｸUB" pitchFamily="50" charset="-128"/>
                        </a:rPr>
                        <a:t>最高峰の公立病院の</a:t>
                      </a:r>
                      <a:r>
                        <a:rPr lang="en-US" altLang="ja-JP" sz="1050" dirty="0">
                          <a:solidFill>
                            <a:srgbClr val="000000"/>
                          </a:solidFill>
                          <a:latin typeface="Arial Black" pitchFamily="34" charset="0"/>
                          <a:ea typeface="HGP創英角ｺﾞｼｯｸUB" pitchFamily="50" charset="-128"/>
                        </a:rPr>
                        <a:t>1</a:t>
                      </a:r>
                      <a:r>
                        <a:rPr lang="ja-JP" altLang="en-US" sz="1050" dirty="0">
                          <a:solidFill>
                            <a:srgbClr val="000000"/>
                          </a:solidFill>
                          <a:latin typeface="Arial Black" pitchFamily="34" charset="0"/>
                          <a:ea typeface="HGP創英角ｺﾞｼｯｸUB" pitchFamily="50" charset="-128"/>
                        </a:rPr>
                        <a:t>つ</a:t>
                      </a:r>
                      <a:r>
                        <a:rPr lang="ja-JP" altLang="en-US" sz="1000" dirty="0">
                          <a:latin typeface="Arial" panose="020B0604020202020204" pitchFamily="34" charset="0"/>
                          <a:ea typeface="ＭＳ Ｐゴシック" panose="020B0600070205080204" pitchFamily="50" charset="-128"/>
                        </a:rPr>
                        <a:t>となっている。</a:t>
                      </a:r>
                    </a:p>
                    <a:p>
                      <a:pPr marL="171450" indent="-171450" algn="l" fontAlgn="ctr">
                        <a:lnSpc>
                          <a:spcPct val="114000"/>
                        </a:lnSpc>
                        <a:spcBef>
                          <a:spcPts val="0"/>
                        </a:spcBef>
                        <a:spcAft>
                          <a:spcPts val="300"/>
                        </a:spcAft>
                        <a:buClr>
                          <a:srgbClr val="5F8AC3"/>
                        </a:buClr>
                        <a:buSzPct val="100000"/>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rPr>
                        <a:t>カンピーナス大学は、他に</a:t>
                      </a:r>
                      <a:r>
                        <a:rPr lang="ja-JP" altLang="en-US" sz="1050" dirty="0">
                          <a:solidFill>
                            <a:srgbClr val="000000"/>
                          </a:solidFill>
                          <a:latin typeface="Arial Black" pitchFamily="34" charset="0"/>
                          <a:ea typeface="HGP創英角ｺﾞｼｯｸUB" pitchFamily="50" charset="-128"/>
                        </a:rPr>
                        <a:t>地域医療を支える病院を</a:t>
                      </a:r>
                      <a:r>
                        <a:rPr lang="en-US" altLang="ja-JP" sz="1050" dirty="0">
                          <a:solidFill>
                            <a:srgbClr val="000000"/>
                          </a:solidFill>
                          <a:latin typeface="Arial Black" pitchFamily="34" charset="0"/>
                          <a:ea typeface="HGP創英角ｺﾞｼｯｸUB" pitchFamily="50" charset="-128"/>
                        </a:rPr>
                        <a:t>2</a:t>
                      </a:r>
                      <a:r>
                        <a:rPr lang="ja-JP" altLang="en-US" sz="1050" dirty="0">
                          <a:solidFill>
                            <a:srgbClr val="000000"/>
                          </a:solidFill>
                          <a:latin typeface="Arial Black" pitchFamily="34" charset="0"/>
                          <a:ea typeface="HGP創英角ｺﾞｼｯｸUB" pitchFamily="50" charset="-128"/>
                        </a:rPr>
                        <a:t>ヵ所運営</a:t>
                      </a:r>
                      <a:r>
                        <a:rPr lang="ja-JP" altLang="en-US" sz="1000" dirty="0">
                          <a:latin typeface="Arial" panose="020B0604020202020204" pitchFamily="34" charset="0"/>
                          <a:ea typeface="ＭＳ Ｐゴシック" panose="020B0600070205080204" pitchFamily="50" charset="-128"/>
                        </a:rPr>
                        <a:t>して</a:t>
                      </a:r>
                      <a:r>
                        <a:rPr lang="ja-JP" altLang="en-US" sz="1050" dirty="0">
                          <a:latin typeface="Arial" panose="020B0604020202020204" pitchFamily="34" charset="0"/>
                          <a:ea typeface="ＭＳ Ｐゴシック" panose="020B0600070205080204" pitchFamily="50" charset="-128"/>
                        </a:rPr>
                        <a:t>い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366,8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20,9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45864">
                <a:tc>
                  <a:txBody>
                    <a:bodyPr/>
                    <a:lstStyle/>
                    <a:p>
                      <a:pPr algn="ctr" fontAlgn="t"/>
                      <a:r>
                        <a:rPr lang="ja-JP" altLang="en-US" sz="1000" b="1" i="0" u="none" strike="noStrike" dirty="0">
                          <a:solidFill>
                            <a:srgbClr val="000000"/>
                          </a:solidFill>
                          <a:effectLst/>
                          <a:latin typeface="MS Pゴシック"/>
                        </a:rPr>
                        <a:t>サンパウロ州立</a:t>
                      </a:r>
                      <a:br>
                        <a:rPr lang="en-US" altLang="ja-JP" sz="1000" b="1" i="0" u="none" strike="noStrike" dirty="0">
                          <a:solidFill>
                            <a:srgbClr val="000000"/>
                          </a:solidFill>
                          <a:effectLst/>
                          <a:latin typeface="MS Pゴシック"/>
                        </a:rPr>
                      </a:br>
                      <a:r>
                        <a:rPr lang="ja-JP" altLang="en-US" sz="1000" b="1" i="0" u="none" strike="noStrike" dirty="0">
                          <a:solidFill>
                            <a:srgbClr val="000000"/>
                          </a:solidFill>
                          <a:effectLst/>
                          <a:latin typeface="MS Pゴシック"/>
                        </a:rPr>
                        <a:t>サンパウロ大学附属病院</a:t>
                      </a:r>
                      <a:br>
                        <a:rPr lang="en-US" altLang="ja-JP" sz="1000" b="1" i="0" u="none" strike="noStrike" dirty="0">
                          <a:solidFill>
                            <a:srgbClr val="000000"/>
                          </a:solidFill>
                          <a:effectLst/>
                          <a:latin typeface="MS Pゴシック"/>
                        </a:rPr>
                      </a:br>
                      <a:r>
                        <a:rPr lang="ja-JP" altLang="en-US" sz="1000" b="1" i="0" u="none" strike="noStrike" dirty="0">
                          <a:solidFill>
                            <a:srgbClr val="000000"/>
                          </a:solidFill>
                          <a:effectLst/>
                          <a:latin typeface="MS Pゴシック"/>
                        </a:rPr>
                        <a:t>（</a:t>
                      </a:r>
                      <a:r>
                        <a:rPr lang="en-US" altLang="ja-JP" sz="1000" b="1" i="0" u="none" strike="noStrike" dirty="0">
                          <a:solidFill>
                            <a:srgbClr val="000000"/>
                          </a:solidFill>
                          <a:effectLst/>
                          <a:latin typeface="Arial" panose="020B0604020202020204" pitchFamily="34" charset="0"/>
                        </a:rPr>
                        <a:t>HU USP</a:t>
                      </a:r>
                      <a:r>
                        <a:rPr lang="ja-JP" altLang="en-US" sz="1000" b="1" i="0" u="none" strike="noStrike" dirty="0">
                          <a:solidFill>
                            <a:srgbClr val="000000"/>
                          </a:solidFill>
                          <a:effectLst/>
                          <a:latin typeface="MS Pゴシック"/>
                        </a:rPr>
                        <a:t>）</a:t>
                      </a:r>
                      <a:endParaRPr lang="ja-JP" altLang="en-US" sz="10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rPr>
                        <a:t>ブラジル最大の大学である</a:t>
                      </a:r>
                      <a:r>
                        <a:rPr lang="ja-JP" altLang="en-US" sz="1050" dirty="0">
                          <a:solidFill>
                            <a:srgbClr val="000000"/>
                          </a:solidFill>
                          <a:latin typeface="Arial Black" pitchFamily="34" charset="0"/>
                          <a:ea typeface="HGP創英角ｺﾞｼｯｸUB" pitchFamily="50" charset="-128"/>
                        </a:rPr>
                        <a:t>州立サンパウロ大学（</a:t>
                      </a:r>
                      <a:r>
                        <a:rPr lang="en-US" altLang="ja-JP" sz="1050" dirty="0">
                          <a:solidFill>
                            <a:srgbClr val="000000"/>
                          </a:solidFill>
                          <a:latin typeface="Arial Black" pitchFamily="34" charset="0"/>
                          <a:ea typeface="HGP創英角ｺﾞｼｯｸUB" pitchFamily="50" charset="-128"/>
                        </a:rPr>
                        <a:t>USP</a:t>
                      </a:r>
                      <a:r>
                        <a:rPr lang="ja-JP" altLang="en-US" sz="1050" dirty="0">
                          <a:solidFill>
                            <a:srgbClr val="000000"/>
                          </a:solidFill>
                          <a:latin typeface="Arial Black" pitchFamily="34" charset="0"/>
                          <a:ea typeface="HGP創英角ｺﾞｼｯｸUB" pitchFamily="50" charset="-128"/>
                        </a:rPr>
                        <a:t>）が持つ附属病院</a:t>
                      </a:r>
                      <a:r>
                        <a:rPr lang="ja-JP" altLang="en-US" sz="1000" dirty="0">
                          <a:latin typeface="Arial" panose="020B0604020202020204" pitchFamily="34" charset="0"/>
                          <a:ea typeface="ＭＳ Ｐゴシック" panose="020B0600070205080204" pitchFamily="50" charset="-128"/>
                        </a:rPr>
                        <a:t>の一つ。</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en-US" altLang="ja-JP" sz="1000" spc="20" dirty="0">
                          <a:latin typeface="Arial" panose="020B0604020202020204" pitchFamily="34" charset="0"/>
                          <a:ea typeface="ＭＳ Ｐゴシック" panose="020B0600070205080204" pitchFamily="50" charset="-128"/>
                        </a:rPr>
                        <a:t>1968</a:t>
                      </a:r>
                      <a:r>
                        <a:rPr lang="ja-JP" altLang="en-US" sz="1000" spc="20" dirty="0">
                          <a:latin typeface="Arial" panose="020B0604020202020204" pitchFamily="34" charset="0"/>
                          <a:ea typeface="ＭＳ Ｐゴシック" panose="020B0600070205080204" pitchFamily="50" charset="-128"/>
                        </a:rPr>
                        <a:t>年に運営開始。病床数は</a:t>
                      </a:r>
                      <a:r>
                        <a:rPr lang="en-US" altLang="ja-JP" sz="1000" spc="20" dirty="0">
                          <a:latin typeface="Arial" panose="020B0604020202020204" pitchFamily="34" charset="0"/>
                          <a:ea typeface="ＭＳ Ｐゴシック" panose="020B0600070205080204" pitchFamily="50" charset="-128"/>
                        </a:rPr>
                        <a:t>206</a:t>
                      </a:r>
                      <a:r>
                        <a:rPr lang="ja-JP" altLang="en-US" sz="1000" spc="20" dirty="0">
                          <a:latin typeface="Arial" panose="020B0604020202020204" pitchFamily="34" charset="0"/>
                          <a:ea typeface="ＭＳ Ｐゴシック" panose="020B0600070205080204" pitchFamily="50" charset="-128"/>
                        </a:rPr>
                        <a:t>となってい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37,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4,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45864">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ja-JP" altLang="en-US" sz="1000" b="1" i="0" u="none" strike="noStrike" dirty="0">
                          <a:solidFill>
                            <a:srgbClr val="000000"/>
                          </a:solidFill>
                          <a:effectLst/>
                          <a:latin typeface="MS Pゴシック"/>
                        </a:rPr>
                        <a:t>サンパウロ州立</a:t>
                      </a:r>
                      <a:br>
                        <a:rPr lang="en-US" altLang="ja-JP" sz="1000" b="1" i="0" u="none" strike="noStrike" dirty="0">
                          <a:solidFill>
                            <a:srgbClr val="000000"/>
                          </a:solidFill>
                          <a:effectLst/>
                          <a:latin typeface="MS Pゴシック"/>
                        </a:rPr>
                      </a:br>
                      <a:r>
                        <a:rPr lang="ja-JP" altLang="en-US" sz="1000" b="1" i="0" u="none" strike="noStrike" dirty="0">
                          <a:solidFill>
                            <a:srgbClr val="000000"/>
                          </a:solidFill>
                          <a:effectLst/>
                          <a:latin typeface="MS Pゴシック"/>
                        </a:rPr>
                        <a:t>サンパウロ大学医学部附属病院</a:t>
                      </a:r>
                      <a:br>
                        <a:rPr lang="en-US" altLang="ja-JP" sz="1000" b="1" i="0" u="none" strike="noStrike" dirty="0">
                          <a:solidFill>
                            <a:srgbClr val="000000"/>
                          </a:solidFill>
                          <a:effectLst/>
                          <a:latin typeface="MS Pゴシック"/>
                        </a:rPr>
                      </a:br>
                      <a:r>
                        <a:rPr lang="ja-JP" altLang="en-US" sz="1000" b="1" i="0" u="none" strike="noStrike" dirty="0">
                          <a:solidFill>
                            <a:srgbClr val="000000"/>
                          </a:solidFill>
                          <a:effectLst/>
                          <a:latin typeface="MS Pゴシック"/>
                        </a:rPr>
                        <a:t>（</a:t>
                      </a:r>
                      <a:r>
                        <a:rPr lang="en-US" altLang="ja-JP" sz="1000" b="1" i="0" u="none" strike="noStrike" dirty="0">
                          <a:solidFill>
                            <a:srgbClr val="000000"/>
                          </a:solidFill>
                          <a:effectLst/>
                          <a:latin typeface="Arial" panose="020B0604020202020204" pitchFamily="34" charset="0"/>
                        </a:rPr>
                        <a:t>HCFM USP</a:t>
                      </a:r>
                      <a:r>
                        <a:rPr lang="ja-JP" altLang="en-US" sz="1000" b="1" i="0" u="none" strike="noStrike" dirty="0">
                          <a:solidFill>
                            <a:srgbClr val="000000"/>
                          </a:solidFill>
                          <a:effectLst/>
                          <a:latin typeface="MS Pゴシック"/>
                        </a:rPr>
                        <a:t>）</a:t>
                      </a:r>
                      <a:endParaRPr lang="ja-JP" altLang="en-US" sz="10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kumimoji="1" lang="ja-JP" altLang="en-US" sz="1000" kern="1200" spc="20" dirty="0">
                          <a:solidFill>
                            <a:schemeClr val="dk1"/>
                          </a:solidFill>
                          <a:latin typeface="Arial" panose="020B0604020202020204" pitchFamily="34" charset="0"/>
                          <a:ea typeface="ＭＳ Ｐゴシック" panose="020B0600070205080204" pitchFamily="50" charset="-128"/>
                          <a:cs typeface="+mn-cs"/>
                        </a:rPr>
                        <a:t>ブラジル最大の大学である</a:t>
                      </a:r>
                      <a:r>
                        <a:rPr lang="ja-JP" altLang="en-US" sz="1000" dirty="0">
                          <a:solidFill>
                            <a:srgbClr val="000000"/>
                          </a:solidFill>
                          <a:latin typeface="Arial Black" pitchFamily="34" charset="0"/>
                          <a:ea typeface="HGP創英角ｺﾞｼｯｸUB" pitchFamily="50" charset="-128"/>
                        </a:rPr>
                        <a:t>州立サンパウロ大学（</a:t>
                      </a:r>
                      <a:r>
                        <a:rPr lang="en-US" altLang="ja-JP" sz="1000" dirty="0">
                          <a:solidFill>
                            <a:srgbClr val="000000"/>
                          </a:solidFill>
                          <a:latin typeface="Arial Black" pitchFamily="34" charset="0"/>
                          <a:ea typeface="HGP創英角ｺﾞｼｯｸUB" pitchFamily="50" charset="-128"/>
                        </a:rPr>
                        <a:t>USP</a:t>
                      </a:r>
                      <a:r>
                        <a:rPr lang="ja-JP" altLang="en-US" sz="1000" dirty="0">
                          <a:solidFill>
                            <a:srgbClr val="000000"/>
                          </a:solidFill>
                          <a:latin typeface="Arial Black" pitchFamily="34" charset="0"/>
                          <a:ea typeface="HGP創英角ｺﾞｼｯｸUB" pitchFamily="50" charset="-128"/>
                        </a:rPr>
                        <a:t>）が持つ附属病院</a:t>
                      </a:r>
                      <a:r>
                        <a:rPr lang="ja-JP" altLang="en-US" sz="900" dirty="0">
                          <a:latin typeface="Arial" panose="020B0604020202020204" pitchFamily="34" charset="0"/>
                          <a:ea typeface="ＭＳ Ｐゴシック" panose="020B0600070205080204" pitchFamily="50" charset="-128"/>
                        </a:rPr>
                        <a:t>の一つ。</a:t>
                      </a:r>
                      <a:endParaRPr lang="en-US" altLang="ja-JP" sz="1000" spc="20" dirty="0">
                        <a:latin typeface="Arial" panose="020B0604020202020204" pitchFamily="34" charset="0"/>
                        <a:ea typeface="ＭＳ Ｐゴシック" panose="020B0600070205080204" pitchFamily="50" charset="-128"/>
                      </a:endParaRPr>
                    </a:p>
                    <a:p>
                      <a:pPr marL="171450" indent="-171450" algn="l" fontAlgn="ctr">
                        <a:lnSpc>
                          <a:spcPct val="114000"/>
                        </a:lnSpc>
                        <a:spcAft>
                          <a:spcPts val="300"/>
                        </a:spcAft>
                        <a:buClr>
                          <a:srgbClr val="5F8AC3"/>
                        </a:buClr>
                        <a:buSzPct val="100000"/>
                        <a:buFont typeface="Wingdings" panose="05000000000000000000" pitchFamily="2" charset="2"/>
                        <a:buChar char="n"/>
                      </a:pPr>
                      <a:r>
                        <a:rPr lang="en-US" altLang="ja-JP" sz="1000" spc="20" dirty="0">
                          <a:latin typeface="Arial" panose="020B0604020202020204" pitchFamily="34" charset="0"/>
                          <a:ea typeface="ＭＳ Ｐゴシック" panose="020B0600070205080204" pitchFamily="50" charset="-128"/>
                        </a:rPr>
                        <a:t>1944</a:t>
                      </a:r>
                      <a:r>
                        <a:rPr lang="ja-JP" altLang="en-US" sz="1000" spc="20" dirty="0">
                          <a:latin typeface="Arial" panose="020B0604020202020204" pitchFamily="34" charset="0"/>
                          <a:ea typeface="ＭＳ Ｐゴシック" panose="020B0600070205080204" pitchFamily="50" charset="-128"/>
                        </a:rPr>
                        <a:t>年に設立。病床数は</a:t>
                      </a:r>
                      <a:r>
                        <a:rPr lang="en-US" altLang="ja-JP" sz="1000" spc="20" dirty="0">
                          <a:latin typeface="Arial" panose="020B0604020202020204" pitchFamily="34" charset="0"/>
                          <a:ea typeface="ＭＳ Ｐゴシック" panose="020B0600070205080204" pitchFamily="50" charset="-128"/>
                        </a:rPr>
                        <a:t>2400</a:t>
                      </a:r>
                      <a:r>
                        <a:rPr lang="ja-JP" altLang="en-US" sz="1000" spc="20" dirty="0">
                          <a:latin typeface="Arial" panose="020B0604020202020204" pitchFamily="34" charset="0"/>
                          <a:ea typeface="ＭＳ Ｐゴシック" panose="020B0600070205080204" pitchFamily="50" charset="-128"/>
                        </a:rPr>
                        <a:t>にとなってい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54572392"/>
                  </a:ext>
                </a:extLst>
              </a:tr>
              <a:tr h="539283">
                <a:tc>
                  <a:txBody>
                    <a:bodyPr/>
                    <a:lstStyle/>
                    <a:p>
                      <a:pPr algn="ctr" fontAlgn="t"/>
                      <a:r>
                        <a:rPr lang="ja-JP" altLang="en-US" sz="1000" b="1" i="0" u="none" strike="noStrike" dirty="0">
                          <a:solidFill>
                            <a:srgbClr val="000000"/>
                          </a:solidFill>
                          <a:effectLst/>
                          <a:latin typeface="MS Pゴシック"/>
                        </a:rPr>
                        <a:t>サラ・クビチェッキ・</a:t>
                      </a:r>
                      <a:br>
                        <a:rPr lang="en-US" altLang="ja-JP" sz="1000" b="1" i="0" u="none" strike="noStrike" dirty="0">
                          <a:solidFill>
                            <a:srgbClr val="000000"/>
                          </a:solidFill>
                          <a:effectLst/>
                          <a:latin typeface="MS Pゴシック"/>
                        </a:rPr>
                      </a:br>
                      <a:r>
                        <a:rPr lang="ja-JP" altLang="en-US" sz="1000" b="1" i="0" u="none" strike="noStrike" dirty="0">
                          <a:solidFill>
                            <a:srgbClr val="000000"/>
                          </a:solidFill>
                          <a:effectLst/>
                          <a:latin typeface="MS Pゴシック"/>
                        </a:rPr>
                        <a:t>ネットワーク</a:t>
                      </a:r>
                      <a:endParaRPr lang="ja-JP" altLang="en-US" sz="10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000" spc="-30" dirty="0">
                          <a:latin typeface="Arial" panose="020B0604020202020204" pitchFamily="34" charset="0"/>
                          <a:ea typeface="ＭＳ Ｐゴシック" panose="020B0600070205080204" pitchFamily="50" charset="-128"/>
                        </a:rPr>
                        <a:t>ブラジル国内に</a:t>
                      </a:r>
                      <a:r>
                        <a:rPr lang="en-US" altLang="ja-JP" sz="1050" spc="-30" dirty="0">
                          <a:solidFill>
                            <a:srgbClr val="000000"/>
                          </a:solidFill>
                          <a:latin typeface="Arial Black" pitchFamily="34" charset="0"/>
                          <a:ea typeface="HGP創英角ｺﾞｼｯｸUB" pitchFamily="50" charset="-128"/>
                        </a:rPr>
                        <a:t>9</a:t>
                      </a:r>
                      <a:r>
                        <a:rPr lang="ja-JP" altLang="en-US" sz="1050" spc="-30" dirty="0">
                          <a:solidFill>
                            <a:srgbClr val="000000"/>
                          </a:solidFill>
                          <a:latin typeface="Arial Black" pitchFamily="34" charset="0"/>
                          <a:ea typeface="HGP創英角ｺﾞｼｯｸUB" pitchFamily="50" charset="-128"/>
                        </a:rPr>
                        <a:t>拠点を持つ医療機関ネットワーク。</a:t>
                      </a:r>
                      <a:r>
                        <a:rPr lang="ja-JP" altLang="en-US" sz="1000" spc="-30" dirty="0">
                          <a:latin typeface="Arial" panose="020B0604020202020204" pitchFamily="34" charset="0"/>
                          <a:ea typeface="ＭＳ Ｐゴシック" panose="020B0600070205080204" pitchFamily="50" charset="-128"/>
                        </a:rPr>
                        <a:t>いずれの拠点でも様々な疾病、症状に対するリハビリを提供している。</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000" spc="-30" dirty="0">
                          <a:latin typeface="Arial" panose="020B0604020202020204" pitchFamily="34" charset="0"/>
                          <a:ea typeface="ＭＳ Ｐゴシック" panose="020B0600070205080204" pitchFamily="50" charset="-128"/>
                        </a:rPr>
                        <a:t>運営は、民間非営利団体であるサラ協会により行われているが、全運営資金は政府から供給されており、</a:t>
                      </a:r>
                      <a:r>
                        <a:rPr lang="ja-JP" altLang="en-US" sz="1050" spc="-30" dirty="0">
                          <a:solidFill>
                            <a:srgbClr val="000000"/>
                          </a:solidFill>
                          <a:latin typeface="Arial Black" pitchFamily="34" charset="0"/>
                          <a:ea typeface="HGP創英角ｺﾞｼｯｸUB" pitchFamily="50" charset="-128"/>
                        </a:rPr>
                        <a:t>公的医療機関の役割を果たしてい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25801">
                <a:tc>
                  <a:txBody>
                    <a:bodyPr/>
                    <a:lstStyle/>
                    <a:p>
                      <a:pPr algn="ctr" fontAlgn="t"/>
                      <a:r>
                        <a:rPr lang="ja-JP" altLang="en-US" sz="1000" b="1" i="0" u="none" strike="noStrike" dirty="0">
                          <a:solidFill>
                            <a:srgbClr val="000000"/>
                          </a:solidFill>
                          <a:effectLst/>
                          <a:latin typeface="MS Pゴシック"/>
                        </a:rPr>
                        <a:t>国立ガン研究所</a:t>
                      </a:r>
                      <a:br>
                        <a:rPr lang="en-US" altLang="ja-JP" sz="1000" b="1" i="0" u="none" strike="noStrike" dirty="0">
                          <a:solidFill>
                            <a:srgbClr val="000000"/>
                          </a:solidFill>
                          <a:effectLst/>
                          <a:latin typeface="MS Pゴシック"/>
                        </a:rPr>
                      </a:br>
                      <a:r>
                        <a:rPr lang="ja-JP" altLang="en-US" sz="1000" b="1" i="0" u="none" strike="noStrike" dirty="0">
                          <a:solidFill>
                            <a:srgbClr val="000000"/>
                          </a:solidFill>
                          <a:effectLst/>
                          <a:latin typeface="MS Pゴシック"/>
                        </a:rPr>
                        <a:t>（</a:t>
                      </a:r>
                      <a:r>
                        <a:rPr lang="en-US" altLang="ja-JP" sz="1000" b="1" i="0" u="none" strike="noStrike" dirty="0">
                          <a:solidFill>
                            <a:srgbClr val="000000"/>
                          </a:solidFill>
                          <a:effectLst/>
                          <a:latin typeface="Arial" panose="020B0604020202020204" pitchFamily="34" charset="0"/>
                        </a:rPr>
                        <a:t>INCA</a:t>
                      </a:r>
                      <a:r>
                        <a:rPr lang="ja-JP" altLang="en-US" sz="1000" b="1" i="0" u="none" strike="noStrike" dirty="0">
                          <a:solidFill>
                            <a:srgbClr val="000000"/>
                          </a:solidFill>
                          <a:effectLst/>
                          <a:latin typeface="MS Pゴシック"/>
                        </a:rPr>
                        <a:t>）</a:t>
                      </a:r>
                      <a:endParaRPr lang="ja-JP" altLang="en-US" sz="10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rPr>
                        <a:t>保健省直轄の機関で、ブラジルの</a:t>
                      </a:r>
                      <a:r>
                        <a:rPr lang="ja-JP" altLang="en-US" sz="1050" dirty="0">
                          <a:solidFill>
                            <a:srgbClr val="000000"/>
                          </a:solidFill>
                          <a:latin typeface="Arial Black" pitchFamily="34" charset="0"/>
                          <a:ea typeface="HGP創英角ｺﾞｼｯｸUB" pitchFamily="50" charset="-128"/>
                        </a:rPr>
                        <a:t>ガン予防等に関する活動</a:t>
                      </a:r>
                      <a:r>
                        <a:rPr lang="ja-JP" altLang="en-US" sz="1000" dirty="0">
                          <a:latin typeface="Arial" panose="020B0604020202020204" pitchFamily="34" charset="0"/>
                          <a:ea typeface="ＭＳ Ｐゴシック" panose="020B0600070205080204" pitchFamily="50" charset="-128"/>
                        </a:rPr>
                        <a:t>を行っている。</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rPr>
                        <a:t>公的保険（</a:t>
                      </a:r>
                      <a:r>
                        <a:rPr lang="en-US" altLang="ja-JP" sz="1000" dirty="0">
                          <a:latin typeface="Arial" panose="020B0604020202020204" pitchFamily="34" charset="0"/>
                          <a:ea typeface="ＭＳ Ｐゴシック" panose="020B0600070205080204" pitchFamily="50" charset="-128"/>
                        </a:rPr>
                        <a:t>SUS</a:t>
                      </a:r>
                      <a:r>
                        <a:rPr lang="ja-JP" altLang="en-US" sz="1000" dirty="0">
                          <a:latin typeface="Arial" panose="020B0604020202020204" pitchFamily="34" charset="0"/>
                          <a:ea typeface="ＭＳ Ｐゴシック" panose="020B0600070205080204" pitchFamily="50" charset="-128"/>
                        </a:rPr>
                        <a:t>）を利用できるため、</a:t>
                      </a:r>
                      <a:r>
                        <a:rPr lang="ja-JP" altLang="en-US" sz="1050" dirty="0">
                          <a:solidFill>
                            <a:srgbClr val="000000"/>
                          </a:solidFill>
                          <a:latin typeface="Arial Black" pitchFamily="34" charset="0"/>
                          <a:ea typeface="HGP創英角ｺﾞｼｯｸUB" pitchFamily="50" charset="-128"/>
                        </a:rPr>
                        <a:t>無料で医療サービスを受けることもできる。</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rPr>
                        <a:t>医療サービスを提供する機能のほか、</a:t>
                      </a:r>
                      <a:r>
                        <a:rPr lang="ja-JP" altLang="en-US" sz="1050" dirty="0">
                          <a:solidFill>
                            <a:srgbClr val="000000"/>
                          </a:solidFill>
                          <a:latin typeface="Arial Black" pitchFamily="34" charset="0"/>
                          <a:ea typeface="HGP創英角ｺﾞｼｯｸUB" pitchFamily="50" charset="-128"/>
                        </a:rPr>
                        <a:t>研究所や教育機関としての機能も持つ。</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2.5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25801">
                <a:tc>
                  <a:txBody>
                    <a:bodyPr/>
                    <a:lstStyle/>
                    <a:p>
                      <a:pPr algn="ctr" fontAlgn="t"/>
                      <a:r>
                        <a:rPr lang="ja-JP" altLang="en-US" sz="1000" b="1" i="0" u="none" strike="noStrike" dirty="0">
                          <a:solidFill>
                            <a:srgbClr val="000000"/>
                          </a:solidFill>
                          <a:effectLst/>
                          <a:latin typeface="MS Pゴシック"/>
                        </a:rPr>
                        <a:t>心臓研究所</a:t>
                      </a:r>
                      <a:br>
                        <a:rPr lang="en-US" altLang="ja-JP" sz="1000" b="1" i="0" u="none" strike="noStrike" dirty="0">
                          <a:solidFill>
                            <a:srgbClr val="000000"/>
                          </a:solidFill>
                          <a:effectLst/>
                          <a:latin typeface="MS Pゴシック"/>
                        </a:rPr>
                      </a:br>
                      <a:r>
                        <a:rPr lang="ja-JP" altLang="en-US" sz="1000" b="1" i="0" u="none" strike="noStrike" dirty="0">
                          <a:solidFill>
                            <a:srgbClr val="000000"/>
                          </a:solidFill>
                          <a:effectLst/>
                          <a:latin typeface="MS Pゴシック"/>
                        </a:rPr>
                        <a:t>（</a:t>
                      </a:r>
                      <a:r>
                        <a:rPr lang="en-US" sz="1000" b="1" i="0" u="none" strike="noStrike" dirty="0">
                          <a:solidFill>
                            <a:srgbClr val="000000"/>
                          </a:solidFill>
                          <a:effectLst/>
                          <a:latin typeface="Arial" panose="020B0604020202020204" pitchFamily="34" charset="0"/>
                        </a:rPr>
                        <a:t>INCOR</a:t>
                      </a:r>
                      <a:r>
                        <a:rPr lang="en-US" sz="1000" b="1" i="0" u="none" strike="noStrike" dirty="0">
                          <a:solidFill>
                            <a:srgbClr val="000000"/>
                          </a:solidFill>
                          <a:effectLst/>
                          <a:latin typeface="MS Pゴシック"/>
                        </a:rPr>
                        <a:t>）</a:t>
                      </a:r>
                      <a:endParaRPr lang="en-US" sz="10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rPr>
                        <a:t>サンパウロ大学医学部傘下の大学病院。</a:t>
                      </a:r>
                      <a:r>
                        <a:rPr lang="ja-JP" altLang="en-US" sz="1000" dirty="0">
                          <a:solidFill>
                            <a:srgbClr val="000000"/>
                          </a:solidFill>
                          <a:latin typeface="Arial Black" pitchFamily="34" charset="0"/>
                          <a:ea typeface="HGP創英角ｺﾞｼｯｸUB" pitchFamily="50" charset="-128"/>
                        </a:rPr>
                        <a:t>心臓のほか、呼吸器も対象としている。</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rPr>
                        <a:t>医療サービスを提供する機能のほか、</a:t>
                      </a:r>
                      <a:r>
                        <a:rPr lang="ja-JP" altLang="en-US" sz="1000" dirty="0">
                          <a:solidFill>
                            <a:srgbClr val="000000"/>
                          </a:solidFill>
                          <a:latin typeface="Arial Black" pitchFamily="34" charset="0"/>
                          <a:ea typeface="HGP創英角ｺﾞｼｯｸUB" pitchFamily="50" charset="-128"/>
                        </a:rPr>
                        <a:t>研究所や教育機関としての機能も持つ。</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7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0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578459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医療関連／医療・公衆衛生</a:t>
            </a:r>
            <a:endParaRPr kumimoji="1" lang="ja-JP" altLang="en-US" dirty="0"/>
          </a:p>
        </p:txBody>
      </p:sp>
      <p:sp>
        <p:nvSpPr>
          <p:cNvPr id="5" name="テキスト プレースホルダー 4"/>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p>
        </p:txBody>
      </p:sp>
      <p:sp>
        <p:nvSpPr>
          <p:cNvPr id="6" name="テキスト ボックス 5"/>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ンパウロでは、シリオ・レバニーズ病院とアルバート・アインシュタイン病院が、人気を二分する有名な私立病院であり、どちらも最新鋭の機器や技術を保有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で勤務する多くの医師は、医療機関に所属していない（雇用関係にはない）。</a:t>
            </a:r>
          </a:p>
        </p:txBody>
      </p:sp>
      <p:grpSp>
        <p:nvGrpSpPr>
          <p:cNvPr id="7" name="グループ化 7"/>
          <p:cNvGrpSpPr/>
          <p:nvPr/>
        </p:nvGrpSpPr>
        <p:grpSpPr>
          <a:xfrm>
            <a:off x="416496" y="2170559"/>
            <a:ext cx="9073008"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p>
          </p:txBody>
        </p:sp>
      </p:grpSp>
      <p:sp>
        <p:nvSpPr>
          <p:cNvPr id="23" name="テキスト ボックス 22"/>
          <p:cNvSpPr txBox="1"/>
          <p:nvPr/>
        </p:nvSpPr>
        <p:spPr>
          <a:xfrm>
            <a:off x="200472" y="6525344"/>
            <a:ext cx="6912768" cy="216024"/>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JETRO</a:t>
            </a:r>
            <a:r>
              <a:rPr kumimoji="0" lang="ja-JP" altLang="en-US" sz="800" dirty="0" bmk=""/>
              <a:t>「ブラジルの医療機器市場と規制」（</a:t>
            </a:r>
            <a:r>
              <a:rPr kumimoji="0" lang="en-US" altLang="ja-JP" sz="800" dirty="0" bmk=""/>
              <a:t>2012</a:t>
            </a:r>
            <a:r>
              <a:rPr kumimoji="0" lang="ja-JP" altLang="en-US" sz="800" dirty="0" bmk=""/>
              <a:t>）、各医療機関ホームページ、</a:t>
            </a:r>
            <a:r>
              <a:rPr kumimoji="0" lang="en-US" altLang="ja-JP" sz="800" dirty="0" bmk=""/>
              <a:t>NEC </a:t>
            </a:r>
            <a:r>
              <a:rPr kumimoji="0" lang="ja-JP" altLang="en-US" sz="800" dirty="0" bmk=""/>
              <a:t>ホームページ</a:t>
            </a:r>
            <a:endParaRPr kumimoji="0" lang="en-US" altLang="ja-JP" sz="800" dirty="0" bmk=""/>
          </a:p>
        </p:txBody>
      </p:sp>
      <p:graphicFrame>
        <p:nvGraphicFramePr>
          <p:cNvPr id="22" name="表 12">
            <a:extLst>
              <a:ext uri="{FF2B5EF4-FFF2-40B4-BE49-F238E27FC236}">
                <a16:creationId xmlns:a16="http://schemas.microsoft.com/office/drawing/2014/main" id="{16A51CD8-13FF-48A3-A1F3-3EAEC9DBD331}"/>
              </a:ext>
            </a:extLst>
          </p:cNvPr>
          <p:cNvGraphicFramePr>
            <a:graphicFrameLocks noGrp="1"/>
          </p:cNvGraphicFramePr>
          <p:nvPr>
            <p:extLst>
              <p:ext uri="{D42A27DB-BD31-4B8C-83A1-F6EECF244321}">
                <p14:modId xmlns:p14="http://schemas.microsoft.com/office/powerpoint/2010/main" val="3799928898"/>
              </p:ext>
            </p:extLst>
          </p:nvPr>
        </p:nvGraphicFramePr>
        <p:xfrm>
          <a:off x="433338" y="2561194"/>
          <a:ext cx="9000999" cy="3532097"/>
        </p:xfrm>
        <a:graphic>
          <a:graphicData uri="http://schemas.openxmlformats.org/drawingml/2006/table">
            <a:tbl>
              <a:tblPr firstRow="1" bandRow="1">
                <a:tableStyleId>{5C22544A-7EE6-4342-B048-85BDC9FD1C3A}</a:tableStyleId>
              </a:tblPr>
              <a:tblGrid>
                <a:gridCol w="1826225">
                  <a:extLst>
                    <a:ext uri="{9D8B030D-6E8A-4147-A177-3AD203B41FA5}">
                      <a16:colId xmlns:a16="http://schemas.microsoft.com/office/drawing/2014/main" val="20001"/>
                    </a:ext>
                  </a:extLst>
                </a:gridCol>
                <a:gridCol w="5003810">
                  <a:extLst>
                    <a:ext uri="{9D8B030D-6E8A-4147-A177-3AD203B41FA5}">
                      <a16:colId xmlns:a16="http://schemas.microsoft.com/office/drawing/2014/main" val="20002"/>
                    </a:ext>
                  </a:extLst>
                </a:gridCol>
                <a:gridCol w="542741">
                  <a:extLst>
                    <a:ext uri="{9D8B030D-6E8A-4147-A177-3AD203B41FA5}">
                      <a16:colId xmlns:a16="http://schemas.microsoft.com/office/drawing/2014/main" val="20004"/>
                    </a:ext>
                  </a:extLst>
                </a:gridCol>
                <a:gridCol w="542741">
                  <a:extLst>
                    <a:ext uri="{9D8B030D-6E8A-4147-A177-3AD203B41FA5}">
                      <a16:colId xmlns:a16="http://schemas.microsoft.com/office/drawing/2014/main" val="20005"/>
                    </a:ext>
                  </a:extLst>
                </a:gridCol>
                <a:gridCol w="542741">
                  <a:extLst>
                    <a:ext uri="{9D8B030D-6E8A-4147-A177-3AD203B41FA5}">
                      <a16:colId xmlns:a16="http://schemas.microsoft.com/office/drawing/2014/main" val="1421179307"/>
                    </a:ext>
                  </a:extLst>
                </a:gridCol>
                <a:gridCol w="542741">
                  <a:extLst>
                    <a:ext uri="{9D8B030D-6E8A-4147-A177-3AD203B41FA5}">
                      <a16:colId xmlns:a16="http://schemas.microsoft.com/office/drawing/2014/main" val="747426486"/>
                    </a:ext>
                  </a:extLst>
                </a:gridCol>
              </a:tblGrid>
              <a:tr h="354443">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125283">
                <a:tc>
                  <a:txBody>
                    <a:bodyPr/>
                    <a:lstStyle/>
                    <a:p>
                      <a:pPr algn="ctr" fontAlgn="t"/>
                      <a:r>
                        <a:rPr lang="ja-JP" altLang="en-US" sz="1000" b="1" i="0" u="none" strike="noStrike" dirty="0">
                          <a:solidFill>
                            <a:srgbClr val="000000"/>
                          </a:solidFill>
                          <a:effectLst/>
                          <a:latin typeface="MS Pゴシック"/>
                        </a:rPr>
                        <a:t>シリオ・レバニーズ</a:t>
                      </a:r>
                      <a:br>
                        <a:rPr lang="en-US" altLang="ja-JP" sz="1000" b="1" i="0" u="none" strike="noStrike" dirty="0">
                          <a:solidFill>
                            <a:srgbClr val="000000"/>
                          </a:solidFill>
                          <a:effectLst/>
                          <a:latin typeface="MS Pゴシック"/>
                        </a:rPr>
                      </a:br>
                      <a:r>
                        <a:rPr lang="ja-JP" altLang="en-US" sz="1000" b="1" i="0" u="none" strike="noStrike" dirty="0">
                          <a:solidFill>
                            <a:srgbClr val="000000"/>
                          </a:solidFill>
                          <a:effectLst/>
                          <a:latin typeface="MS Pゴシック"/>
                        </a:rPr>
                        <a:t>（</a:t>
                      </a:r>
                      <a:r>
                        <a:rPr lang="en-US" altLang="ja-JP" sz="1000" b="1" i="0" u="none" strike="noStrike" dirty="0" err="1">
                          <a:solidFill>
                            <a:srgbClr val="000000"/>
                          </a:solidFill>
                          <a:effectLst/>
                          <a:latin typeface="Arial" panose="020B0604020202020204" pitchFamily="34" charset="0"/>
                        </a:rPr>
                        <a:t>Sírio-Libanês</a:t>
                      </a:r>
                      <a:r>
                        <a:rPr lang="ja-JP" altLang="en-US" sz="1000" b="1" i="0" u="none" strike="noStrike" dirty="0">
                          <a:solidFill>
                            <a:srgbClr val="000000"/>
                          </a:solidFill>
                          <a:effectLst/>
                          <a:latin typeface="MS Pゴシック"/>
                        </a:rPr>
                        <a:t>）病院</a:t>
                      </a:r>
                      <a:endParaRPr lang="ja-JP" altLang="en-US" sz="10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en-US" altLang="ja-JP" sz="1100" spc="-20" dirty="0">
                          <a:latin typeface="Arial" panose="020B0604020202020204" pitchFamily="34" charset="0"/>
                          <a:ea typeface="ＭＳ Ｐゴシック" panose="020B0600070205080204" pitchFamily="50" charset="-128"/>
                        </a:rPr>
                        <a:t>1921</a:t>
                      </a:r>
                      <a:r>
                        <a:rPr lang="ja-JP" altLang="en-US" sz="1100" spc="-20" dirty="0">
                          <a:latin typeface="Arial" panose="020B0604020202020204" pitchFamily="34" charset="0"/>
                          <a:ea typeface="ＭＳ Ｐゴシック" panose="020B0600070205080204" pitchFamily="50" charset="-128"/>
                        </a:rPr>
                        <a:t>年にサンパウロ市ベラビスタ地区に設立された</a:t>
                      </a:r>
                      <a:r>
                        <a:rPr lang="ja-JP" altLang="en-US" sz="1100" dirty="0">
                          <a:solidFill>
                            <a:srgbClr val="000000"/>
                          </a:solidFill>
                          <a:latin typeface="Arial Black" pitchFamily="34" charset="0"/>
                          <a:ea typeface="HGP創英角ｺﾞｼｯｸUB" pitchFamily="50" charset="-128"/>
                        </a:rPr>
                        <a:t>私立病院。</a:t>
                      </a:r>
                      <a:r>
                        <a:rPr lang="ja-JP" altLang="en-US" sz="1100" spc="-20" dirty="0">
                          <a:latin typeface="Arial" panose="020B0604020202020204" pitchFamily="34" charset="0"/>
                          <a:ea typeface="ＭＳ Ｐゴシック" panose="020B0600070205080204" pitchFamily="50" charset="-128"/>
                        </a:rPr>
                        <a:t>ベッド数は</a:t>
                      </a:r>
                      <a:r>
                        <a:rPr lang="en-US" altLang="ja-JP" sz="1100" spc="-20" dirty="0">
                          <a:latin typeface="Arial" panose="020B0604020202020204" pitchFamily="34" charset="0"/>
                          <a:ea typeface="ＭＳ Ｐゴシック" panose="020B0600070205080204" pitchFamily="50" charset="-128"/>
                        </a:rPr>
                        <a:t>379</a:t>
                      </a:r>
                      <a:r>
                        <a:rPr lang="ja-JP" altLang="en-US" sz="1100" spc="-20" dirty="0">
                          <a:latin typeface="Arial" panose="020B0604020202020204" pitchFamily="34" charset="0"/>
                          <a:ea typeface="ＭＳ Ｐゴシック" panose="020B0600070205080204" pitchFamily="50" charset="-128"/>
                        </a:rPr>
                        <a:t>床。医療スタッフ数は</a:t>
                      </a:r>
                      <a:r>
                        <a:rPr lang="ja-JP" altLang="en-US" sz="1100" dirty="0">
                          <a:latin typeface="Arial" panose="020B0604020202020204" pitchFamily="34" charset="0"/>
                          <a:ea typeface="ＭＳ Ｐゴシック" panose="020B0600070205080204" pitchFamily="50" charset="-128"/>
                        </a:rPr>
                        <a:t>合計</a:t>
                      </a:r>
                      <a:r>
                        <a:rPr lang="en-US" altLang="ja-JP" sz="1100" dirty="0">
                          <a:latin typeface="Arial" panose="020B0604020202020204" pitchFamily="34" charset="0"/>
                          <a:ea typeface="ＭＳ Ｐゴシック" panose="020B0600070205080204" pitchFamily="50" charset="-128"/>
                        </a:rPr>
                        <a:t>3,200</a:t>
                      </a:r>
                      <a:r>
                        <a:rPr lang="ja-JP" altLang="en-US" sz="1100" dirty="0">
                          <a:latin typeface="Arial" panose="020B0604020202020204" pitchFamily="34" charset="0"/>
                          <a:ea typeface="ＭＳ Ｐゴシック" panose="020B0600070205080204" pitchFamily="50" charset="-128"/>
                        </a:rPr>
                        <a:t>人。</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rPr>
                        <a:t>主に</a:t>
                      </a:r>
                      <a:r>
                        <a:rPr lang="ja-JP" altLang="en-US" sz="1100" dirty="0">
                          <a:solidFill>
                            <a:srgbClr val="000000"/>
                          </a:solidFill>
                          <a:latin typeface="Arial Black" pitchFamily="34" charset="0"/>
                          <a:ea typeface="HGP創英角ｺﾞｼｯｸUB" pitchFamily="50" charset="-128"/>
                        </a:rPr>
                        <a:t>富裕層向けの病院</a:t>
                      </a:r>
                      <a:r>
                        <a:rPr lang="ja-JP" altLang="en-US" sz="1100" dirty="0">
                          <a:latin typeface="Arial" panose="020B0604020202020204" pitchFamily="34" charset="0"/>
                          <a:ea typeface="ＭＳ Ｐゴシック" panose="020B0600070205080204" pitchFamily="50" charset="-128"/>
                        </a:rPr>
                        <a:t>であり、</a:t>
                      </a:r>
                      <a:r>
                        <a:rPr lang="en-US" altLang="ja-JP" sz="1100" dirty="0">
                          <a:latin typeface="Arial" panose="020B0604020202020204" pitchFamily="34" charset="0"/>
                          <a:ea typeface="ＭＳ Ｐゴシック" panose="020B0600070205080204" pitchFamily="50" charset="-128"/>
                        </a:rPr>
                        <a:t>JCI</a:t>
                      </a:r>
                      <a:r>
                        <a:rPr lang="ja-JP" altLang="en-US" sz="1100" dirty="0">
                          <a:latin typeface="Arial" panose="020B0604020202020204" pitchFamily="34" charset="0"/>
                          <a:ea typeface="ＭＳ Ｐゴシック" panose="020B0600070205080204" pitchFamily="50" charset="-128"/>
                        </a:rPr>
                        <a:t>認証</a:t>
                      </a:r>
                      <a:r>
                        <a:rPr lang="en-US" altLang="ja-JP" sz="1100" baseline="30000" dirty="0">
                          <a:latin typeface="Arial" panose="020B0604020202020204" pitchFamily="34" charset="0"/>
                          <a:ea typeface="ＭＳ Ｐゴシック" panose="020B0600070205080204" pitchFamily="50" charset="-128"/>
                        </a:rPr>
                        <a:t>1</a:t>
                      </a:r>
                      <a:r>
                        <a:rPr lang="ja-JP" altLang="en-US" sz="1100" dirty="0">
                          <a:latin typeface="Arial" panose="020B0604020202020204" pitchFamily="34" charset="0"/>
                          <a:ea typeface="ＭＳ Ｐゴシック" panose="020B0600070205080204" pitchFamily="50" charset="-128"/>
                        </a:rPr>
                        <a:t>を取得している。ルセフ元大統領やルーラ元大統領も受診したといわれてい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Arial" panose="020B0604020202020204" pitchFamily="34" charset="0"/>
                        </a:rPr>
                        <a:t>37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Arial" panose="020B0604020202020204" pitchFamily="34" charset="0"/>
                        </a:rPr>
                        <a:t>3,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Arial" panose="020B0604020202020204" pitchFamily="34" charset="0"/>
                        </a:rPr>
                        <a:t>12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139238">
                <a:tc>
                  <a:txBody>
                    <a:bodyPr/>
                    <a:lstStyle/>
                    <a:p>
                      <a:pPr algn="ctr" fontAlgn="t"/>
                      <a:r>
                        <a:rPr lang="ja-JP" altLang="en-US" sz="1000" b="1" i="0" u="none" strike="noStrike">
                          <a:solidFill>
                            <a:srgbClr val="000000"/>
                          </a:solidFill>
                          <a:effectLst/>
                          <a:latin typeface="MS Pゴシック"/>
                        </a:rPr>
                        <a:t>アルバート・アインシュタイン（</a:t>
                      </a:r>
                      <a:r>
                        <a:rPr lang="en-US" altLang="ja-JP" sz="1000" b="1" i="0" u="none" strike="noStrike">
                          <a:solidFill>
                            <a:srgbClr val="000000"/>
                          </a:solidFill>
                          <a:effectLst/>
                          <a:latin typeface="Arial" panose="020B0604020202020204" pitchFamily="34" charset="0"/>
                        </a:rPr>
                        <a:t>Albert Einstein</a:t>
                      </a:r>
                      <a:r>
                        <a:rPr lang="ja-JP" altLang="en-US" sz="1000" b="1" i="0" u="none" strike="noStrike">
                          <a:solidFill>
                            <a:srgbClr val="000000"/>
                          </a:solidFill>
                          <a:effectLst/>
                          <a:latin typeface="MS Pゴシック"/>
                        </a:rPr>
                        <a:t>）病院</a:t>
                      </a:r>
                      <a:endParaRPr lang="ja-JP" altLang="en-US" sz="1000" b="1" i="0" u="none" strike="noStrike">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en-US" altLang="ja-JP" sz="1100" dirty="0">
                          <a:latin typeface="Arial" panose="020B0604020202020204" pitchFamily="34" charset="0"/>
                          <a:ea typeface="ＭＳ Ｐゴシック" panose="020B0600070205080204" pitchFamily="50" charset="-128"/>
                        </a:rPr>
                        <a:t>1971</a:t>
                      </a:r>
                      <a:r>
                        <a:rPr lang="ja-JP" altLang="en-US" sz="1100" dirty="0">
                          <a:latin typeface="Arial" panose="020B0604020202020204" pitchFamily="34" charset="0"/>
                          <a:ea typeface="ＭＳ Ｐゴシック" panose="020B0600070205080204" pitchFamily="50" charset="-128"/>
                        </a:rPr>
                        <a:t>年設立にサンパウロ市モルンビー地区に設立された</a:t>
                      </a:r>
                      <a:r>
                        <a:rPr lang="ja-JP" altLang="en-US" sz="1100" dirty="0">
                          <a:solidFill>
                            <a:srgbClr val="000000"/>
                          </a:solidFill>
                          <a:latin typeface="Arial Black" pitchFamily="34" charset="0"/>
                          <a:ea typeface="HGP創英角ｺﾞｼｯｸUB" pitchFamily="50" charset="-128"/>
                        </a:rPr>
                        <a:t>私立病院。</a:t>
                      </a:r>
                      <a:r>
                        <a:rPr lang="ja-JP" altLang="en-US" sz="1100" dirty="0">
                          <a:latin typeface="Arial" panose="020B0604020202020204" pitchFamily="34" charset="0"/>
                          <a:ea typeface="ＭＳ Ｐゴシック" panose="020B0600070205080204" pitchFamily="50" charset="-128"/>
                        </a:rPr>
                        <a:t>ベッド数は約</a:t>
                      </a:r>
                      <a:r>
                        <a:rPr lang="en-US" altLang="ja-JP" sz="1100" dirty="0">
                          <a:latin typeface="Arial" panose="020B0604020202020204" pitchFamily="34" charset="0"/>
                          <a:ea typeface="ＭＳ Ｐゴシック" panose="020B0600070205080204" pitchFamily="50" charset="-128"/>
                        </a:rPr>
                        <a:t>1,000</a:t>
                      </a:r>
                      <a:r>
                        <a:rPr lang="ja-JP" altLang="en-US" sz="1100" dirty="0">
                          <a:latin typeface="Arial" panose="020B0604020202020204" pitchFamily="34" charset="0"/>
                          <a:ea typeface="ＭＳ Ｐゴシック" panose="020B0600070205080204" pitchFamily="50" charset="-128"/>
                        </a:rPr>
                        <a:t>床。</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rPr>
                        <a:t>主に</a:t>
                      </a:r>
                      <a:r>
                        <a:rPr lang="ja-JP" altLang="en-US" sz="1100" dirty="0">
                          <a:solidFill>
                            <a:srgbClr val="000000"/>
                          </a:solidFill>
                          <a:latin typeface="Arial Black" pitchFamily="34" charset="0"/>
                          <a:ea typeface="HGP創英角ｺﾞｼｯｸUB" pitchFamily="50" charset="-128"/>
                        </a:rPr>
                        <a:t>富裕層が来院する病院</a:t>
                      </a:r>
                      <a:r>
                        <a:rPr lang="ja-JP" altLang="en-US" sz="1100" dirty="0">
                          <a:latin typeface="Arial" panose="020B0604020202020204" pitchFamily="34" charset="0"/>
                          <a:ea typeface="ＭＳ Ｐゴシック" panose="020B0600070205080204" pitchFamily="50" charset="-128"/>
                        </a:rPr>
                        <a:t>であり、</a:t>
                      </a:r>
                      <a:r>
                        <a:rPr lang="en-US" altLang="ja-JP" sz="1100" dirty="0">
                          <a:latin typeface="Arial" panose="020B0604020202020204" pitchFamily="34" charset="0"/>
                          <a:ea typeface="ＭＳ Ｐゴシック" panose="020B0600070205080204" pitchFamily="50" charset="-128"/>
                        </a:rPr>
                        <a:t>JCI</a:t>
                      </a:r>
                      <a:r>
                        <a:rPr lang="ja-JP" altLang="en-US" sz="1100" dirty="0">
                          <a:latin typeface="Arial" panose="020B0604020202020204" pitchFamily="34" charset="0"/>
                          <a:ea typeface="ＭＳ Ｐゴシック" panose="020B0600070205080204" pitchFamily="50" charset="-128"/>
                        </a:rPr>
                        <a:t>認証</a:t>
                      </a:r>
                      <a:r>
                        <a:rPr lang="en-US" altLang="ja-JP" sz="1100" baseline="30000" dirty="0">
                          <a:latin typeface="Arial" panose="020B0604020202020204" pitchFamily="34" charset="0"/>
                          <a:ea typeface="ＭＳ Ｐゴシック" panose="020B0600070205080204" pitchFamily="50" charset="-128"/>
                        </a:rPr>
                        <a:t>1</a:t>
                      </a:r>
                      <a:r>
                        <a:rPr lang="ja-JP" altLang="en-US" sz="1100" dirty="0">
                          <a:latin typeface="Arial" panose="020B0604020202020204" pitchFamily="34" charset="0"/>
                          <a:ea typeface="ＭＳ Ｐゴシック" panose="020B0600070205080204" pitchFamily="50" charset="-128"/>
                        </a:rPr>
                        <a:t>を取得している。</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en-US" altLang="ja-JP" sz="1100" spc="-40" dirty="0">
                          <a:latin typeface="Arial" panose="020B0604020202020204" pitchFamily="34" charset="0"/>
                          <a:ea typeface="ＭＳ Ｐゴシック" panose="020B0600070205080204" pitchFamily="50" charset="-128"/>
                        </a:rPr>
                        <a:t>2009</a:t>
                      </a:r>
                      <a:r>
                        <a:rPr lang="ja-JP" altLang="en-US" sz="1100" spc="-40" dirty="0">
                          <a:latin typeface="Arial" panose="020B0604020202020204" pitchFamily="34" charset="0"/>
                          <a:ea typeface="ＭＳ Ｐゴシック" panose="020B0600070205080204" pitchFamily="50" charset="-128"/>
                        </a:rPr>
                        <a:t>年ごろから、院内無線</a:t>
                      </a:r>
                      <a:r>
                        <a:rPr lang="en-US" altLang="ja-JP" sz="1100" spc="-40" dirty="0">
                          <a:latin typeface="Arial" panose="020B0604020202020204" pitchFamily="34" charset="0"/>
                          <a:ea typeface="ＭＳ Ｐゴシック" panose="020B0600070205080204" pitchFamily="50" charset="-128"/>
                        </a:rPr>
                        <a:t>LAN</a:t>
                      </a:r>
                      <a:r>
                        <a:rPr lang="ja-JP" altLang="en-US" sz="1100" spc="-40" dirty="0">
                          <a:latin typeface="Arial" panose="020B0604020202020204" pitchFamily="34" charset="0"/>
                          <a:ea typeface="ＭＳ Ｐゴシック" panose="020B0600070205080204" pitchFamily="50" charset="-128"/>
                        </a:rPr>
                        <a:t>の構築にあわせて、</a:t>
                      </a:r>
                      <a:r>
                        <a:rPr lang="en-US" altLang="ja-JP" sz="1100" dirty="0">
                          <a:solidFill>
                            <a:srgbClr val="000000"/>
                          </a:solidFill>
                          <a:latin typeface="Arial Black" pitchFamily="34" charset="0"/>
                          <a:ea typeface="HGP創英角ｺﾞｼｯｸUB" pitchFamily="50" charset="-128"/>
                        </a:rPr>
                        <a:t>NEC</a:t>
                      </a:r>
                      <a:r>
                        <a:rPr lang="ja-JP" altLang="en-US" sz="1100" dirty="0">
                          <a:solidFill>
                            <a:srgbClr val="000000"/>
                          </a:solidFill>
                          <a:latin typeface="Arial Black" pitchFamily="34" charset="0"/>
                          <a:ea typeface="HGP創英角ｺﾞｼｯｸUB" pitchFamily="50" charset="-128"/>
                        </a:rPr>
                        <a:t>の位置管理ソリューションを導入</a:t>
                      </a:r>
                      <a:r>
                        <a:rPr lang="ja-JP" altLang="en-US" sz="1100" dirty="0">
                          <a:latin typeface="Arial" panose="020B0604020202020204" pitchFamily="34" charset="0"/>
                          <a:ea typeface="ＭＳ Ｐゴシック" panose="020B0600070205080204" pitchFamily="50" charset="-128"/>
                        </a:rPr>
                        <a:t>した。</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Arial" panose="020B0604020202020204" pitchFamily="34" charset="0"/>
                        </a:rPr>
                        <a:t>1,08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Arial" panose="020B0604020202020204" pitchFamily="34" charset="0"/>
                        </a:rPr>
                        <a:t>1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Arial" panose="020B0604020202020204" pitchFamily="34" charset="0"/>
                        </a:rPr>
                        <a:t>55,4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913133">
                <a:tc>
                  <a:txBody>
                    <a:bodyPr/>
                    <a:lstStyle/>
                    <a:p>
                      <a:pPr algn="ctr" fontAlgn="t"/>
                      <a:r>
                        <a:rPr lang="ja-JP" altLang="en-US" sz="1000" b="1" i="0" u="none" strike="noStrike" dirty="0">
                          <a:solidFill>
                            <a:srgbClr val="000000"/>
                          </a:solidFill>
                          <a:effectLst/>
                          <a:latin typeface="MS Pゴシック"/>
                        </a:rPr>
                        <a:t>イヴォ・ピタングイクリニック</a:t>
                      </a:r>
                      <a:endParaRPr lang="ja-JP" altLang="en-US" sz="10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indent="-171450" algn="l" fontAlgn="ctr">
                        <a:lnSpc>
                          <a:spcPct val="114000"/>
                        </a:lnSpc>
                        <a:spcAft>
                          <a:spcPts val="300"/>
                        </a:spcAft>
                        <a:buClr>
                          <a:srgbClr val="5F8AC3"/>
                        </a:buClr>
                        <a:buSzPct val="100000"/>
                        <a:buFont typeface="Wingdings" panose="05000000000000000000" pitchFamily="2" charset="2"/>
                        <a:buChar char="n"/>
                      </a:pPr>
                      <a:r>
                        <a:rPr lang="en-US" altLang="ja-JP" sz="1100" dirty="0">
                          <a:latin typeface="Arial" panose="020B0604020202020204" pitchFamily="34" charset="0"/>
                          <a:ea typeface="ＭＳ Ｐゴシック" panose="020B0600070205080204" pitchFamily="50" charset="-128"/>
                        </a:rPr>
                        <a:t>1963</a:t>
                      </a:r>
                      <a:r>
                        <a:rPr lang="ja-JP" altLang="en-US" sz="1100" dirty="0">
                          <a:latin typeface="Arial" panose="020B0604020202020204" pitchFamily="34" charset="0"/>
                          <a:ea typeface="ＭＳ Ｐゴシック" panose="020B0600070205080204" pitchFamily="50" charset="-128"/>
                        </a:rPr>
                        <a:t>年設立の</a:t>
                      </a:r>
                      <a:r>
                        <a:rPr lang="ja-JP" altLang="en-US" sz="1100" dirty="0">
                          <a:solidFill>
                            <a:srgbClr val="000000"/>
                          </a:solidFill>
                          <a:latin typeface="Arial Black" pitchFamily="34" charset="0"/>
                          <a:ea typeface="HGP創英角ｺﾞｼｯｸUB" pitchFamily="50" charset="-128"/>
                        </a:rPr>
                        <a:t>民間の整形外科クリニック。</a:t>
                      </a:r>
                      <a:endParaRPr lang="en-US" altLang="ja-JP" sz="1100" dirty="0">
                        <a:solidFill>
                          <a:srgbClr val="000000"/>
                        </a:solidFill>
                        <a:latin typeface="Arial Black" pitchFamily="34" charset="0"/>
                        <a:ea typeface="HGP創英角ｺﾞｼｯｸUB" pitchFamily="50" charset="-128"/>
                      </a:endParaRP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rPr>
                        <a:t>整形外科分野の世界的権威であるイヴォ・ピタングイ博士により設立された。</a:t>
                      </a:r>
                    </a:p>
                    <a:p>
                      <a:pPr marL="171450" indent="-171450" algn="l" fontAlgn="ctr">
                        <a:lnSpc>
                          <a:spcPct val="114000"/>
                        </a:lnSpc>
                        <a:spcAft>
                          <a:spcPts val="300"/>
                        </a:spcAft>
                        <a:buClr>
                          <a:srgbClr val="5F8AC3"/>
                        </a:buClr>
                        <a:buSzPct val="100000"/>
                        <a:buFont typeface="Wingdings" panose="05000000000000000000" pitchFamily="2" charset="2"/>
                        <a:buChar char="n"/>
                      </a:pPr>
                      <a:r>
                        <a:rPr lang="ja-JP" altLang="en-US" sz="1100" dirty="0">
                          <a:solidFill>
                            <a:srgbClr val="000000"/>
                          </a:solidFill>
                          <a:latin typeface="Arial Black" pitchFamily="34" charset="0"/>
                          <a:ea typeface="HGP創英角ｺﾞｼｯｸUB" pitchFamily="50" charset="-128"/>
                        </a:rPr>
                        <a:t>整形外科手術の大学院コースも</a:t>
                      </a:r>
                      <a:r>
                        <a:rPr lang="en-US" altLang="ja-JP" sz="1100" dirty="0">
                          <a:solidFill>
                            <a:srgbClr val="000000"/>
                          </a:solidFill>
                          <a:latin typeface="Arial Black" pitchFamily="34" charset="0"/>
                          <a:ea typeface="HGP創英角ｺﾞｼｯｸUB" pitchFamily="50" charset="-128"/>
                        </a:rPr>
                        <a:t>1960</a:t>
                      </a:r>
                      <a:r>
                        <a:rPr lang="ja-JP" altLang="en-US" sz="1100" dirty="0">
                          <a:solidFill>
                            <a:srgbClr val="000000"/>
                          </a:solidFill>
                          <a:latin typeface="Arial Black" pitchFamily="34" charset="0"/>
                          <a:ea typeface="HGP創英角ｺﾞｼｯｸUB" pitchFamily="50" charset="-128"/>
                        </a:rPr>
                        <a:t>年に設立</a:t>
                      </a:r>
                      <a:r>
                        <a:rPr lang="ja-JP" altLang="en-US" sz="1100" dirty="0">
                          <a:latin typeface="Arial" panose="020B0604020202020204" pitchFamily="34" charset="0"/>
                          <a:ea typeface="ＭＳ Ｐゴシック" panose="020B0600070205080204" pitchFamily="50" charset="-128"/>
                        </a:rPr>
                        <a:t>しており、これまで約</a:t>
                      </a:r>
                      <a:r>
                        <a:rPr lang="en-US" altLang="ja-JP" sz="1100" dirty="0">
                          <a:latin typeface="Arial" panose="020B0604020202020204" pitchFamily="34" charset="0"/>
                          <a:ea typeface="ＭＳ Ｐゴシック" panose="020B0600070205080204" pitchFamily="50" charset="-128"/>
                        </a:rPr>
                        <a:t>500</a:t>
                      </a:r>
                      <a:r>
                        <a:rPr lang="ja-JP" altLang="en-US" sz="1100" dirty="0">
                          <a:latin typeface="Arial" panose="020B0604020202020204" pitchFamily="34" charset="0"/>
                          <a:ea typeface="ＭＳ Ｐゴシック" panose="020B0600070205080204" pitchFamily="50" charset="-128"/>
                        </a:rPr>
                        <a:t>名の卒業生を輩出してい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a:solidFill>
                            <a:srgbClr val="000000"/>
                          </a:solidFill>
                          <a:effectLst/>
                          <a:latin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Arial" panose="020B0604020202020204" pitchFamily="34" charset="0"/>
                        </a:rPr>
                        <a:t>1,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a:solidFill>
                            <a:srgbClr val="000000"/>
                          </a:solidFill>
                          <a:effectLst/>
                          <a:latin typeface="Arial" panose="020B0604020202020204" pitchFamily="34" charset="0"/>
                        </a:rPr>
                        <a:t>2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13" name="テキスト ボックス 20">
            <a:extLst>
              <a:ext uri="{FF2B5EF4-FFF2-40B4-BE49-F238E27FC236}">
                <a16:creationId xmlns:a16="http://schemas.microsoft.com/office/drawing/2014/main" id="{5157A665-4FA4-4615-BED4-D03A87D48E5F}"/>
              </a:ext>
            </a:extLst>
          </p:cNvPr>
          <p:cNvSpPr txBox="1"/>
          <p:nvPr/>
        </p:nvSpPr>
        <p:spPr>
          <a:xfrm>
            <a:off x="200472" y="63459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9474854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38551105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61" imgW="360" imgH="360" progId="TCLayout.ActiveDocument.1">
                  <p:embed/>
                </p:oleObj>
              </mc:Choice>
              <mc:Fallback>
                <p:oleObj name="think-cell Slide" r:id="rId61" imgW="360" imgH="360" progId="TCLayout.ActiveDocument.1">
                  <p:embed/>
                  <p:pic>
                    <p:nvPicPr>
                      <p:cNvPr id="12" name="Object 11" hidden="1"/>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3"/>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sym typeface="+mn-lt"/>
            </a:endParaRPr>
          </a:p>
        </p:txBody>
      </p:sp>
      <p:sp>
        <p:nvSpPr>
          <p:cNvPr id="2" name="タイトル 1"/>
          <p:cNvSpPr>
            <a:spLocks noGrp="1"/>
          </p:cNvSpPr>
          <p:nvPr>
            <p:ph type="title"/>
          </p:nvPr>
        </p:nvSpPr>
        <p:spPr/>
        <p:txBody>
          <a:bodyPr vert="horz"/>
          <a:lstStyle/>
          <a:p>
            <a:r>
              <a:rPr lang="ja-JP" altLang="en-US" dirty="0"/>
              <a:t>ブラジル／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従事者</a:t>
            </a:r>
          </a:p>
        </p:txBody>
      </p:sp>
      <p:grpSp>
        <p:nvGrpSpPr>
          <p:cNvPr id="5" name="グループ化 7"/>
          <p:cNvGrpSpPr/>
          <p:nvPr/>
        </p:nvGrpSpPr>
        <p:grpSpPr>
          <a:xfrm>
            <a:off x="200471" y="1759421"/>
            <a:ext cx="453650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8" name="グループ化 7"/>
          <p:cNvGrpSpPr/>
          <p:nvPr/>
        </p:nvGrpSpPr>
        <p:grpSpPr>
          <a:xfrm>
            <a:off x="5169024" y="1759421"/>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p>
          </p:txBody>
        </p:sp>
      </p:grpSp>
      <p:sp>
        <p:nvSpPr>
          <p:cNvPr id="16" name="テキスト ボックス 15"/>
          <p:cNvSpPr txBox="1"/>
          <p:nvPr/>
        </p:nvSpPr>
        <p:spPr>
          <a:xfrm>
            <a:off x="200472" y="6525344"/>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a:p>
            <a:pPr>
              <a:tabLst>
                <a:tab pos="361950" algn="l"/>
              </a:tabLst>
            </a:pP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米州には、アルゼンチン、ブラジル、カナダ、チリ、コロンビア、キューバ、メキシコ、ペルー、</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USA</a:t>
            </a:r>
            <a:r>
              <a:rPr kumimoji="0" lang="ja-JP" altLang="en-US" sz="800" dirty="0" err="1"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ベネズエラ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6"/>
          <p:cNvSpPr txBox="1"/>
          <p:nvPr/>
        </p:nvSpPr>
        <p:spPr>
          <a:xfrm>
            <a:off x="495489" y="2099707"/>
            <a:ext cx="288032" cy="137640"/>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8" name="テキスト ボックス 17"/>
          <p:cNvSpPr txBox="1"/>
          <p:nvPr/>
        </p:nvSpPr>
        <p:spPr>
          <a:xfrm>
            <a:off x="5395458" y="2099707"/>
            <a:ext cx="576064" cy="13764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9" name="テキスト ボックス 1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療従事者数は、医師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米州</a:t>
            </a:r>
            <a:r>
              <a:rPr lang="ja-JP" altLang="en-US" sz="1400" baseline="300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全体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であるため、医師は地域水準を下回っている。</a:t>
            </a:r>
          </a:p>
        </p:txBody>
      </p:sp>
      <p:graphicFrame>
        <p:nvGraphicFramePr>
          <p:cNvPr id="129" name="Chart 128">
            <a:extLst>
              <a:ext uri="{FF2B5EF4-FFF2-40B4-BE49-F238E27FC236}">
                <a16:creationId xmlns:a16="http://schemas.microsoft.com/office/drawing/2014/main" id="{17C2B1E3-E576-4AF2-A1EC-C9DB49396544}"/>
              </a:ext>
            </a:extLst>
          </p:cNvPr>
          <p:cNvGraphicFramePr/>
          <p:nvPr>
            <p:custDataLst>
              <p:tags r:id="rId4"/>
            </p:custDataLst>
            <p:extLst>
              <p:ext uri="{D42A27DB-BD31-4B8C-83A1-F6EECF244321}">
                <p14:modId xmlns:p14="http://schemas.microsoft.com/office/powerpoint/2010/main" val="3918337296"/>
              </p:ext>
            </p:extLst>
          </p:nvPr>
        </p:nvGraphicFramePr>
        <p:xfrm>
          <a:off x="3175" y="2425700"/>
          <a:ext cx="5059363" cy="3694113"/>
        </p:xfrm>
        <a:graphic>
          <a:graphicData uri="http://schemas.openxmlformats.org/drawingml/2006/chart">
            <c:chart xmlns:c="http://schemas.openxmlformats.org/drawingml/2006/chart" xmlns:r="http://schemas.openxmlformats.org/officeDocument/2006/relationships" r:id="rId63"/>
          </a:graphicData>
        </a:graphic>
      </p:graphicFrame>
      <p:cxnSp>
        <p:nvCxnSpPr>
          <p:cNvPr id="163" name="Straight Connector 162">
            <a:extLst>
              <a:ext uri="{FF2B5EF4-FFF2-40B4-BE49-F238E27FC236}">
                <a16:creationId xmlns:a16="http://schemas.microsoft.com/office/drawing/2014/main" id="{36FC71FF-D228-468D-8BAE-3E52F2BD742A}"/>
              </a:ext>
            </a:extLst>
          </p:cNvPr>
          <p:cNvCxnSpPr/>
          <p:nvPr>
            <p:custDataLst>
              <p:tags r:id="rId5"/>
            </p:custDataLst>
          </p:nvPr>
        </p:nvCxnSpPr>
        <p:spPr bwMode="auto">
          <a:xfrm flipH="1">
            <a:off x="1287464" y="5302251"/>
            <a:ext cx="219075" cy="1063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C26AEF60-325D-4116-880B-E67ED5FC71E7}"/>
              </a:ext>
            </a:extLst>
          </p:cNvPr>
          <p:cNvCxnSpPr/>
          <p:nvPr>
            <p:custDataLst>
              <p:tags r:id="rId6"/>
            </p:custDataLst>
          </p:nvPr>
        </p:nvCxnSpPr>
        <p:spPr bwMode="auto">
          <a:xfrm flipH="1">
            <a:off x="836613" y="5270500"/>
            <a:ext cx="147637" cy="136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40E6026A-7DEA-45DD-B543-C85E19FA711A}"/>
              </a:ext>
            </a:extLst>
          </p:cNvPr>
          <p:cNvCxnSpPr/>
          <p:nvPr>
            <p:custDataLst>
              <p:tags r:id="rId7"/>
            </p:custDataLst>
          </p:nvPr>
        </p:nvCxnSpPr>
        <p:spPr bwMode="auto">
          <a:xfrm flipH="1">
            <a:off x="2155825" y="5276850"/>
            <a:ext cx="114300" cy="952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 name="テキスト プレースホルダ 9"/>
          <p:cNvSpPr>
            <a:spLocks noGrp="1"/>
          </p:cNvSpPr>
          <p:nvPr>
            <p:custDataLst>
              <p:tags r:id="rId8"/>
            </p:custDataLst>
          </p:nvPr>
        </p:nvSpPr>
        <p:spPr bwMode="auto">
          <a:xfrm>
            <a:off x="246380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E007CC-7C74-4465-B1E6-6B7BF7D53883}" type="datetime'''''1''4'''''''''''''''''''''''''''''''''''''''''''''">
              <a:rPr lang="ja-JP" altLang="en-US" sz="1000" smtClean="0"/>
              <a:pPr/>
              <a:t>14</a:t>
            </a:fld>
            <a:endParaRPr kumimoji="0" lang="ja-JP" altLang="en-US" sz="1000" dirty="0">
              <a:sym typeface="+mn-lt"/>
            </a:endParaRPr>
          </a:p>
        </p:txBody>
      </p:sp>
      <p:sp>
        <p:nvSpPr>
          <p:cNvPr id="25" name="テキスト プレースホルダ 9"/>
          <p:cNvSpPr>
            <a:spLocks noGrp="1"/>
          </p:cNvSpPr>
          <p:nvPr>
            <p:custDataLst>
              <p:tags r:id="rId9"/>
            </p:custDataLst>
          </p:nvPr>
        </p:nvSpPr>
        <p:spPr bwMode="auto">
          <a:xfrm>
            <a:off x="1146175"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6784AE-4DC2-4D0D-89BD-6F4A2ABCC910}" type="datetime'''''''''''''''''''''''''''''''''''''''''''''''11'''''''''">
              <a:rPr lang="ja-JP" altLang="en-US" sz="1000" smtClean="0"/>
              <a:pPr/>
              <a:t>11</a:t>
            </a:fld>
            <a:endParaRPr kumimoji="0" lang="ja-JP" altLang="en-US" sz="1000" dirty="0">
              <a:sym typeface="+mn-lt"/>
            </a:endParaRPr>
          </a:p>
        </p:txBody>
      </p:sp>
      <p:sp>
        <p:nvSpPr>
          <p:cNvPr id="26" name="テキスト プレースホルダ 9"/>
          <p:cNvSpPr>
            <a:spLocks noGrp="1"/>
          </p:cNvSpPr>
          <p:nvPr>
            <p:custDataLst>
              <p:tags r:id="rId10"/>
            </p:custDataLst>
          </p:nvPr>
        </p:nvSpPr>
        <p:spPr bwMode="auto">
          <a:xfrm>
            <a:off x="636588"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C76989-58E4-4A72-86CF-8CEA3D9306C3}" type="datetime'2''''''''''''0''''''''''''''''1''''''''''''''''0'">
              <a:rPr lang="ja-JP" altLang="en-US" sz="1000" smtClean="0"/>
              <a:pPr/>
              <a:t>2010</a:t>
            </a:fld>
            <a:endParaRPr kumimoji="0" lang="ja-JP" altLang="en-US" sz="1000" dirty="0">
              <a:sym typeface="+mn-lt"/>
            </a:endParaRPr>
          </a:p>
        </p:txBody>
      </p:sp>
      <p:sp>
        <p:nvSpPr>
          <p:cNvPr id="24" name="テキスト プレースホルダ 9"/>
          <p:cNvSpPr>
            <a:spLocks noGrp="1"/>
          </p:cNvSpPr>
          <p:nvPr>
            <p:custDataLst>
              <p:tags r:id="rId11"/>
            </p:custDataLst>
          </p:nvPr>
        </p:nvSpPr>
        <p:spPr bwMode="auto">
          <a:xfrm>
            <a:off x="158591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B315E0-3F99-476B-8791-153FED72B02D}" type="datetime'''''''''''''''1''''2'''''''''''''''''''''''''''''''''">
              <a:rPr lang="ja-JP" altLang="en-US" sz="1000" smtClean="0"/>
              <a:pPr/>
              <a:t>12</a:t>
            </a:fld>
            <a:endParaRPr kumimoji="0" lang="ja-JP" altLang="en-US" sz="1000" dirty="0">
              <a:sym typeface="+mn-lt"/>
            </a:endParaRPr>
          </a:p>
        </p:txBody>
      </p:sp>
      <p:sp>
        <p:nvSpPr>
          <p:cNvPr id="27" name="テキスト プレースホルダ 9"/>
          <p:cNvSpPr>
            <a:spLocks noGrp="1"/>
          </p:cNvSpPr>
          <p:nvPr>
            <p:custDataLst>
              <p:tags r:id="rId12"/>
            </p:custDataLst>
          </p:nvPr>
        </p:nvSpPr>
        <p:spPr bwMode="auto">
          <a:xfrm>
            <a:off x="202406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A7A699-8344-46DE-9EF0-F0CF9133337C}" type="datetime'''''''''''''''''''''''''''''''''''''''''''1''3'''''''''''''''">
              <a:rPr lang="ja-JP" altLang="en-US" sz="1000" smtClean="0"/>
              <a:pPr/>
              <a:t>13</a:t>
            </a:fld>
            <a:endParaRPr kumimoji="0" lang="ja-JP" altLang="en-US" sz="1000" dirty="0">
              <a:sym typeface="+mn-lt"/>
            </a:endParaRPr>
          </a:p>
        </p:txBody>
      </p:sp>
      <p:sp>
        <p:nvSpPr>
          <p:cNvPr id="23" name="テキスト プレースホルダ 9"/>
          <p:cNvSpPr>
            <a:spLocks noGrp="1"/>
          </p:cNvSpPr>
          <p:nvPr>
            <p:custDataLst>
              <p:tags r:id="rId13"/>
            </p:custDataLst>
          </p:nvPr>
        </p:nvSpPr>
        <p:spPr bwMode="auto">
          <a:xfrm>
            <a:off x="2903538"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B446E6-29B0-4FCC-B7A4-AE09597F1CC2}" type="datetime'''''''''''15'''''''''''''''''''''''''''''">
              <a:rPr lang="ja-JP" altLang="en-US" sz="1000" smtClean="0"/>
              <a:pPr/>
              <a:t>15</a:t>
            </a:fld>
            <a:endParaRPr kumimoji="0" lang="ja-JP" altLang="en-US" sz="1000" dirty="0">
              <a:sym typeface="+mn-lt"/>
            </a:endParaRPr>
          </a:p>
        </p:txBody>
      </p:sp>
      <p:sp useBgFill="1">
        <p:nvSpPr>
          <p:cNvPr id="150" name="テキスト プレースホルダ 9">
            <a:extLst>
              <a:ext uri="{FF2B5EF4-FFF2-40B4-BE49-F238E27FC236}">
                <a16:creationId xmlns:a16="http://schemas.microsoft.com/office/drawing/2014/main" id="{B8937C07-9791-4DFC-B235-55215E032A4E}"/>
              </a:ext>
            </a:extLst>
          </p:cNvPr>
          <p:cNvSpPr>
            <a:spLocks noGrp="1"/>
          </p:cNvSpPr>
          <p:nvPr>
            <p:custDataLst>
              <p:tags r:id="rId14"/>
            </p:custDataLst>
          </p:nvPr>
        </p:nvSpPr>
        <p:spPr bwMode="gray">
          <a:xfrm>
            <a:off x="2243138" y="3284538"/>
            <a:ext cx="593725"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C8945E-02A0-4A58-A0A3-47700DA2D3B8}" type="datetime'''''''1'''''',7''''''''''81,''8''''''''''''7''''''''''''''8'">
              <a:rPr lang="ja-JP" altLang="en-US" sz="1000" smtClean="0">
                <a:effectLst/>
                <a:sym typeface="+mn-lt"/>
              </a:rPr>
              <a:pPr marL="0" indent="0" algn="ctr">
                <a:spcBef>
                  <a:spcPct val="0"/>
                </a:spcBef>
                <a:buNone/>
              </a:pPr>
              <a:t>1,781,878</a:t>
            </a:fld>
            <a:endParaRPr lang="ja-JP" altLang="en-US" sz="1000" dirty="0">
              <a:sym typeface="+mn-lt"/>
            </a:endParaRPr>
          </a:p>
        </p:txBody>
      </p:sp>
      <p:sp>
        <p:nvSpPr>
          <p:cNvPr id="59" name="テキスト プレースホルダ 9"/>
          <p:cNvSpPr>
            <a:spLocks noGrp="1"/>
          </p:cNvSpPr>
          <p:nvPr>
            <p:custDataLst>
              <p:tags r:id="rId15"/>
            </p:custDataLst>
          </p:nvPr>
        </p:nvSpPr>
        <p:spPr bwMode="auto">
          <a:xfrm>
            <a:off x="3343275"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AA737A-5691-470F-ABC6-446A9A78D010}" type="datetime'''1''''''''''''''''6'''">
              <a:rPr lang="ja-JP" altLang="en-US" sz="1000" smtClean="0"/>
              <a:pPr/>
              <a:t>16</a:t>
            </a:fld>
            <a:endParaRPr kumimoji="0" lang="ja-JP" altLang="en-US" sz="1000" dirty="0">
              <a:sym typeface="+mn-lt"/>
            </a:endParaRPr>
          </a:p>
        </p:txBody>
      </p:sp>
      <p:sp useBgFill="1">
        <p:nvSpPr>
          <p:cNvPr id="142" name="テキスト プレースホルダ 9">
            <a:extLst>
              <a:ext uri="{FF2B5EF4-FFF2-40B4-BE49-F238E27FC236}">
                <a16:creationId xmlns:a16="http://schemas.microsoft.com/office/drawing/2014/main" id="{6481163A-C72F-42B2-BFB6-B0185F2A1863}"/>
              </a:ext>
            </a:extLst>
          </p:cNvPr>
          <p:cNvSpPr>
            <a:spLocks noGrp="1"/>
          </p:cNvSpPr>
          <p:nvPr>
            <p:custDataLst>
              <p:tags r:id="rId16"/>
            </p:custDataLst>
          </p:nvPr>
        </p:nvSpPr>
        <p:spPr bwMode="gray">
          <a:xfrm>
            <a:off x="3613150" y="5891213"/>
            <a:ext cx="4889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5AF1D8-3BFB-42B8-9303-C5124882A6A4}" type="datetime'''''''''1''4''''''1'',''''''''''9''''''''''''''6''''''8'''''''">
              <a:rPr lang="ja-JP" altLang="en-US" sz="1000" smtClean="0">
                <a:effectLst/>
                <a:sym typeface="+mn-lt"/>
              </a:rPr>
              <a:pPr marL="0" indent="0" algn="ctr">
                <a:spcBef>
                  <a:spcPct val="0"/>
                </a:spcBef>
                <a:buNone/>
              </a:pPr>
              <a:t>141,968</a:t>
            </a:fld>
            <a:endParaRPr lang="ja-JP" altLang="en-US" sz="1000" dirty="0">
              <a:sym typeface="+mn-lt"/>
            </a:endParaRPr>
          </a:p>
        </p:txBody>
      </p:sp>
      <p:sp>
        <p:nvSpPr>
          <p:cNvPr id="61" name="テキスト プレースホルダ 9"/>
          <p:cNvSpPr>
            <a:spLocks noGrp="1"/>
          </p:cNvSpPr>
          <p:nvPr>
            <p:custDataLst>
              <p:tags r:id="rId17"/>
            </p:custDataLst>
          </p:nvPr>
        </p:nvSpPr>
        <p:spPr bwMode="auto">
          <a:xfrm>
            <a:off x="3781425"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D8A91C-CEA3-435C-B7EC-C27F49BAAC52}" type="datetime'''''''''''''''1''''7'''''''''''''''''''''''''''''">
              <a:rPr lang="ja-JP" altLang="en-US" sz="1000" smtClean="0"/>
              <a:pPr/>
              <a:t>17</a:t>
            </a:fld>
            <a:endParaRPr kumimoji="0" lang="ja-JP" altLang="en-US" sz="1000" dirty="0">
              <a:sym typeface="+mn-lt"/>
            </a:endParaRPr>
          </a:p>
        </p:txBody>
      </p:sp>
      <p:sp useBgFill="1">
        <p:nvSpPr>
          <p:cNvPr id="151" name="テキスト プレースホルダ 9">
            <a:extLst>
              <a:ext uri="{FF2B5EF4-FFF2-40B4-BE49-F238E27FC236}">
                <a16:creationId xmlns:a16="http://schemas.microsoft.com/office/drawing/2014/main" id="{E17D5A35-2B23-4783-AD28-5177061940A7}"/>
              </a:ext>
            </a:extLst>
          </p:cNvPr>
          <p:cNvSpPr>
            <a:spLocks noGrp="1"/>
          </p:cNvSpPr>
          <p:nvPr>
            <p:custDataLst>
              <p:tags r:id="rId18"/>
            </p:custDataLst>
          </p:nvPr>
        </p:nvSpPr>
        <p:spPr bwMode="gray">
          <a:xfrm>
            <a:off x="4000500" y="2747963"/>
            <a:ext cx="593725"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DA713D-DF38-4CDC-88D3-E355ACA1C99F}" type="datetime'''''2'''''''',''''1''1''''''''''9,6''2''''''''''''''''0'''''''">
              <a:rPr lang="ja-JP" altLang="en-US" sz="1000" smtClean="0">
                <a:effectLst/>
                <a:sym typeface="+mn-lt"/>
              </a:rPr>
              <a:pPr marL="0" indent="0" algn="ctr">
                <a:spcBef>
                  <a:spcPct val="0"/>
                </a:spcBef>
                <a:buNone/>
              </a:pPr>
              <a:t>2,119,620</a:t>
            </a:fld>
            <a:endParaRPr lang="ja-JP" altLang="en-US" sz="1000" dirty="0">
              <a:sym typeface="+mn-lt"/>
            </a:endParaRPr>
          </a:p>
        </p:txBody>
      </p:sp>
      <p:sp>
        <p:nvSpPr>
          <p:cNvPr id="81" name="テキスト プレースホルダ 9">
            <a:extLst>
              <a:ext uri="{FF2B5EF4-FFF2-40B4-BE49-F238E27FC236}">
                <a16:creationId xmlns:a16="http://schemas.microsoft.com/office/drawing/2014/main" id="{137A3C12-42D0-45E3-8332-8AE981E1C85D}"/>
              </a:ext>
            </a:extLst>
          </p:cNvPr>
          <p:cNvSpPr>
            <a:spLocks noGrp="1"/>
          </p:cNvSpPr>
          <p:nvPr>
            <p:custDataLst>
              <p:tags r:id="rId19"/>
            </p:custDataLst>
          </p:nvPr>
        </p:nvSpPr>
        <p:spPr bwMode="auto">
          <a:xfrm>
            <a:off x="422116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C9E75A-A21E-498D-9AA9-68E0D6915164}" type="datetime'''''''''''''''''''''''''1''''''''8'''">
              <a:rPr kumimoji="0" lang="ja-JP" altLang="en-US" sz="1000" smtClean="0"/>
              <a:pPr/>
              <a:t>18</a:t>
            </a:fld>
            <a:endParaRPr kumimoji="0" lang="ja-JP" altLang="en-US" sz="1000" dirty="0">
              <a:sym typeface="+mn-lt"/>
            </a:endParaRPr>
          </a:p>
        </p:txBody>
      </p:sp>
      <p:sp>
        <p:nvSpPr>
          <p:cNvPr id="82" name="テキスト プレースホルダ 9">
            <a:extLst>
              <a:ext uri="{FF2B5EF4-FFF2-40B4-BE49-F238E27FC236}">
                <a16:creationId xmlns:a16="http://schemas.microsoft.com/office/drawing/2014/main" id="{D91208A5-7594-4C26-A48C-465A38DDF99F}"/>
              </a:ext>
            </a:extLst>
          </p:cNvPr>
          <p:cNvSpPr>
            <a:spLocks noGrp="1"/>
          </p:cNvSpPr>
          <p:nvPr>
            <p:custDataLst>
              <p:tags r:id="rId20"/>
            </p:custDataLst>
          </p:nvPr>
        </p:nvSpPr>
        <p:spPr bwMode="auto">
          <a:xfrm>
            <a:off x="466090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258196-2CAD-4CF1-A6F1-72DA7A2615EE}" type="datetime'''1''''''''''''''''''''''9'">
              <a:rPr kumimoji="0" lang="ja-JP" altLang="en-US" sz="1000" smtClean="0"/>
              <a:pPr/>
              <a:t>19</a:t>
            </a:fld>
            <a:endParaRPr kumimoji="0" lang="ja-JP" altLang="en-US" sz="1000" dirty="0">
              <a:sym typeface="+mn-lt"/>
            </a:endParaRPr>
          </a:p>
        </p:txBody>
      </p:sp>
      <p:graphicFrame>
        <p:nvGraphicFramePr>
          <p:cNvPr id="83" name="Chart 82">
            <a:extLst>
              <a:ext uri="{FF2B5EF4-FFF2-40B4-BE49-F238E27FC236}">
                <a16:creationId xmlns:a16="http://schemas.microsoft.com/office/drawing/2014/main" id="{0C3E4487-50ED-4319-98E2-EF112B6C8286}"/>
              </a:ext>
            </a:extLst>
          </p:cNvPr>
          <p:cNvGraphicFramePr/>
          <p:nvPr>
            <p:custDataLst>
              <p:tags r:id="rId21"/>
            </p:custDataLst>
            <p:extLst>
              <p:ext uri="{D42A27DB-BD31-4B8C-83A1-F6EECF244321}">
                <p14:modId xmlns:p14="http://schemas.microsoft.com/office/powerpoint/2010/main" val="1319469043"/>
              </p:ext>
            </p:extLst>
          </p:nvPr>
        </p:nvGraphicFramePr>
        <p:xfrm>
          <a:off x="5105400" y="2425700"/>
          <a:ext cx="4624388" cy="3694113"/>
        </p:xfrm>
        <a:graphic>
          <a:graphicData uri="http://schemas.openxmlformats.org/drawingml/2006/chart">
            <c:chart xmlns:c="http://schemas.openxmlformats.org/drawingml/2006/chart" xmlns:r="http://schemas.openxmlformats.org/officeDocument/2006/relationships" r:id="rId64"/>
          </a:graphicData>
        </a:graphic>
      </p:graphicFrame>
      <p:cxnSp>
        <p:nvCxnSpPr>
          <p:cNvPr id="20" name="Straight Connector 19">
            <a:extLst>
              <a:ext uri="{FF2B5EF4-FFF2-40B4-BE49-F238E27FC236}">
                <a16:creationId xmlns:a16="http://schemas.microsoft.com/office/drawing/2014/main" id="{E0316E9F-D567-4A71-A8BD-E3B3CED98469}"/>
              </a:ext>
            </a:extLst>
          </p:cNvPr>
          <p:cNvCxnSpPr/>
          <p:nvPr>
            <p:custDataLst>
              <p:tags r:id="rId22"/>
            </p:custDataLst>
          </p:nvPr>
        </p:nvCxnSpPr>
        <p:spPr bwMode="auto">
          <a:xfrm flipH="1">
            <a:off x="5581650" y="5106988"/>
            <a:ext cx="407988" cy="4953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203" name="テキスト プレースホルダ 9">
            <a:extLst>
              <a:ext uri="{FF2B5EF4-FFF2-40B4-BE49-F238E27FC236}">
                <a16:creationId xmlns:a16="http://schemas.microsoft.com/office/drawing/2014/main" id="{2101A821-C85F-4994-BD6D-9F27C9E305F6}"/>
              </a:ext>
            </a:extLst>
          </p:cNvPr>
          <p:cNvSpPr>
            <a:spLocks noGrp="1"/>
          </p:cNvSpPr>
          <p:nvPr>
            <p:custDataLst>
              <p:tags r:id="rId23"/>
            </p:custDataLst>
          </p:nvPr>
        </p:nvSpPr>
        <p:spPr bwMode="gray">
          <a:xfrm>
            <a:off x="5567363" y="594201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C02632-13A9-4AFF-8B55-1D3D3D254891}" type="datetime'''''5''''''''''''''''''''''''''''''.''''''''''''''''5'''''''''">
              <a:rPr lang="ja-JP" altLang="en-US" sz="1000" smtClean="0">
                <a:effectLst/>
                <a:sym typeface="+mn-lt"/>
              </a:rPr>
              <a:pPr marL="0" indent="0" algn="ctr">
                <a:spcBef>
                  <a:spcPct val="0"/>
                </a:spcBef>
                <a:buNone/>
              </a:pPr>
              <a:t>5.5</a:t>
            </a:fld>
            <a:endParaRPr lang="ja-JP" altLang="en-US" sz="1000" dirty="0">
              <a:sym typeface="+mn-lt"/>
            </a:endParaRPr>
          </a:p>
        </p:txBody>
      </p:sp>
      <p:sp>
        <p:nvSpPr>
          <p:cNvPr id="42" name="テキスト プレースホルダ 9"/>
          <p:cNvSpPr>
            <a:spLocks noGrp="1"/>
          </p:cNvSpPr>
          <p:nvPr>
            <p:custDataLst>
              <p:tags r:id="rId24"/>
            </p:custDataLst>
          </p:nvPr>
        </p:nvSpPr>
        <p:spPr bwMode="auto">
          <a:xfrm>
            <a:off x="5907088"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1EE1A2-0467-4618-B07C-D0C08961CAC1}" type="datetime'''''''''''''''1''''''''1'''''">
              <a:rPr lang="ja-JP" altLang="en-US" sz="1000" smtClean="0"/>
              <a:pPr/>
              <a:t>11</a:t>
            </a:fld>
            <a:endParaRPr kumimoji="0" lang="ja-JP" altLang="en-US" sz="1000" dirty="0">
              <a:sym typeface="+mn-lt"/>
            </a:endParaRPr>
          </a:p>
        </p:txBody>
      </p:sp>
      <p:sp>
        <p:nvSpPr>
          <p:cNvPr id="44" name="テキスト プレースホルダ 9"/>
          <p:cNvSpPr>
            <a:spLocks noGrp="1"/>
          </p:cNvSpPr>
          <p:nvPr>
            <p:custDataLst>
              <p:tags r:id="rId25"/>
            </p:custDataLst>
          </p:nvPr>
        </p:nvSpPr>
        <p:spPr bwMode="auto">
          <a:xfrm>
            <a:off x="7696200"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6E33B0-CD8F-46B3-8E17-7AA131B75C2B}" type="datetime'''''''''''''''''''''''''''''''''''''''''''''1''''''''''''5'">
              <a:rPr lang="ja-JP" altLang="en-US" sz="1000" smtClean="0"/>
              <a:pPr/>
              <a:t>15</a:t>
            </a:fld>
            <a:endParaRPr kumimoji="0" lang="ja-JP" altLang="en-US" sz="1000" dirty="0">
              <a:sym typeface="+mn-lt"/>
            </a:endParaRPr>
          </a:p>
        </p:txBody>
      </p:sp>
      <p:sp>
        <p:nvSpPr>
          <p:cNvPr id="43" name="テキスト プレースホルダ 9"/>
          <p:cNvSpPr>
            <a:spLocks noGrp="1"/>
          </p:cNvSpPr>
          <p:nvPr>
            <p:custDataLst>
              <p:tags r:id="rId26"/>
            </p:custDataLst>
          </p:nvPr>
        </p:nvSpPr>
        <p:spPr bwMode="auto">
          <a:xfrm>
            <a:off x="5389563" y="61372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26390E-6325-4920-9FD5-DB79BADA7708}" type="datetime'20''1''''''0'''''''">
              <a:rPr lang="ja-JP" altLang="en-US" sz="1000" smtClean="0"/>
              <a:pPr/>
              <a:t>2010</a:t>
            </a:fld>
            <a:endParaRPr kumimoji="0" lang="ja-JP" altLang="en-US" sz="1000" dirty="0">
              <a:sym typeface="+mn-lt"/>
            </a:endParaRPr>
          </a:p>
        </p:txBody>
      </p:sp>
      <p:sp>
        <p:nvSpPr>
          <p:cNvPr id="45" name="テキスト プレースホルダ 9"/>
          <p:cNvSpPr>
            <a:spLocks noGrp="1"/>
          </p:cNvSpPr>
          <p:nvPr>
            <p:custDataLst>
              <p:tags r:id="rId27"/>
            </p:custDataLst>
          </p:nvPr>
        </p:nvSpPr>
        <p:spPr bwMode="auto">
          <a:xfrm>
            <a:off x="6354763"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181636-2E73-4172-898B-F71DB22DDF1B}" type="datetime'''''''1''''''''''''''''''''''''''''''2'''''''''''''''''''">
              <a:rPr lang="ja-JP" altLang="en-US" sz="1000" smtClean="0"/>
              <a:pPr/>
              <a:t>12</a:t>
            </a:fld>
            <a:endParaRPr kumimoji="0" lang="ja-JP" altLang="en-US" sz="1000" dirty="0">
              <a:sym typeface="+mn-lt"/>
            </a:endParaRPr>
          </a:p>
        </p:txBody>
      </p:sp>
      <p:sp>
        <p:nvSpPr>
          <p:cNvPr id="46" name="テキスト プレースホルダ 9"/>
          <p:cNvSpPr>
            <a:spLocks noGrp="1"/>
          </p:cNvSpPr>
          <p:nvPr>
            <p:custDataLst>
              <p:tags r:id="rId28"/>
            </p:custDataLst>
          </p:nvPr>
        </p:nvSpPr>
        <p:spPr bwMode="auto">
          <a:xfrm>
            <a:off x="6800850"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0849EE-DC16-4456-9D4C-93CA092595A5}" type="datetime'1''''''''''''''''''''''''''''''''''3'''''''''''''''''">
              <a:rPr lang="ja-JP" altLang="en-US" sz="1000" smtClean="0"/>
              <a:pPr/>
              <a:t>13</a:t>
            </a:fld>
            <a:endParaRPr kumimoji="0" lang="ja-JP" altLang="en-US" sz="1000" dirty="0">
              <a:sym typeface="+mn-lt"/>
            </a:endParaRPr>
          </a:p>
        </p:txBody>
      </p:sp>
      <p:sp>
        <p:nvSpPr>
          <p:cNvPr id="41" name="テキスト プレースホルダ 9"/>
          <p:cNvSpPr>
            <a:spLocks noGrp="1"/>
          </p:cNvSpPr>
          <p:nvPr>
            <p:custDataLst>
              <p:tags r:id="rId29"/>
            </p:custDataLst>
          </p:nvPr>
        </p:nvSpPr>
        <p:spPr bwMode="auto">
          <a:xfrm>
            <a:off x="7248525"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0AE1EF-24CC-4293-885A-0B6872BE3816}" type="datetime'''''''''''''''1''''''''4'''''''''''''''''''''''''''''''''''''">
              <a:rPr lang="ja-JP" altLang="en-US" sz="1000" smtClean="0"/>
              <a:pPr/>
              <a:t>14</a:t>
            </a:fld>
            <a:endParaRPr kumimoji="0" lang="ja-JP" altLang="en-US" sz="1000" dirty="0">
              <a:sym typeface="+mn-lt"/>
            </a:endParaRPr>
          </a:p>
        </p:txBody>
      </p:sp>
      <p:sp>
        <p:nvSpPr>
          <p:cNvPr id="64" name="テキスト プレースホルダ 9"/>
          <p:cNvSpPr>
            <a:spLocks noGrp="1"/>
          </p:cNvSpPr>
          <p:nvPr>
            <p:custDataLst>
              <p:tags r:id="rId30"/>
            </p:custDataLst>
          </p:nvPr>
        </p:nvSpPr>
        <p:spPr bwMode="auto">
          <a:xfrm>
            <a:off x="8143875"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6346B8-D314-4D72-AFF1-A1451438515D}" type="datetime'''''''''''''''''''1''''6'''''''''''''''">
              <a:rPr lang="ja-JP" altLang="en-US" sz="1000" smtClean="0"/>
              <a:pPr/>
              <a:t>16</a:t>
            </a:fld>
            <a:endParaRPr kumimoji="0" lang="ja-JP" altLang="en-US" sz="1000" dirty="0">
              <a:sym typeface="+mn-lt"/>
            </a:endParaRPr>
          </a:p>
        </p:txBody>
      </p:sp>
      <p:sp useBgFill="1">
        <p:nvSpPr>
          <p:cNvPr id="208" name="テキスト プレースホルダ 9">
            <a:extLst>
              <a:ext uri="{FF2B5EF4-FFF2-40B4-BE49-F238E27FC236}">
                <a16:creationId xmlns:a16="http://schemas.microsoft.com/office/drawing/2014/main" id="{F93E0B4C-B48E-4063-A8FB-8468949C6A96}"/>
              </a:ext>
            </a:extLst>
          </p:cNvPr>
          <p:cNvSpPr>
            <a:spLocks noGrp="1"/>
          </p:cNvSpPr>
          <p:nvPr>
            <p:custDataLst>
              <p:tags r:id="rId31"/>
            </p:custDataLst>
          </p:nvPr>
        </p:nvSpPr>
        <p:spPr bwMode="gray">
          <a:xfrm>
            <a:off x="8561388" y="589915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9CC86D-0BAA-49EA-A91A-A013443D0F1E}" type="datetime'''''''''''''''''''''''''6''''''.''''''''''''8'''">
              <a:rPr lang="ja-JP" altLang="en-US" sz="1000" smtClean="0">
                <a:effectLst/>
                <a:sym typeface="+mn-lt"/>
              </a:rPr>
              <a:pPr/>
              <a:t>6.8</a:t>
            </a:fld>
            <a:endParaRPr lang="ja-JP" altLang="en-US" sz="1000" dirty="0">
              <a:sym typeface="+mn-lt"/>
            </a:endParaRPr>
          </a:p>
        </p:txBody>
      </p:sp>
      <p:sp>
        <p:nvSpPr>
          <p:cNvPr id="66" name="テキスト プレースホルダ 9"/>
          <p:cNvSpPr>
            <a:spLocks noGrp="1"/>
          </p:cNvSpPr>
          <p:nvPr>
            <p:custDataLst>
              <p:tags r:id="rId32"/>
            </p:custDataLst>
          </p:nvPr>
        </p:nvSpPr>
        <p:spPr bwMode="auto">
          <a:xfrm>
            <a:off x="8589963"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98FB33-3DAE-4DA2-BA69-20528FEAB0FB}" type="datetime'''''''''''''''''''''''''''''''17'''''''''''''">
              <a:rPr lang="ja-JP" altLang="en-US" sz="1000" smtClean="0"/>
              <a:pPr/>
              <a:t>17</a:t>
            </a:fld>
            <a:endParaRPr kumimoji="0" lang="ja-JP" altLang="en-US" sz="1000" dirty="0">
              <a:sym typeface="+mn-lt"/>
            </a:endParaRPr>
          </a:p>
        </p:txBody>
      </p:sp>
      <p:sp>
        <p:nvSpPr>
          <p:cNvPr id="175" name="テキスト プレースホルダ 9">
            <a:extLst>
              <a:ext uri="{FF2B5EF4-FFF2-40B4-BE49-F238E27FC236}">
                <a16:creationId xmlns:a16="http://schemas.microsoft.com/office/drawing/2014/main" id="{B80D170C-3135-489E-A5D6-BBC8F5EA4324}"/>
              </a:ext>
            </a:extLst>
          </p:cNvPr>
          <p:cNvSpPr>
            <a:spLocks noGrp="1"/>
          </p:cNvSpPr>
          <p:nvPr>
            <p:custDataLst>
              <p:tags r:id="rId33"/>
            </p:custDataLst>
          </p:nvPr>
        </p:nvSpPr>
        <p:spPr bwMode="auto">
          <a:xfrm>
            <a:off x="9037638"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4E92A5-5FB9-4042-BDB1-75CCDDBF4839}" type="datetime'''''''''''''''''''''1''''''''''''''''''8'''''">
              <a:rPr kumimoji="0" lang="ja-JP" altLang="en-US" sz="1000" smtClean="0"/>
              <a:pPr/>
              <a:t>18</a:t>
            </a:fld>
            <a:endParaRPr kumimoji="0" lang="ja-JP" altLang="en-US" sz="1000" dirty="0">
              <a:sym typeface="+mn-lt"/>
            </a:endParaRPr>
          </a:p>
        </p:txBody>
      </p:sp>
      <p:sp useBgFill="1">
        <p:nvSpPr>
          <p:cNvPr id="185" name="テキスト プレースホルダ 9">
            <a:extLst>
              <a:ext uri="{FF2B5EF4-FFF2-40B4-BE49-F238E27FC236}">
                <a16:creationId xmlns:a16="http://schemas.microsoft.com/office/drawing/2014/main" id="{CD8B9BDC-5558-40AA-9420-0C5EB6CD40F5}"/>
              </a:ext>
            </a:extLst>
          </p:cNvPr>
          <p:cNvSpPr>
            <a:spLocks noGrp="1"/>
          </p:cNvSpPr>
          <p:nvPr>
            <p:custDataLst>
              <p:tags r:id="rId34"/>
            </p:custDataLst>
          </p:nvPr>
        </p:nvSpPr>
        <p:spPr bwMode="gray">
          <a:xfrm>
            <a:off x="9421813" y="342106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D1F1A8-9084-4514-AD03-7D2BC597BDD1}" type="datetime'''7''''''''''''''''''''''''4''''''''.''''''''''''''''0'''''''">
              <a:rPr lang="ja-JP" altLang="en-US" sz="1000" smtClean="0">
                <a:effectLst/>
                <a:sym typeface="+mn-lt"/>
              </a:rPr>
              <a:pPr marL="0" indent="0" algn="ctr">
                <a:spcBef>
                  <a:spcPct val="0"/>
                </a:spcBef>
                <a:buNone/>
              </a:pPr>
              <a:t>74.0</a:t>
            </a:fld>
            <a:endParaRPr lang="ja-JP" altLang="en-US" sz="1000" dirty="0">
              <a:sym typeface="+mn-lt"/>
            </a:endParaRPr>
          </a:p>
        </p:txBody>
      </p:sp>
      <p:sp>
        <p:nvSpPr>
          <p:cNvPr id="176" name="テキスト プレースホルダ 9">
            <a:extLst>
              <a:ext uri="{FF2B5EF4-FFF2-40B4-BE49-F238E27FC236}">
                <a16:creationId xmlns:a16="http://schemas.microsoft.com/office/drawing/2014/main" id="{3EF0790C-09C0-4A0A-8D61-0238DD88ADF8}"/>
              </a:ext>
            </a:extLst>
          </p:cNvPr>
          <p:cNvSpPr>
            <a:spLocks noGrp="1"/>
          </p:cNvSpPr>
          <p:nvPr>
            <p:custDataLst>
              <p:tags r:id="rId35"/>
            </p:custDataLst>
          </p:nvPr>
        </p:nvSpPr>
        <p:spPr bwMode="auto">
          <a:xfrm>
            <a:off x="9485313"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8DD414-DC7C-4333-A8A2-5A34696B7E34}" type="datetime'''''1''''''''''''9'''''''''''''''''''''''''''">
              <a:rPr kumimoji="0" lang="ja-JP" altLang="en-US" sz="1000" smtClean="0"/>
              <a:pPr/>
              <a:t>19</a:t>
            </a:fld>
            <a:endParaRPr kumimoji="0" lang="ja-JP" altLang="en-US" sz="1000" dirty="0">
              <a:sym typeface="+mn-lt"/>
            </a:endParaRPr>
          </a:p>
        </p:txBody>
      </p:sp>
      <p:cxnSp>
        <p:nvCxnSpPr>
          <p:cNvPr id="169" name="Straight Connector 168">
            <a:extLst>
              <a:ext uri="{FF2B5EF4-FFF2-40B4-BE49-F238E27FC236}">
                <a16:creationId xmlns:a16="http://schemas.microsoft.com/office/drawing/2014/main" id="{E8538076-29EF-4B98-8CEF-BD97ED7FAA05}"/>
              </a:ext>
            </a:extLst>
          </p:cNvPr>
          <p:cNvCxnSpPr/>
          <p:nvPr>
            <p:custDataLst>
              <p:tags r:id="rId36"/>
            </p:custDataLst>
          </p:nvPr>
        </p:nvCxnSpPr>
        <p:spPr bwMode="gray">
          <a:xfrm>
            <a:off x="5586413" y="3052763"/>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39C1B9FC-9655-4EFF-B50F-FED8031E87B4}"/>
              </a:ext>
            </a:extLst>
          </p:cNvPr>
          <p:cNvCxnSpPr/>
          <p:nvPr>
            <p:custDataLst>
              <p:tags r:id="rId37"/>
            </p:custDataLst>
          </p:nvPr>
        </p:nvCxnSpPr>
        <p:spPr bwMode="gray">
          <a:xfrm>
            <a:off x="5586413" y="2646363"/>
            <a:ext cx="26511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34AC3B75-04AF-46B1-83CB-5CB84CC6665A}"/>
              </a:ext>
            </a:extLst>
          </p:cNvPr>
          <p:cNvCxnSpPr/>
          <p:nvPr>
            <p:custDataLst>
              <p:tags r:id="rId38"/>
            </p:custDataLst>
          </p:nvPr>
        </p:nvCxnSpPr>
        <p:spPr bwMode="gray">
          <a:xfrm>
            <a:off x="5586413" y="2849563"/>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44E51FF3-60B4-4542-8C68-29EE256A895E}"/>
              </a:ext>
            </a:extLst>
          </p:cNvPr>
          <p:cNvCxnSpPr/>
          <p:nvPr>
            <p:custDataLst>
              <p:tags r:id="rId39"/>
            </p:custDataLst>
          </p:nvPr>
        </p:nvCxnSpPr>
        <p:spPr bwMode="gray">
          <a:xfrm>
            <a:off x="5586413" y="3255963"/>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3" name="Oval 52"/>
          <p:cNvSpPr/>
          <p:nvPr>
            <p:custDataLst>
              <p:tags r:id="rId40"/>
            </p:custDataLst>
          </p:nvPr>
        </p:nvSpPr>
        <p:spPr bwMode="gray">
          <a:xfrm>
            <a:off x="5680075" y="260826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Isosceles Triangle 53"/>
          <p:cNvSpPr/>
          <p:nvPr>
            <p:custDataLst>
              <p:tags r:id="rId41"/>
            </p:custDataLst>
          </p:nvPr>
        </p:nvSpPr>
        <p:spPr bwMode="gray">
          <a:xfrm>
            <a:off x="5680075" y="3014663"/>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5" name="Rectangle 194">
            <a:extLst>
              <a:ext uri="{FF2B5EF4-FFF2-40B4-BE49-F238E27FC236}">
                <a16:creationId xmlns:a16="http://schemas.microsoft.com/office/drawing/2014/main" id="{CB2354A6-CC5E-4CC5-B82F-E3532BC0091F}"/>
              </a:ext>
            </a:extLst>
          </p:cNvPr>
          <p:cNvSpPr/>
          <p:nvPr>
            <p:custDataLst>
              <p:tags r:id="rId42"/>
            </p:custDataLst>
          </p:nvPr>
        </p:nvSpPr>
        <p:spPr bwMode="auto">
          <a:xfrm>
            <a:off x="5680075" y="2811463"/>
            <a:ext cx="76200" cy="76200"/>
          </a:xfrm>
          <a:prstGeom prst="rect">
            <a:avLst/>
          </a:prstGeom>
          <a:solidFill>
            <a:srgbClr val="3D6E81"/>
          </a:solidFill>
          <a:ln w="9525" cap="flat" cmpd="sng" algn="ctr">
            <a:solidFill>
              <a:srgbClr val="3D6E8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Diamond 51"/>
          <p:cNvSpPr/>
          <p:nvPr>
            <p:custDataLst>
              <p:tags r:id="rId43"/>
            </p:custDataLst>
          </p:nvPr>
        </p:nvSpPr>
        <p:spPr bwMode="gray">
          <a:xfrm>
            <a:off x="5680075" y="3217863"/>
            <a:ext cx="76200" cy="76200"/>
          </a:xfrm>
          <a:prstGeom prst="diamond">
            <a:avLst/>
          </a:prstGeom>
          <a:solidFill>
            <a:srgbClr val="4D4D4D"/>
          </a:solidFill>
          <a:ln w="9525">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テキスト プレースホルダ 9"/>
          <p:cNvSpPr>
            <a:spLocks noGrp="1"/>
          </p:cNvSpPr>
          <p:nvPr>
            <p:custDataLst>
              <p:tags r:id="rId44"/>
            </p:custDataLst>
          </p:nvPr>
        </p:nvSpPr>
        <p:spPr bwMode="auto">
          <a:xfrm>
            <a:off x="5902325" y="31845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2354CB5-9BB8-4F2E-B03B-B5F4445F67BA}" type="datetime'''''''''''''''''''''''''''歯''''''科''医'''''''''''''">
              <a:rPr lang="ja-JP" altLang="en-US" sz="1000"/>
              <a:pPr marL="0" indent="0">
                <a:spcBef>
                  <a:spcPct val="0"/>
                </a:spcBef>
                <a:buNone/>
              </a:pPr>
              <a:t>歯科医</a:t>
            </a:fld>
            <a:endParaRPr kumimoji="0" lang="ja-JP" altLang="en-US" sz="1000" dirty="0">
              <a:sym typeface="+mn-lt"/>
            </a:endParaRPr>
          </a:p>
        </p:txBody>
      </p:sp>
      <p:sp>
        <p:nvSpPr>
          <p:cNvPr id="58" name="テキスト プレースホルダ 9"/>
          <p:cNvSpPr>
            <a:spLocks noGrp="1"/>
          </p:cNvSpPr>
          <p:nvPr>
            <p:custDataLst>
              <p:tags r:id="rId45"/>
            </p:custDataLst>
          </p:nvPr>
        </p:nvSpPr>
        <p:spPr bwMode="auto">
          <a:xfrm>
            <a:off x="5902325" y="29813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630A107-3AA1-47AC-B785-2EBE06D4A7C4}" type="datetime'''''''''''''''''''''''''''''''''''''''''''''''''薬剤''''''''師'''">
              <a:rPr lang="ja-JP" altLang="en-US" sz="1000"/>
              <a:pPr marL="0" indent="0">
                <a:spcBef>
                  <a:spcPct val="0"/>
                </a:spcBef>
                <a:buNone/>
              </a:pPr>
              <a:t>薬剤師</a:t>
            </a:fld>
            <a:endParaRPr kumimoji="0" lang="ja-JP" altLang="en-US" sz="1000" dirty="0">
              <a:sym typeface="+mn-lt"/>
            </a:endParaRPr>
          </a:p>
        </p:txBody>
      </p:sp>
      <p:sp>
        <p:nvSpPr>
          <p:cNvPr id="55" name="テキスト プレースホルダ 9"/>
          <p:cNvSpPr>
            <a:spLocks noGrp="1"/>
          </p:cNvSpPr>
          <p:nvPr>
            <p:custDataLst>
              <p:tags r:id="rId46"/>
            </p:custDataLst>
          </p:nvPr>
        </p:nvSpPr>
        <p:spPr bwMode="auto">
          <a:xfrm>
            <a:off x="5902325" y="25749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ECFD38B-1775-4176-959F-4E949CD985E3}" type="datetime'''''''''看''''''''''''''''護''''師'''''''''''''''''''''''''''''''">
              <a:rPr lang="ja-JP" altLang="en-US" sz="1000"/>
              <a:pPr marL="0" indent="0">
                <a:spcBef>
                  <a:spcPct val="0"/>
                </a:spcBef>
                <a:buNone/>
              </a:pPr>
              <a:t>看護師</a:t>
            </a:fld>
            <a:endParaRPr kumimoji="0" lang="ja-JP" altLang="en-US" sz="1000" dirty="0">
              <a:sym typeface="+mn-lt"/>
            </a:endParaRPr>
          </a:p>
        </p:txBody>
      </p:sp>
      <p:sp>
        <p:nvSpPr>
          <p:cNvPr id="56" name="テキスト プレースホルダ 9"/>
          <p:cNvSpPr>
            <a:spLocks noGrp="1"/>
          </p:cNvSpPr>
          <p:nvPr>
            <p:custDataLst>
              <p:tags r:id="rId47"/>
            </p:custDataLst>
          </p:nvPr>
        </p:nvSpPr>
        <p:spPr bwMode="auto">
          <a:xfrm>
            <a:off x="5902325" y="2778125"/>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AF2FB29-E8E3-40E3-9E8F-9D48266A9951}" type="datetime'医''師''''''（歯''''科医''''''''''''''を''''除''''''''く''）'''''''">
              <a:rPr lang="ja-JP" altLang="en-US" sz="1000"/>
              <a:pPr marL="0" indent="0">
                <a:spcBef>
                  <a:spcPct val="0"/>
                </a:spcBef>
                <a:buNone/>
              </a:pPr>
              <a:t>医師（歯科医を除く）</a:t>
            </a:fld>
            <a:endParaRPr kumimoji="0" lang="ja-JP" altLang="en-US" sz="1000" dirty="0">
              <a:sym typeface="+mn-lt"/>
            </a:endParaRPr>
          </a:p>
        </p:txBody>
      </p:sp>
      <p:cxnSp>
        <p:nvCxnSpPr>
          <p:cNvPr id="130" name="Straight Connector 129">
            <a:extLst>
              <a:ext uri="{FF2B5EF4-FFF2-40B4-BE49-F238E27FC236}">
                <a16:creationId xmlns:a16="http://schemas.microsoft.com/office/drawing/2014/main" id="{E235F369-0F36-468B-927D-CF0AD113BE2F}"/>
              </a:ext>
            </a:extLst>
          </p:cNvPr>
          <p:cNvCxnSpPr/>
          <p:nvPr>
            <p:custDataLst>
              <p:tags r:id="rId48"/>
            </p:custDataLst>
          </p:nvPr>
        </p:nvCxnSpPr>
        <p:spPr bwMode="gray">
          <a:xfrm>
            <a:off x="835025" y="2646363"/>
            <a:ext cx="26511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E18BB853-E78C-44D6-B0EB-54688C8F8F90}"/>
              </a:ext>
            </a:extLst>
          </p:cNvPr>
          <p:cNvCxnSpPr/>
          <p:nvPr>
            <p:custDataLst>
              <p:tags r:id="rId49"/>
            </p:custDataLst>
          </p:nvPr>
        </p:nvCxnSpPr>
        <p:spPr bwMode="gray">
          <a:xfrm>
            <a:off x="835025" y="3052763"/>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D2A0A13A-3DA1-44B6-9EDE-5F56AAF0F7A8}"/>
              </a:ext>
            </a:extLst>
          </p:cNvPr>
          <p:cNvCxnSpPr/>
          <p:nvPr>
            <p:custDataLst>
              <p:tags r:id="rId50"/>
            </p:custDataLst>
          </p:nvPr>
        </p:nvCxnSpPr>
        <p:spPr bwMode="gray">
          <a:xfrm>
            <a:off x="835025" y="2849563"/>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9C0A9343-9826-4BF7-ABB4-0FF7FD65BF7C}"/>
              </a:ext>
            </a:extLst>
          </p:cNvPr>
          <p:cNvCxnSpPr/>
          <p:nvPr>
            <p:custDataLst>
              <p:tags r:id="rId51"/>
            </p:custDataLst>
          </p:nvPr>
        </p:nvCxnSpPr>
        <p:spPr bwMode="gray">
          <a:xfrm>
            <a:off x="835025" y="3255963"/>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1" name="Oval 130">
            <a:extLst>
              <a:ext uri="{FF2B5EF4-FFF2-40B4-BE49-F238E27FC236}">
                <a16:creationId xmlns:a16="http://schemas.microsoft.com/office/drawing/2014/main" id="{9E948708-DE97-491C-AE37-8EAA95BE0C61}"/>
              </a:ext>
            </a:extLst>
          </p:cNvPr>
          <p:cNvSpPr/>
          <p:nvPr>
            <p:custDataLst>
              <p:tags r:id="rId52"/>
            </p:custDataLst>
          </p:nvPr>
        </p:nvSpPr>
        <p:spPr bwMode="auto">
          <a:xfrm>
            <a:off x="928688" y="2608263"/>
            <a:ext cx="76200" cy="76200"/>
          </a:xfrm>
          <a:prstGeom prst="ellipse">
            <a:avLst/>
          </a:prstGeom>
          <a:solidFill>
            <a:schemeClr val="tx2"/>
          </a:solidFill>
          <a:ln w="9525" cap="flat"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3" name="Rectangle 132">
            <a:extLst>
              <a:ext uri="{FF2B5EF4-FFF2-40B4-BE49-F238E27FC236}">
                <a16:creationId xmlns:a16="http://schemas.microsoft.com/office/drawing/2014/main" id="{34719A81-F002-4EA2-BFC9-2905B1E1C620}"/>
              </a:ext>
            </a:extLst>
          </p:cNvPr>
          <p:cNvSpPr/>
          <p:nvPr>
            <p:custDataLst>
              <p:tags r:id="rId53"/>
            </p:custDataLst>
          </p:nvPr>
        </p:nvSpPr>
        <p:spPr bwMode="auto">
          <a:xfrm>
            <a:off x="928688" y="2811463"/>
            <a:ext cx="76200" cy="76200"/>
          </a:xfrm>
          <a:prstGeom prst="rect">
            <a:avLst/>
          </a:prstGeom>
          <a:solidFill>
            <a:srgbClr val="3D6E81"/>
          </a:solidFill>
          <a:ln w="9525" cap="flat" cmpd="sng" algn="ctr">
            <a:solidFill>
              <a:srgbClr val="3D6E8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5" name="Isosceles Triangle 134">
            <a:extLst>
              <a:ext uri="{FF2B5EF4-FFF2-40B4-BE49-F238E27FC236}">
                <a16:creationId xmlns:a16="http://schemas.microsoft.com/office/drawing/2014/main" id="{5AFE606C-0578-4BAE-9D1B-9BBBD8A6DD07}"/>
              </a:ext>
            </a:extLst>
          </p:cNvPr>
          <p:cNvSpPr/>
          <p:nvPr>
            <p:custDataLst>
              <p:tags r:id="rId54"/>
            </p:custDataLst>
          </p:nvPr>
        </p:nvSpPr>
        <p:spPr bwMode="auto">
          <a:xfrm>
            <a:off x="928688" y="3014663"/>
            <a:ext cx="76200" cy="76200"/>
          </a:xfrm>
          <a:prstGeom prst="triangle">
            <a:avLst/>
          </a:prstGeom>
          <a:solidFill>
            <a:srgbClr val="655939"/>
          </a:solidFill>
          <a:ln w="9525" cap="flat" cmpd="sng" algn="ctr">
            <a:solidFill>
              <a:srgbClr val="65593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7" name="Diamond 136">
            <a:extLst>
              <a:ext uri="{FF2B5EF4-FFF2-40B4-BE49-F238E27FC236}">
                <a16:creationId xmlns:a16="http://schemas.microsoft.com/office/drawing/2014/main" id="{A2EDE88B-7301-48C6-852E-1016C2F8EC3C}"/>
              </a:ext>
            </a:extLst>
          </p:cNvPr>
          <p:cNvSpPr/>
          <p:nvPr>
            <p:custDataLst>
              <p:tags r:id="rId55"/>
            </p:custDataLst>
          </p:nvPr>
        </p:nvSpPr>
        <p:spPr bwMode="auto">
          <a:xfrm>
            <a:off x="928688" y="3217863"/>
            <a:ext cx="76200" cy="76200"/>
          </a:xfrm>
          <a:prstGeom prst="diamond">
            <a:avLst/>
          </a:prstGeom>
          <a:solidFill>
            <a:srgbClr val="4D4D4D"/>
          </a:solidFill>
          <a:ln w="9525" cap="flat" cmpd="sng" algn="ctr">
            <a:solidFill>
              <a:srgbClr val="4D4D4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テキスト プレースホルダ 9">
            <a:extLst>
              <a:ext uri="{FF2B5EF4-FFF2-40B4-BE49-F238E27FC236}">
                <a16:creationId xmlns:a16="http://schemas.microsoft.com/office/drawing/2014/main" id="{B3E7705C-4438-492B-B274-5D111B973013}"/>
              </a:ext>
            </a:extLst>
          </p:cNvPr>
          <p:cNvSpPr>
            <a:spLocks noGrp="1"/>
          </p:cNvSpPr>
          <p:nvPr>
            <p:custDataLst>
              <p:tags r:id="rId56"/>
            </p:custDataLst>
          </p:nvPr>
        </p:nvSpPr>
        <p:spPr bwMode="auto">
          <a:xfrm>
            <a:off x="1150938" y="2574925"/>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3DDA38E-C9A3-43A2-9A0F-E099FF0D4092}" type="datetime'''''''看''''''''''''''''''''護''師'''">
              <a:rPr lang="ja-JP" altLang="en-US" sz="1000" smtClean="0">
                <a:effectLst/>
                <a:sym typeface="+mn-lt"/>
              </a:rPr>
              <a:pPr marL="0" indent="0">
                <a:spcBef>
                  <a:spcPct val="0"/>
                </a:spcBef>
                <a:buNone/>
              </a:pPr>
              <a:t>看護師</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525C5B88-833F-4918-837C-48E8BD833229}"/>
              </a:ext>
            </a:extLst>
          </p:cNvPr>
          <p:cNvSpPr>
            <a:spLocks noGrp="1"/>
          </p:cNvSpPr>
          <p:nvPr>
            <p:custDataLst>
              <p:tags r:id="rId57"/>
            </p:custDataLst>
          </p:nvPr>
        </p:nvSpPr>
        <p:spPr bwMode="auto">
          <a:xfrm>
            <a:off x="1150938" y="2778125"/>
            <a:ext cx="10715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606C78B-2F57-4710-AA42-7F5D074EB1D2}" type="datetime'''医''''''''''''師''''（''''歯''科''''''''''''''医を''''除く''）'''''">
              <a:rPr lang="ja-JP" altLang="en-US" sz="1000" smtClean="0">
                <a:effectLst/>
                <a:sym typeface="+mn-lt"/>
              </a:rPr>
              <a:pPr marL="0" indent="0">
                <a:spcBef>
                  <a:spcPct val="0"/>
                </a:spcBef>
                <a:buNone/>
              </a:pPr>
              <a:t>医師（歯科医を除く）</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E8078691-967F-4A23-B6C5-80E8D60D473A}"/>
              </a:ext>
            </a:extLst>
          </p:cNvPr>
          <p:cNvSpPr>
            <a:spLocks noGrp="1"/>
          </p:cNvSpPr>
          <p:nvPr>
            <p:custDataLst>
              <p:tags r:id="rId58"/>
            </p:custDataLst>
          </p:nvPr>
        </p:nvSpPr>
        <p:spPr bwMode="auto">
          <a:xfrm>
            <a:off x="1150938" y="2981325"/>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169548F-53C9-4CC6-8AD6-5E3901D2B696}" type="datetime'''''''''''''''''''''''''''''''''''薬''''''''剤''''''師'''''">
              <a:rPr lang="ja-JP" altLang="en-US" sz="1000" smtClean="0">
                <a:effectLst/>
                <a:sym typeface="+mn-lt"/>
              </a:rPr>
              <a:pPr marL="0" indent="0">
                <a:spcBef>
                  <a:spcPct val="0"/>
                </a:spcBef>
                <a:buNone/>
              </a:pPr>
              <a:t>薬剤師</a:t>
            </a:fld>
            <a:endParaRPr lang="ja-JP" altLang="en-US" sz="1000" dirty="0">
              <a:sym typeface="+mn-lt"/>
            </a:endParaRPr>
          </a:p>
        </p:txBody>
      </p:sp>
      <p:sp>
        <p:nvSpPr>
          <p:cNvPr id="128" name="テキスト プレースホルダ 9">
            <a:extLst>
              <a:ext uri="{FF2B5EF4-FFF2-40B4-BE49-F238E27FC236}">
                <a16:creationId xmlns:a16="http://schemas.microsoft.com/office/drawing/2014/main" id="{812BF134-6D35-41D8-B9D6-D4BEB0AB92D5}"/>
              </a:ext>
            </a:extLst>
          </p:cNvPr>
          <p:cNvSpPr>
            <a:spLocks noGrp="1"/>
          </p:cNvSpPr>
          <p:nvPr>
            <p:custDataLst>
              <p:tags r:id="rId59"/>
            </p:custDataLst>
          </p:nvPr>
        </p:nvSpPr>
        <p:spPr bwMode="auto">
          <a:xfrm>
            <a:off x="1150938" y="3184525"/>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CFFFF-B346-426C-917A-FA72C806BF00}" type="datetime'''''''''''''''''''''''''''歯''''''''''''科''''''''''医'''">
              <a:rPr lang="ja-JP" altLang="en-US" sz="1000" smtClean="0">
                <a:effectLst/>
                <a:sym typeface="+mn-lt"/>
              </a:rPr>
              <a:pPr marL="0" indent="0">
                <a:spcBef>
                  <a:spcPct val="0"/>
                </a:spcBef>
                <a:buNone/>
              </a:pPr>
              <a:t>歯科医</a:t>
            </a:fld>
            <a:endParaRPr lang="ja-JP" altLang="en-US" sz="1000" dirty="0">
              <a:sym typeface="+mn-lt"/>
            </a:endParaRPr>
          </a:p>
        </p:txBody>
      </p:sp>
      <p:sp>
        <p:nvSpPr>
          <p:cNvPr id="4" name="Rectangle 3" hidden="1">
            <a:extLst>
              <a:ext uri="{FF2B5EF4-FFF2-40B4-BE49-F238E27FC236}">
                <a16:creationId xmlns:a16="http://schemas.microsoft.com/office/drawing/2014/main" id="{B7D9C3AE-E50A-4B19-8A86-0FC79D0FED7B}"/>
              </a:ext>
            </a:extLst>
          </p:cNvPr>
          <p:cNvSpPr/>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ja-JP" altLang="en-US" sz="1000" dirty="0">
              <a:solidFill>
                <a:schemeClr val="tx1"/>
              </a:solidFill>
              <a:sym typeface="+mn-lt"/>
            </a:endParaRPr>
          </a:p>
        </p:txBody>
      </p:sp>
      <p:sp>
        <p:nvSpPr>
          <p:cNvPr id="49" name="Rectangle 48" hidden="1">
            <a:extLst>
              <a:ext uri="{FF2B5EF4-FFF2-40B4-BE49-F238E27FC236}">
                <a16:creationId xmlns:a16="http://schemas.microsoft.com/office/drawing/2014/main" id="{977D1362-09C5-43E6-A218-7F8E2AC50A0C}"/>
              </a:ext>
            </a:extLst>
          </p:cNvPr>
          <p:cNvSpPr/>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ja-JP" altLang="en-US" sz="1000" dirty="0">
              <a:solidFill>
                <a:schemeClr val="tx1"/>
              </a:solidFill>
              <a:sym typeface="+mn-lt"/>
            </a:endParaRPr>
          </a:p>
        </p:txBody>
      </p:sp>
    </p:spTree>
    <p:extLst>
      <p:ext uri="{BB962C8B-B14F-4D97-AF65-F5344CB8AC3E}">
        <p14:creationId xmlns:p14="http://schemas.microsoft.com/office/powerpoint/2010/main" val="24908643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2"/>
            </p:custDataLst>
            <p:extLst>
              <p:ext uri="{D42A27DB-BD31-4B8C-83A1-F6EECF244321}">
                <p14:modId xmlns:p14="http://schemas.microsoft.com/office/powerpoint/2010/main" val="3404711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ブラジル／医療関連／医療・公衆衛生</a:t>
            </a:r>
            <a:endParaRPr kumimoji="1" lang="ja-JP" altLang="en-US" dirty="0"/>
          </a:p>
        </p:txBody>
      </p:sp>
      <p:sp>
        <p:nvSpPr>
          <p:cNvPr id="5" name="テキスト ボックス 45">
            <a:extLst>
              <a:ext uri="{FF2B5EF4-FFF2-40B4-BE49-F238E27FC236}">
                <a16:creationId xmlns:a16="http://schemas.microsoft.com/office/drawing/2014/main" id="{581225DB-61B2-4DBE-9347-8410A00BD5D8}"/>
              </a:ext>
            </a:extLst>
          </p:cNvPr>
          <p:cNvSpPr txBox="1"/>
          <p:nvPr/>
        </p:nvSpPr>
        <p:spPr>
          <a:xfrm>
            <a:off x="272480" y="1110518"/>
            <a:ext cx="9227691"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では、理学療法士や作業療法士などの資格制度が存在しているが、職種別の登録状況の詳細は不明。</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世界理学療法連盟</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把握している人数は以下の通り。</a:t>
            </a:r>
          </a:p>
        </p:txBody>
      </p:sp>
      <p:sp>
        <p:nvSpPr>
          <p:cNvPr id="9" name="テキスト ボックス 45">
            <a:extLst>
              <a:ext uri="{FF2B5EF4-FFF2-40B4-BE49-F238E27FC236}">
                <a16:creationId xmlns:a16="http://schemas.microsoft.com/office/drawing/2014/main" id="{7647EEFB-136F-434D-B5C6-D878AF6A0A7B}"/>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a:t>
            </a:r>
            <a:r>
              <a:rPr kumimoji="0" lang="zh-TW" altLang="en-US" sz="800" dirty="0" bmk=""/>
              <a:t>世界理学療法連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a:extLst>
              <a:ext uri="{FF2B5EF4-FFF2-40B4-BE49-F238E27FC236}">
                <a16:creationId xmlns:a16="http://schemas.microsoft.com/office/drawing/2014/main" id="{45D75E6C-5271-4653-90AA-1F2002C51123}"/>
              </a:ext>
            </a:extLst>
          </p:cNvPr>
          <p:cNvGrpSpPr/>
          <p:nvPr/>
        </p:nvGrpSpPr>
        <p:grpSpPr>
          <a:xfrm>
            <a:off x="1388602" y="2163524"/>
            <a:ext cx="4536507" cy="288032"/>
            <a:chOff x="4803500" y="2113806"/>
            <a:chExt cx="2954133" cy="288032"/>
          </a:xfrm>
        </p:grpSpPr>
        <p:cxnSp>
          <p:nvCxnSpPr>
            <p:cNvPr id="11" name="直線コネクタ 40">
              <a:extLst>
                <a:ext uri="{FF2B5EF4-FFF2-40B4-BE49-F238E27FC236}">
                  <a16:creationId xmlns:a16="http://schemas.microsoft.com/office/drawing/2014/main" id="{853F5027-472C-45A7-962C-65F1B2B70C72}"/>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A162C94C-C156-4A07-9CF4-127B4E70D419}"/>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3" name="テキスト ボックス 45">
            <a:extLst>
              <a:ext uri="{FF2B5EF4-FFF2-40B4-BE49-F238E27FC236}">
                <a16:creationId xmlns:a16="http://schemas.microsoft.com/office/drawing/2014/main" id="{D6E273C7-FF60-4ED7-90F8-B99C9AB104D4}"/>
              </a:ext>
            </a:extLst>
          </p:cNvPr>
          <p:cNvSpPr txBox="1"/>
          <p:nvPr/>
        </p:nvSpPr>
        <p:spPr>
          <a:xfrm>
            <a:off x="1632081" y="3898275"/>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4" name="テキスト ボックス 45">
            <a:extLst>
              <a:ext uri="{FF2B5EF4-FFF2-40B4-BE49-F238E27FC236}">
                <a16:creationId xmlns:a16="http://schemas.microsoft.com/office/drawing/2014/main" id="{4484B08D-212D-40B3-850C-A42A757EABDC}"/>
              </a:ext>
            </a:extLst>
          </p:cNvPr>
          <p:cNvSpPr txBox="1"/>
          <p:nvPr/>
        </p:nvSpPr>
        <p:spPr>
          <a:xfrm>
            <a:off x="4702485" y="389827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45">
            <a:extLst>
              <a:ext uri="{FF2B5EF4-FFF2-40B4-BE49-F238E27FC236}">
                <a16:creationId xmlns:a16="http://schemas.microsoft.com/office/drawing/2014/main" id="{20CAC536-3983-4E60-94E7-E7794C535454}"/>
              </a:ext>
            </a:extLst>
          </p:cNvPr>
          <p:cNvSpPr txBox="1"/>
          <p:nvPr/>
        </p:nvSpPr>
        <p:spPr>
          <a:xfrm>
            <a:off x="1615864" y="3009353"/>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6" name="テキスト ボックス 45">
            <a:extLst>
              <a:ext uri="{FF2B5EF4-FFF2-40B4-BE49-F238E27FC236}">
                <a16:creationId xmlns:a16="http://schemas.microsoft.com/office/drawing/2014/main" id="{2FD1C035-DFEA-44E3-934C-FEB12DA61253}"/>
              </a:ext>
            </a:extLst>
          </p:cNvPr>
          <p:cNvSpPr txBox="1"/>
          <p:nvPr/>
        </p:nvSpPr>
        <p:spPr>
          <a:xfrm>
            <a:off x="4687431" y="3024888"/>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45">
            <a:extLst>
              <a:ext uri="{FF2B5EF4-FFF2-40B4-BE49-F238E27FC236}">
                <a16:creationId xmlns:a16="http://schemas.microsoft.com/office/drawing/2014/main" id="{A9FC155C-4E17-4951-AEDB-DA1F8CEC9AC3}"/>
              </a:ext>
            </a:extLst>
          </p:cNvPr>
          <p:cNvSpPr txBox="1"/>
          <p:nvPr/>
        </p:nvSpPr>
        <p:spPr>
          <a:xfrm>
            <a:off x="1630918" y="3435840"/>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8" name="テキスト ボックス 45">
            <a:extLst>
              <a:ext uri="{FF2B5EF4-FFF2-40B4-BE49-F238E27FC236}">
                <a16:creationId xmlns:a16="http://schemas.microsoft.com/office/drawing/2014/main" id="{02B42000-BCD7-45B8-9393-1980AD2A9F49}"/>
              </a:ext>
            </a:extLst>
          </p:cNvPr>
          <p:cNvSpPr txBox="1"/>
          <p:nvPr/>
        </p:nvSpPr>
        <p:spPr>
          <a:xfrm>
            <a:off x="4702485" y="3435840"/>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45">
            <a:extLst>
              <a:ext uri="{FF2B5EF4-FFF2-40B4-BE49-F238E27FC236}">
                <a16:creationId xmlns:a16="http://schemas.microsoft.com/office/drawing/2014/main" id="{6542B6CE-38B2-4289-8CDD-8EF11468D639}"/>
              </a:ext>
            </a:extLst>
          </p:cNvPr>
          <p:cNvSpPr txBox="1"/>
          <p:nvPr/>
        </p:nvSpPr>
        <p:spPr>
          <a:xfrm>
            <a:off x="1630918" y="4450169"/>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20" name="テキスト ボックス 45">
            <a:extLst>
              <a:ext uri="{FF2B5EF4-FFF2-40B4-BE49-F238E27FC236}">
                <a16:creationId xmlns:a16="http://schemas.microsoft.com/office/drawing/2014/main" id="{1DCDEAC1-B6CF-4532-A849-14921CB7ED90}"/>
              </a:ext>
            </a:extLst>
          </p:cNvPr>
          <p:cNvSpPr txBox="1"/>
          <p:nvPr/>
        </p:nvSpPr>
        <p:spPr>
          <a:xfrm>
            <a:off x="4691260" y="4450169"/>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45">
            <a:extLst>
              <a:ext uri="{FF2B5EF4-FFF2-40B4-BE49-F238E27FC236}">
                <a16:creationId xmlns:a16="http://schemas.microsoft.com/office/drawing/2014/main" id="{4BD9C2E5-640E-4D44-B636-DAF9DF0428A2}"/>
              </a:ext>
            </a:extLst>
          </p:cNvPr>
          <p:cNvSpPr txBox="1"/>
          <p:nvPr/>
        </p:nvSpPr>
        <p:spPr>
          <a:xfrm>
            <a:off x="6311440" y="3902646"/>
            <a:ext cx="87531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43,74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2" name="テキスト ボックス 45">
            <a:extLst>
              <a:ext uri="{FF2B5EF4-FFF2-40B4-BE49-F238E27FC236}">
                <a16:creationId xmlns:a16="http://schemas.microsoft.com/office/drawing/2014/main" id="{8DF8469E-2ED1-45A7-88BD-E36564CFDCB0}"/>
              </a:ext>
            </a:extLst>
          </p:cNvPr>
          <p:cNvSpPr txBox="1"/>
          <p:nvPr/>
        </p:nvSpPr>
        <p:spPr>
          <a:xfrm>
            <a:off x="6235601" y="3028185"/>
            <a:ext cx="875319"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9,99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800E809D-B8EA-4611-BE74-CBA08E68CFE2}"/>
              </a:ext>
            </a:extLst>
          </p:cNvPr>
          <p:cNvSpPr txBox="1"/>
          <p:nvPr/>
        </p:nvSpPr>
        <p:spPr>
          <a:xfrm>
            <a:off x="6203427" y="3440211"/>
            <a:ext cx="839315"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1,96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27D81A05-BEB4-4566-92D9-18B3899F695D}"/>
              </a:ext>
            </a:extLst>
          </p:cNvPr>
          <p:cNvSpPr txBox="1"/>
          <p:nvPr/>
        </p:nvSpPr>
        <p:spPr>
          <a:xfrm>
            <a:off x="6462623" y="443196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Tree>
    <p:extLst>
      <p:ext uri="{BB962C8B-B14F-4D97-AF65-F5344CB8AC3E}">
        <p14:creationId xmlns:p14="http://schemas.microsoft.com/office/powerpoint/2010/main" val="21267895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D39DDB8-D55B-437F-B173-505759EFC703}"/>
              </a:ext>
            </a:extLst>
          </p:cNvPr>
          <p:cNvGraphicFramePr>
            <a:graphicFrameLocks noChangeAspect="1"/>
          </p:cNvGraphicFramePr>
          <p:nvPr>
            <p:custDataLst>
              <p:tags r:id="rId2"/>
            </p:custDataLst>
            <p:extLst>
              <p:ext uri="{D42A27DB-BD31-4B8C-83A1-F6EECF244321}">
                <p14:modId xmlns:p14="http://schemas.microsoft.com/office/powerpoint/2010/main" val="73396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11" imgW="395" imgH="396" progId="TCLayout.ActiveDocument.1">
                  <p:embed/>
                </p:oleObj>
              </mc:Choice>
              <mc:Fallback>
                <p:oleObj name="think-cell Slide" r:id="rId11" imgW="395" imgH="396" progId="TCLayout.ActiveDocument.1">
                  <p:embed/>
                  <p:pic>
                    <p:nvPicPr>
                      <p:cNvPr id="16" name="Object 15" hidden="1">
                        <a:extLst>
                          <a:ext uri="{FF2B5EF4-FFF2-40B4-BE49-F238E27FC236}">
                            <a16:creationId xmlns:a16="http://schemas.microsoft.com/office/drawing/2014/main" id="{1D39DDB8-D55B-437F-B173-505759EFC70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04" name="フリーフォーム 13">
            <a:extLst>
              <a:ext uri="{FF2B5EF4-FFF2-40B4-BE49-F238E27FC236}">
                <a16:creationId xmlns:a16="http://schemas.microsoft.com/office/drawing/2014/main" id="{7A6DF24C-B327-41EE-804D-BC26F492D0B7}"/>
              </a:ext>
            </a:extLst>
          </p:cNvPr>
          <p:cNvSpPr/>
          <p:nvPr/>
        </p:nvSpPr>
        <p:spPr>
          <a:xfrm>
            <a:off x="6969224" y="4137425"/>
            <a:ext cx="1785430" cy="1031423"/>
          </a:xfrm>
          <a:custGeom>
            <a:avLst/>
            <a:gdLst>
              <a:gd name="connsiteX0" fmla="*/ 442912 w 1545431"/>
              <a:gd name="connsiteY0" fmla="*/ 0 h 378619"/>
              <a:gd name="connsiteX1" fmla="*/ 1545431 w 1545431"/>
              <a:gd name="connsiteY1" fmla="*/ 0 h 378619"/>
              <a:gd name="connsiteX2" fmla="*/ 0 w 1545431"/>
              <a:gd name="connsiteY2" fmla="*/ 378619 h 378619"/>
              <a:gd name="connsiteX3" fmla="*/ 442912 w 1545431"/>
              <a:gd name="connsiteY3" fmla="*/ 0 h 378619"/>
              <a:gd name="connsiteX0" fmla="*/ 442912 w 1522570"/>
              <a:gd name="connsiteY0" fmla="*/ 0 h 378619"/>
              <a:gd name="connsiteX1" fmla="*/ 1522570 w 1522570"/>
              <a:gd name="connsiteY1" fmla="*/ 15779 h 378619"/>
              <a:gd name="connsiteX2" fmla="*/ 0 w 1522570"/>
              <a:gd name="connsiteY2" fmla="*/ 378619 h 378619"/>
              <a:gd name="connsiteX3" fmla="*/ 442912 w 1522570"/>
              <a:gd name="connsiteY3" fmla="*/ 0 h 378619"/>
              <a:gd name="connsiteX0" fmla="*/ 394902 w 1522570"/>
              <a:gd name="connsiteY0" fmla="*/ 0 h 398906"/>
              <a:gd name="connsiteX1" fmla="*/ 1522570 w 1522570"/>
              <a:gd name="connsiteY1" fmla="*/ 36066 h 398906"/>
              <a:gd name="connsiteX2" fmla="*/ 0 w 1522570"/>
              <a:gd name="connsiteY2" fmla="*/ 398906 h 398906"/>
              <a:gd name="connsiteX3" fmla="*/ 394902 w 1522570"/>
              <a:gd name="connsiteY3" fmla="*/ 0 h 398906"/>
              <a:gd name="connsiteX0" fmla="*/ 394902 w 1522570"/>
              <a:gd name="connsiteY0" fmla="*/ 0 h 398906"/>
              <a:gd name="connsiteX1" fmla="*/ 1522570 w 1522570"/>
              <a:gd name="connsiteY1" fmla="*/ 36066 h 398906"/>
              <a:gd name="connsiteX2" fmla="*/ 0 w 1522570"/>
              <a:gd name="connsiteY2" fmla="*/ 398906 h 398906"/>
              <a:gd name="connsiteX3" fmla="*/ 97851 w 1522570"/>
              <a:gd name="connsiteY3" fmla="*/ 302050 h 398906"/>
              <a:gd name="connsiteX4" fmla="*/ 394902 w 1522570"/>
              <a:gd name="connsiteY4" fmla="*/ 0 h 398906"/>
              <a:gd name="connsiteX0" fmla="*/ 1117776 w 2245444"/>
              <a:gd name="connsiteY0" fmla="*/ 0 h 403484"/>
              <a:gd name="connsiteX1" fmla="*/ 2245444 w 2245444"/>
              <a:gd name="connsiteY1" fmla="*/ 36066 h 403484"/>
              <a:gd name="connsiteX2" fmla="*/ 722874 w 2245444"/>
              <a:gd name="connsiteY2" fmla="*/ 398906 h 403484"/>
              <a:gd name="connsiteX3" fmla="*/ 0 w 2245444"/>
              <a:gd name="connsiteY3" fmla="*/ 403484 h 403484"/>
              <a:gd name="connsiteX4" fmla="*/ 1117776 w 2245444"/>
              <a:gd name="connsiteY4" fmla="*/ 0 h 403484"/>
              <a:gd name="connsiteX0" fmla="*/ 1117776 w 2245444"/>
              <a:gd name="connsiteY0" fmla="*/ 0 h 405668"/>
              <a:gd name="connsiteX1" fmla="*/ 2245444 w 2245444"/>
              <a:gd name="connsiteY1" fmla="*/ 36066 h 405668"/>
              <a:gd name="connsiteX2" fmla="*/ 729732 w 2245444"/>
              <a:gd name="connsiteY2" fmla="*/ 405668 h 405668"/>
              <a:gd name="connsiteX3" fmla="*/ 0 w 2245444"/>
              <a:gd name="connsiteY3" fmla="*/ 403484 h 405668"/>
              <a:gd name="connsiteX4" fmla="*/ 1117776 w 2245444"/>
              <a:gd name="connsiteY4" fmla="*/ 0 h 405668"/>
              <a:gd name="connsiteX0" fmla="*/ 1126920 w 2245444"/>
              <a:gd name="connsiteY0" fmla="*/ 0 h 806898"/>
              <a:gd name="connsiteX1" fmla="*/ 2245444 w 2245444"/>
              <a:gd name="connsiteY1" fmla="*/ 437296 h 806898"/>
              <a:gd name="connsiteX2" fmla="*/ 729732 w 2245444"/>
              <a:gd name="connsiteY2" fmla="*/ 806898 h 806898"/>
              <a:gd name="connsiteX3" fmla="*/ 0 w 2245444"/>
              <a:gd name="connsiteY3" fmla="*/ 804714 h 806898"/>
              <a:gd name="connsiteX4" fmla="*/ 1126920 w 2245444"/>
              <a:gd name="connsiteY4" fmla="*/ 0 h 80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5444" h="806898">
                <a:moveTo>
                  <a:pt x="1126920" y="0"/>
                </a:moveTo>
                <a:lnTo>
                  <a:pt x="2245444" y="437296"/>
                </a:lnTo>
                <a:lnTo>
                  <a:pt x="729732" y="806898"/>
                </a:lnTo>
                <a:lnTo>
                  <a:pt x="0" y="804714"/>
                </a:lnTo>
                <a:lnTo>
                  <a:pt x="1126920" y="0"/>
                </a:lnTo>
                <a:close/>
              </a:path>
            </a:pathLst>
          </a:custGeom>
          <a:gradFill flip="none" rotWithShape="1">
            <a:gsLst>
              <a:gs pos="0">
                <a:srgbClr val="FEDACA"/>
              </a:gs>
              <a:gs pos="100000">
                <a:srgbClr val="FFFFFF"/>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3" name="角丸四角形 59">
            <a:extLst>
              <a:ext uri="{FF2B5EF4-FFF2-40B4-BE49-F238E27FC236}">
                <a16:creationId xmlns:a16="http://schemas.microsoft.com/office/drawing/2014/main" id="{1C4ECA42-5877-4D90-9F99-2178E14C2C63}"/>
              </a:ext>
            </a:extLst>
          </p:cNvPr>
          <p:cNvSpPr/>
          <p:nvPr/>
        </p:nvSpPr>
        <p:spPr>
          <a:xfrm>
            <a:off x="7548999" y="4175765"/>
            <a:ext cx="1214741" cy="494461"/>
          </a:xfrm>
          <a:prstGeom prst="roundRect">
            <a:avLst>
              <a:gd name="adj" fmla="val 10431"/>
            </a:avLst>
          </a:prstGeom>
          <a:solidFill>
            <a:srgbClr val="FCAE91"/>
          </a:solidFill>
        </p:spPr>
        <p:txBody>
          <a:bodyPr wrap="square" lIns="0" tIns="36000" rIns="0" bIns="36000" anchor="ctr" anchorCtr="0">
            <a:noAutofit/>
          </a:bodyPr>
          <a:lstStyle/>
          <a:p>
            <a:pPr algn="ctr"/>
            <a:r>
              <a:rPr lang="ja-JP" altLang="en-US" dirty="0">
                <a:solidFill>
                  <a:srgbClr val="000000"/>
                </a:solidFill>
                <a:latin typeface="Arial Black" pitchFamily="34" charset="0"/>
                <a:ea typeface="HGP創英角ｺﾞｼｯｸUB" pitchFamily="50" charset="-128"/>
              </a:rPr>
              <a:t>世界</a:t>
            </a:r>
            <a:r>
              <a:rPr lang="en-US" altLang="ja-JP" sz="2400" dirty="0">
                <a:solidFill>
                  <a:srgbClr val="000000"/>
                </a:solidFill>
                <a:latin typeface="Arial Black" pitchFamily="34" charset="0"/>
                <a:ea typeface="HGP創英角ｺﾞｼｯｸUB" pitchFamily="50" charset="-128"/>
              </a:rPr>
              <a:t>3</a:t>
            </a:r>
            <a:r>
              <a:rPr lang="ja-JP" altLang="en-US" dirty="0">
                <a:solidFill>
                  <a:srgbClr val="000000"/>
                </a:solidFill>
                <a:latin typeface="Arial Black" pitchFamily="34" charset="0"/>
                <a:ea typeface="HGP創英角ｺﾞｼｯｸUB" pitchFamily="50" charset="-128"/>
              </a:rPr>
              <a:t>位</a:t>
            </a:r>
            <a:endParaRPr lang="ja-JP" altLang="en-US" sz="2400" b="1" dirty="0">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9" name="円/楕円 48"/>
          <p:cNvSpPr/>
          <p:nvPr/>
        </p:nvSpPr>
        <p:spPr>
          <a:xfrm>
            <a:off x="301600" y="5517232"/>
            <a:ext cx="2232248" cy="792088"/>
          </a:xfrm>
          <a:prstGeom prst="ellipse">
            <a:avLst/>
          </a:prstGeom>
          <a:gradFill flip="none" rotWithShape="1">
            <a:gsLst>
              <a:gs pos="0">
                <a:srgbClr val="FB8265"/>
              </a:gs>
              <a:gs pos="100000">
                <a:schemeClr val="bg1"/>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nSpc>
                <a:spcPct val="113000"/>
              </a:lnSpc>
            </a:pPr>
            <a:r>
              <a:rPr lang="ja-JP" altLang="en-US" sz="1000" dirty="0">
                <a:solidFill>
                  <a:schemeClr val="tx1"/>
                </a:solidFill>
              </a:rPr>
              <a:t>民間の著名な医療機関は、欧米の医療機関に劣らないほど</a:t>
            </a:r>
            <a:r>
              <a:rPr lang="ja-JP" altLang="en-US" sz="1000" dirty="0">
                <a:solidFill>
                  <a:schemeClr val="tx1"/>
                </a:solidFill>
                <a:latin typeface="Arial Black" pitchFamily="34" charset="0"/>
                <a:ea typeface="HGP創英角ｺﾞｼｯｸUB" pitchFamily="50" charset="-128"/>
              </a:rPr>
              <a:t>医療水準は高い。</a:t>
            </a:r>
            <a:endParaRPr lang="en-US" altLang="ja-JP" sz="1000" dirty="0">
              <a:solidFill>
                <a:schemeClr val="tx1"/>
              </a:solidFill>
              <a:latin typeface="Arial Black" pitchFamily="34" charset="0"/>
              <a:ea typeface="HGP創英角ｺﾞｼｯｸUB" pitchFamily="50" charset="-128"/>
            </a:endParaRPr>
          </a:p>
        </p:txBody>
      </p:sp>
      <p:sp>
        <p:nvSpPr>
          <p:cNvPr id="52" name="正方形/長方形 51"/>
          <p:cNvSpPr/>
          <p:nvPr/>
        </p:nvSpPr>
        <p:spPr>
          <a:xfrm>
            <a:off x="829064" y="4928464"/>
            <a:ext cx="1163987" cy="276999"/>
          </a:xfrm>
          <a:prstGeom prst="rect">
            <a:avLst/>
          </a:prstGeom>
        </p:spPr>
        <p:txBody>
          <a:bodyPr wrap="square">
            <a:spAutoFit/>
          </a:bodyPr>
          <a:lstStyle/>
          <a:p>
            <a:pPr algn="ctr"/>
            <a:r>
              <a:rPr lang="zh-TW" altLang="en-US" sz="1200" dirty="0">
                <a:latin typeface="HGP創英角ｺﾞｼｯｸUB" panose="020B0900000000000000" pitchFamily="50" charset="-128"/>
                <a:ea typeface="HGP創英角ｺﾞｼｯｸUB" panose="020B0900000000000000" pitchFamily="50" charset="-128"/>
              </a:rPr>
              <a:t>民間医療機関</a:t>
            </a:r>
            <a:endParaRPr lang="ja-JP" altLang="en-US" sz="1200" dirty="0">
              <a:latin typeface="HGP創英角ｺﾞｼｯｸUB" panose="020B0900000000000000" pitchFamily="50" charset="-128"/>
              <a:ea typeface="HGP創英角ｺﾞｼｯｸUB" panose="020B0900000000000000" pitchFamily="50" charset="-128"/>
            </a:endParaRPr>
          </a:p>
        </p:txBody>
      </p:sp>
      <p:sp>
        <p:nvSpPr>
          <p:cNvPr id="118" name="上矢印 117"/>
          <p:cNvSpPr/>
          <p:nvPr/>
        </p:nvSpPr>
        <p:spPr>
          <a:xfrm flipV="1">
            <a:off x="3417200" y="3460291"/>
            <a:ext cx="216024" cy="533166"/>
          </a:xfrm>
          <a:prstGeom prst="upArrow">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上矢印 57"/>
          <p:cNvSpPr/>
          <p:nvPr/>
        </p:nvSpPr>
        <p:spPr>
          <a:xfrm flipV="1">
            <a:off x="1308359" y="3463186"/>
            <a:ext cx="216024" cy="566385"/>
          </a:xfrm>
          <a:prstGeom prst="upArrow">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0" name="グループ化 69"/>
          <p:cNvGrpSpPr/>
          <p:nvPr/>
        </p:nvGrpSpPr>
        <p:grpSpPr>
          <a:xfrm>
            <a:off x="627533" y="4069454"/>
            <a:ext cx="1564132" cy="864095"/>
            <a:chOff x="5313040" y="1437455"/>
            <a:chExt cx="1512168" cy="835392"/>
          </a:xfrm>
        </p:grpSpPr>
        <p:sp>
          <p:nvSpPr>
            <p:cNvPr id="71" name="フリーフォーム 70"/>
            <p:cNvSpPr/>
            <p:nvPr/>
          </p:nvSpPr>
          <p:spPr>
            <a:xfrm>
              <a:off x="5313040" y="1437455"/>
              <a:ext cx="1512168" cy="835392"/>
            </a:xfrm>
            <a:custGeom>
              <a:avLst/>
              <a:gdLst>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7620 w 1341120"/>
                <a:gd name="connsiteY8" fmla="*/ 922020 h 967740"/>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30019 w 1341120"/>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1521 w 1311101"/>
                <a:gd name="connsiteY6" fmla="*/ 228600 h 967740"/>
                <a:gd name="connsiteX7" fmla="*/ 0 w 1311101"/>
                <a:gd name="connsiteY7" fmla="*/ 245140 h 967740"/>
                <a:gd name="connsiteX8" fmla="*/ 0 w 1311101"/>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4096 w 1311101"/>
                <a:gd name="connsiteY6" fmla="*/ 245140 h 967740"/>
                <a:gd name="connsiteX7" fmla="*/ 0 w 1311101"/>
                <a:gd name="connsiteY7" fmla="*/ 245140 h 967740"/>
                <a:gd name="connsiteX8" fmla="*/ 0 w 1311101"/>
                <a:gd name="connsiteY8" fmla="*/ 965220 h 967740"/>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73941 w 1311101"/>
                <a:gd name="connsiteY4" fmla="*/ 42892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296144 w 1311101"/>
                <a:gd name="connsiteY2" fmla="*/ 28803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152128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224136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864096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792088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88668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224136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914186 h 914186"/>
                <a:gd name="connsiteX1" fmla="*/ 1296144 w 1296144"/>
                <a:gd name="connsiteY1" fmla="*/ 911666 h 914186"/>
                <a:gd name="connsiteX2" fmla="*/ 1296144 w 1296144"/>
                <a:gd name="connsiteY2" fmla="*/ 184504 h 914186"/>
                <a:gd name="connsiteX3" fmla="*/ 1224136 w 1296144"/>
                <a:gd name="connsiteY3" fmla="*/ 184504 h 914186"/>
                <a:gd name="connsiteX4" fmla="*/ 1224136 w 1296144"/>
                <a:gd name="connsiteY4" fmla="*/ 638 h 914186"/>
                <a:gd name="connsiteX5" fmla="*/ 864096 w 1296144"/>
                <a:gd name="connsiteY5" fmla="*/ 638 h 914186"/>
                <a:gd name="connsiteX6" fmla="*/ 864096 w 1296144"/>
                <a:gd name="connsiteY6" fmla="*/ 184504 h 914186"/>
                <a:gd name="connsiteX7" fmla="*/ 0 w 1296144"/>
                <a:gd name="connsiteY7" fmla="*/ 184504 h 914186"/>
                <a:gd name="connsiteX8" fmla="*/ 0 w 1296144"/>
                <a:gd name="connsiteY8" fmla="*/ 911666 h 914186"/>
                <a:gd name="connsiteX0" fmla="*/ 8081 w 1296144"/>
                <a:gd name="connsiteY0" fmla="*/ 914185 h 914185"/>
                <a:gd name="connsiteX1" fmla="*/ 1296144 w 1296144"/>
                <a:gd name="connsiteY1" fmla="*/ 911665 h 914185"/>
                <a:gd name="connsiteX2" fmla="*/ 1296144 w 1296144"/>
                <a:gd name="connsiteY2" fmla="*/ 184503 h 914185"/>
                <a:gd name="connsiteX3" fmla="*/ 1224136 w 1296144"/>
                <a:gd name="connsiteY3" fmla="*/ 184503 h 914185"/>
                <a:gd name="connsiteX4" fmla="*/ 1224136 w 1296144"/>
                <a:gd name="connsiteY4" fmla="*/ 637 h 914185"/>
                <a:gd name="connsiteX5" fmla="*/ 864096 w 1296144"/>
                <a:gd name="connsiteY5" fmla="*/ 637 h 914185"/>
                <a:gd name="connsiteX6" fmla="*/ 936104 w 1296144"/>
                <a:gd name="connsiteY6" fmla="*/ 184503 h 914185"/>
                <a:gd name="connsiteX7" fmla="*/ 0 w 1296144"/>
                <a:gd name="connsiteY7" fmla="*/ 184503 h 914185"/>
                <a:gd name="connsiteX8" fmla="*/ 0 w 1296144"/>
                <a:gd name="connsiteY8" fmla="*/ 911665 h 914185"/>
                <a:gd name="connsiteX0" fmla="*/ 8081 w 1296144"/>
                <a:gd name="connsiteY0" fmla="*/ 914188 h 914188"/>
                <a:gd name="connsiteX1" fmla="*/ 1296144 w 1296144"/>
                <a:gd name="connsiteY1" fmla="*/ 911668 h 914188"/>
                <a:gd name="connsiteX2" fmla="*/ 1296144 w 1296144"/>
                <a:gd name="connsiteY2" fmla="*/ 184506 h 914188"/>
                <a:gd name="connsiteX3" fmla="*/ 1224136 w 1296144"/>
                <a:gd name="connsiteY3" fmla="*/ 184506 h 914188"/>
                <a:gd name="connsiteX4" fmla="*/ 1224136 w 1296144"/>
                <a:gd name="connsiteY4" fmla="*/ 640 h 914188"/>
                <a:gd name="connsiteX5" fmla="*/ 936104 w 1296144"/>
                <a:gd name="connsiteY5" fmla="*/ 638 h 914188"/>
                <a:gd name="connsiteX6" fmla="*/ 936104 w 1296144"/>
                <a:gd name="connsiteY6" fmla="*/ 184506 h 914188"/>
                <a:gd name="connsiteX7" fmla="*/ 0 w 1296144"/>
                <a:gd name="connsiteY7" fmla="*/ 184506 h 914188"/>
                <a:gd name="connsiteX8" fmla="*/ 0 w 1296144"/>
                <a:gd name="connsiteY8" fmla="*/ 911668 h 91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6144" h="914188">
                  <a:moveTo>
                    <a:pt x="8081" y="914188"/>
                  </a:moveTo>
                  <a:lnTo>
                    <a:pt x="1296144" y="911668"/>
                  </a:lnTo>
                  <a:lnTo>
                    <a:pt x="1296144" y="184506"/>
                  </a:lnTo>
                  <a:lnTo>
                    <a:pt x="1224136" y="184506"/>
                  </a:lnTo>
                  <a:lnTo>
                    <a:pt x="1224136" y="640"/>
                  </a:lnTo>
                  <a:lnTo>
                    <a:pt x="936104" y="638"/>
                  </a:lnTo>
                  <a:cubicBezTo>
                    <a:pt x="936005" y="1"/>
                    <a:pt x="936104" y="88495"/>
                    <a:pt x="936104" y="184506"/>
                  </a:cubicBezTo>
                  <a:lnTo>
                    <a:pt x="0" y="184506"/>
                  </a:lnTo>
                  <a:lnTo>
                    <a:pt x="0" y="911668"/>
                  </a:lnTo>
                </a:path>
              </a:pathLst>
            </a:custGeom>
            <a:solidFill>
              <a:srgbClr val="A2BBD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latin typeface="ＭＳ Ｐゴシック" pitchFamily="50" charset="-128"/>
                <a:ea typeface="ＭＳ Ｐゴシック" pitchFamily="50" charset="-128"/>
              </a:endParaRPr>
            </a:p>
          </p:txBody>
        </p:sp>
        <p:sp>
          <p:nvSpPr>
            <p:cNvPr id="72" name="正方形/長方形 71"/>
            <p:cNvSpPr/>
            <p:nvPr/>
          </p:nvSpPr>
          <p:spPr>
            <a:xfrm>
              <a:off x="5345913" y="1700814"/>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5345913" y="1837556"/>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正方形/長方形 73"/>
            <p:cNvSpPr/>
            <p:nvPr/>
          </p:nvSpPr>
          <p:spPr>
            <a:xfrm>
              <a:off x="5345913" y="1974297"/>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正方形/長方形 74"/>
            <p:cNvSpPr/>
            <p:nvPr/>
          </p:nvSpPr>
          <p:spPr>
            <a:xfrm>
              <a:off x="5345913" y="2111037"/>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Freeform 2692"/>
            <p:cNvSpPr>
              <a:spLocks noChangeAspect="1"/>
            </p:cNvSpPr>
            <p:nvPr/>
          </p:nvSpPr>
          <p:spPr bwMode="auto">
            <a:xfrm>
              <a:off x="6485759" y="1481216"/>
              <a:ext cx="178566" cy="175541"/>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104" name="グループ化 103"/>
          <p:cNvGrpSpPr/>
          <p:nvPr/>
        </p:nvGrpSpPr>
        <p:grpSpPr>
          <a:xfrm>
            <a:off x="2898942" y="4014991"/>
            <a:ext cx="1263016" cy="918558"/>
            <a:chOff x="4232920" y="1124744"/>
            <a:chExt cx="1584176" cy="1152128"/>
          </a:xfrm>
        </p:grpSpPr>
        <p:sp>
          <p:nvSpPr>
            <p:cNvPr id="105"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A2BBD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106" name="正方形/長方形 105"/>
            <p:cNvSpPr/>
            <p:nvPr/>
          </p:nvSpPr>
          <p:spPr>
            <a:xfrm>
              <a:off x="4304928"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7" name="正方形/長方形 106"/>
            <p:cNvSpPr/>
            <p:nvPr/>
          </p:nvSpPr>
          <p:spPr>
            <a:xfrm>
              <a:off x="4304928"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正方形/長方形 107"/>
            <p:cNvSpPr/>
            <p:nvPr/>
          </p:nvSpPr>
          <p:spPr>
            <a:xfrm>
              <a:off x="4304928"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正方形/長方形 108"/>
            <p:cNvSpPr/>
            <p:nvPr/>
          </p:nvSpPr>
          <p:spPr>
            <a:xfrm>
              <a:off x="4304928"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正方形/長方形 109"/>
            <p:cNvSpPr/>
            <p:nvPr/>
          </p:nvSpPr>
          <p:spPr>
            <a:xfrm>
              <a:off x="4304928"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正方形/長方形 110"/>
            <p:cNvSpPr/>
            <p:nvPr/>
          </p:nvSpPr>
          <p:spPr>
            <a:xfrm>
              <a:off x="5241032"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2" name="正方形/長方形 111"/>
            <p:cNvSpPr/>
            <p:nvPr/>
          </p:nvSpPr>
          <p:spPr>
            <a:xfrm>
              <a:off x="5241032"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3" name="正方形/長方形 112"/>
            <p:cNvSpPr/>
            <p:nvPr/>
          </p:nvSpPr>
          <p:spPr>
            <a:xfrm>
              <a:off x="5241032"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正方形/長方形 113"/>
            <p:cNvSpPr/>
            <p:nvPr/>
          </p:nvSpPr>
          <p:spPr>
            <a:xfrm>
              <a:off x="5241032"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5" name="正方形/長方形 114"/>
            <p:cNvSpPr/>
            <p:nvPr/>
          </p:nvSpPr>
          <p:spPr>
            <a:xfrm>
              <a:off x="5241032"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117" name="正方形/長方形 116"/>
          <p:cNvSpPr/>
          <p:nvPr/>
        </p:nvSpPr>
        <p:spPr>
          <a:xfrm>
            <a:off x="2856148" y="4928464"/>
            <a:ext cx="1296144" cy="276999"/>
          </a:xfrm>
          <a:prstGeom prst="rect">
            <a:avLst/>
          </a:prstGeom>
        </p:spPr>
        <p:txBody>
          <a:bodyPr wrap="square">
            <a:spAutoFit/>
          </a:bodyPr>
          <a:lstStyle/>
          <a:p>
            <a:pPr algn="ctr"/>
            <a:r>
              <a:rPr lang="zh-TW" altLang="en-US" sz="1200" dirty="0">
                <a:latin typeface="HGP創英角ｺﾞｼｯｸUB" panose="020B0900000000000000" pitchFamily="50" charset="-128"/>
                <a:ea typeface="HGP創英角ｺﾞｼｯｸUB" panose="020B0900000000000000" pitchFamily="50" charset="-128"/>
              </a:rPr>
              <a:t>公的医療機関</a:t>
            </a:r>
            <a:endParaRPr lang="ja-JP" altLang="en-US" sz="1200" dirty="0">
              <a:latin typeface="HGP創英角ｺﾞｼｯｸUB" panose="020B0900000000000000" pitchFamily="50" charset="-128"/>
              <a:ea typeface="HGP創英角ｺﾞｼｯｸUB" panose="020B0900000000000000" pitchFamily="50" charset="-128"/>
            </a:endParaRPr>
          </a:p>
        </p:txBody>
      </p:sp>
      <p:sp>
        <p:nvSpPr>
          <p:cNvPr id="2" name="タイトル 1"/>
          <p:cNvSpPr>
            <a:spLocks noGrp="1"/>
          </p:cNvSpPr>
          <p:nvPr>
            <p:ph type="title"/>
          </p:nvPr>
        </p:nvSpPr>
        <p:spPr/>
        <p:txBody>
          <a:bodyPr vert="horz"/>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水準</a:t>
            </a:r>
          </a:p>
        </p:txBody>
      </p:sp>
      <p:grpSp>
        <p:nvGrpSpPr>
          <p:cNvPr id="4" name="グループ化 7"/>
          <p:cNvGrpSpPr/>
          <p:nvPr/>
        </p:nvGrpSpPr>
        <p:grpSpPr>
          <a:xfrm>
            <a:off x="200471" y="1773396"/>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機関</a:t>
              </a:r>
              <a:r>
                <a:rPr lang="ja-JP" altLang="en-US" sz="1400" dirty="0">
                  <a:solidFill>
                    <a:srgbClr val="000000"/>
                  </a:solidFill>
                  <a:latin typeface="Arial Black" pitchFamily="34" charset="0"/>
                  <a:ea typeface="HGP創英角ｺﾞｼｯｸUB" pitchFamily="50" charset="-128"/>
                </a:rPr>
                <a:t>と</a:t>
              </a:r>
              <a:r>
                <a:rPr lang="zh-TW" altLang="en-US" sz="1400" dirty="0">
                  <a:solidFill>
                    <a:srgbClr val="000000"/>
                  </a:solidFill>
                  <a:latin typeface="Arial Black" pitchFamily="34" charset="0"/>
                  <a:ea typeface="HGP創英角ｺﾞｼｯｸUB" pitchFamily="50" charset="-128"/>
                </a:rPr>
                <a:t>公的医療機関</a:t>
              </a:r>
              <a:endParaRPr lang="ja-JP" altLang="en-US" sz="1400" dirty="0">
                <a:solidFill>
                  <a:srgbClr val="000000"/>
                </a:solidFill>
                <a:latin typeface="Arial Black" pitchFamily="34" charset="0"/>
                <a:ea typeface="HGP創英角ｺﾞｼｯｸUB" pitchFamily="50" charset="-128"/>
              </a:endParaRPr>
            </a:p>
          </p:txBody>
        </p:sp>
      </p:grpSp>
      <p:sp>
        <p:nvSpPr>
          <p:cNvPr id="7" name="テキスト ボックス 6"/>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社会格差が大きいため、様々な水準の医療機関が存在す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の整形外科と歯科の水準は総じて高いとされている。</a:t>
            </a:r>
          </a:p>
        </p:txBody>
      </p:sp>
      <p:grpSp>
        <p:nvGrpSpPr>
          <p:cNvPr id="8" name="グループ化 7"/>
          <p:cNvGrpSpPr/>
          <p:nvPr/>
        </p:nvGrpSpPr>
        <p:grpSpPr>
          <a:xfrm>
            <a:off x="5169024" y="1773396"/>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ブラジルの医療水準</a:t>
              </a:r>
            </a:p>
          </p:txBody>
        </p:sp>
      </p:grpSp>
      <p:grpSp>
        <p:nvGrpSpPr>
          <p:cNvPr id="63" name="Group 6"/>
          <p:cNvGrpSpPr>
            <a:grpSpLocks noChangeAspect="1"/>
          </p:cNvGrpSpPr>
          <p:nvPr/>
        </p:nvGrpSpPr>
        <p:grpSpPr bwMode="auto">
          <a:xfrm>
            <a:off x="1192053" y="2708920"/>
            <a:ext cx="434507" cy="720080"/>
            <a:chOff x="1261" y="1689"/>
            <a:chExt cx="318" cy="527"/>
          </a:xfrm>
        </p:grpSpPr>
        <p:sp>
          <p:nvSpPr>
            <p:cNvPr id="64" name="Oval 7"/>
            <p:cNvSpPr>
              <a:spLocks noChangeArrowheads="1"/>
            </p:cNvSpPr>
            <p:nvPr/>
          </p:nvSpPr>
          <p:spPr bwMode="auto">
            <a:xfrm>
              <a:off x="1322" y="1689"/>
              <a:ext cx="197" cy="198"/>
            </a:xfrm>
            <a:prstGeom prst="ellipse">
              <a:avLst/>
            </a:pr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87" name="テキスト ボックス 86"/>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a:p>
            <a:pPr marL="328613" indent="-328613"/>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テキスト ボックス 91"/>
          <p:cNvSpPr txBox="1"/>
          <p:nvPr/>
        </p:nvSpPr>
        <p:spPr>
          <a:xfrm>
            <a:off x="992656" y="3098314"/>
            <a:ext cx="864000" cy="252000"/>
          </a:xfrm>
          <a:prstGeom prst="roundRect">
            <a:avLst/>
          </a:prstGeom>
          <a:ln w="12700" cap="flat" cmpd="sng" algn="ctr">
            <a:solidFill>
              <a:srgbClr val="83A4D1"/>
            </a:solidFill>
            <a:prstDash val="solid"/>
            <a:round/>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tIns="36000" bIns="36000" rtlCol="0">
            <a:noAutofit/>
          </a:bodyPr>
          <a:lstStyle/>
          <a:p>
            <a:pPr algn="ct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富裕層</a:t>
            </a:r>
          </a:p>
        </p:txBody>
      </p:sp>
      <p:grpSp>
        <p:nvGrpSpPr>
          <p:cNvPr id="93" name="Group 6"/>
          <p:cNvGrpSpPr>
            <a:grpSpLocks noChangeAspect="1"/>
          </p:cNvGrpSpPr>
          <p:nvPr/>
        </p:nvGrpSpPr>
        <p:grpSpPr bwMode="auto">
          <a:xfrm>
            <a:off x="3313196" y="2708920"/>
            <a:ext cx="434507" cy="720080"/>
            <a:chOff x="1261" y="1689"/>
            <a:chExt cx="318" cy="527"/>
          </a:xfrm>
        </p:grpSpPr>
        <p:sp>
          <p:nvSpPr>
            <p:cNvPr id="94" name="Oval 7"/>
            <p:cNvSpPr>
              <a:spLocks noChangeArrowheads="1"/>
            </p:cNvSpPr>
            <p:nvPr/>
          </p:nvSpPr>
          <p:spPr bwMode="auto">
            <a:xfrm>
              <a:off x="1322" y="1689"/>
              <a:ext cx="197" cy="198"/>
            </a:xfrm>
            <a:prstGeom prst="ellipse">
              <a:avLst/>
            </a:pr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5"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96" name="テキスト ボックス 95"/>
          <p:cNvSpPr txBox="1"/>
          <p:nvPr/>
        </p:nvSpPr>
        <p:spPr>
          <a:xfrm>
            <a:off x="3095976" y="3098314"/>
            <a:ext cx="864000" cy="252000"/>
          </a:xfrm>
          <a:prstGeom prst="roundRect">
            <a:avLst/>
          </a:prstGeom>
          <a:ln w="12700" cap="flat" cmpd="sng" algn="ctr">
            <a:solidFill>
              <a:srgbClr val="83A4D1"/>
            </a:solidFill>
            <a:prstDash val="solid"/>
            <a:round/>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tIns="36000" bIns="36000" rtlCol="0">
            <a:noAutofit/>
          </a:bodyPr>
          <a:lstStyle/>
          <a:p>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低所得者層</a:t>
            </a:r>
          </a:p>
        </p:txBody>
      </p:sp>
      <p:sp>
        <p:nvSpPr>
          <p:cNvPr id="56" name="正方形/長方形 55"/>
          <p:cNvSpPr/>
          <p:nvPr/>
        </p:nvSpPr>
        <p:spPr>
          <a:xfrm>
            <a:off x="834275" y="5193197"/>
            <a:ext cx="1161770" cy="396043"/>
          </a:xfrm>
          <a:prstGeom prst="rect">
            <a:avLst/>
          </a:prstGeom>
        </p:spPr>
        <p:txBody>
          <a:bodyPr wrap="square" anchor="ctr" anchorCtr="0">
            <a:noAutofit/>
          </a:bodyPr>
          <a:lstStyle/>
          <a:p>
            <a:pPr algn="ctr"/>
            <a:r>
              <a:rPr lang="ja-JP" altLang="en-US" sz="1000" dirty="0"/>
              <a:t>様々な装置が揃う民間医療機関</a:t>
            </a:r>
          </a:p>
        </p:txBody>
      </p:sp>
      <p:sp>
        <p:nvSpPr>
          <p:cNvPr id="119" name="正方形/長方形 118"/>
          <p:cNvSpPr/>
          <p:nvPr/>
        </p:nvSpPr>
        <p:spPr>
          <a:xfrm>
            <a:off x="2943116" y="5193197"/>
            <a:ext cx="1161770" cy="396043"/>
          </a:xfrm>
          <a:prstGeom prst="rect">
            <a:avLst/>
          </a:prstGeom>
        </p:spPr>
        <p:txBody>
          <a:bodyPr wrap="square" anchor="ctr" anchorCtr="0">
            <a:noAutofit/>
          </a:bodyPr>
          <a:lstStyle/>
          <a:p>
            <a:pPr algn="ctr"/>
            <a:r>
              <a:rPr lang="ja-JP" altLang="en-US" sz="1000" dirty="0"/>
              <a:t>公的保険（</a:t>
            </a:r>
            <a:r>
              <a:rPr lang="en-US" altLang="ja-JP" sz="1000" dirty="0"/>
              <a:t>SUS</a:t>
            </a:r>
            <a:r>
              <a:rPr lang="ja-JP" altLang="en-US" sz="1000" dirty="0"/>
              <a:t>）提携</a:t>
            </a:r>
          </a:p>
        </p:txBody>
      </p:sp>
      <p:sp>
        <p:nvSpPr>
          <p:cNvPr id="122" name="テキスト ボックス 121"/>
          <p:cNvSpPr txBox="1"/>
          <p:nvPr/>
        </p:nvSpPr>
        <p:spPr>
          <a:xfrm>
            <a:off x="200472" y="2153761"/>
            <a:ext cx="4602542" cy="261610"/>
          </a:xfrm>
          <a:prstGeom prst="rect">
            <a:avLst/>
          </a:prstGeom>
          <a:noFill/>
        </p:spPr>
        <p:txBody>
          <a:bodyPr wrap="none" rtlCol="0">
            <a:spAutoFit/>
          </a:bodyPr>
          <a:lstStyle/>
          <a:p>
            <a:pPr marL="130175" indent="-130175">
              <a:buClr>
                <a:srgbClr val="3D6AA7"/>
              </a:buClr>
              <a:buSzPct val="80000"/>
              <a:buFont typeface="Wingdings" panose="05000000000000000000" pitchFamily="2" charset="2"/>
              <a:buChar char="l"/>
            </a:pPr>
            <a:r>
              <a:rPr lang="ja-JP" altLang="en-US" sz="1100" dirty="0"/>
              <a:t>社会格差が大きく、医療機関は</a:t>
            </a:r>
            <a:r>
              <a:rPr lang="ja-JP" altLang="en-US" sz="1100" dirty="0">
                <a:solidFill>
                  <a:srgbClr val="000000"/>
                </a:solidFill>
                <a:latin typeface="Arial Black" pitchFamily="34" charset="0"/>
                <a:ea typeface="HGP創英角ｺﾞｼｯｸUB" pitchFamily="50" charset="-128"/>
              </a:rPr>
              <a:t>公的なものから民間のものまで様々</a:t>
            </a:r>
            <a:r>
              <a:rPr lang="ja-JP" altLang="en-US" sz="1100" dirty="0"/>
              <a:t>ある。</a:t>
            </a:r>
          </a:p>
        </p:txBody>
      </p:sp>
      <p:sp>
        <p:nvSpPr>
          <p:cNvPr id="124" name="テキスト ボックス 123"/>
          <p:cNvSpPr txBox="1"/>
          <p:nvPr/>
        </p:nvSpPr>
        <p:spPr>
          <a:xfrm>
            <a:off x="5220147" y="2153761"/>
            <a:ext cx="4341366" cy="704616"/>
          </a:xfrm>
          <a:prstGeom prst="rect">
            <a:avLst/>
          </a:prstGeom>
          <a:noFill/>
        </p:spPr>
        <p:txBody>
          <a:bodyPr wrap="square" rtlCol="0">
            <a:spAutoFit/>
          </a:bodyPr>
          <a:lstStyle/>
          <a:p>
            <a:pPr marL="130175" indent="-130175">
              <a:lnSpc>
                <a:spcPct val="113000"/>
              </a:lnSpc>
              <a:spcAft>
                <a:spcPts val="300"/>
              </a:spcAft>
              <a:buClr>
                <a:srgbClr val="3D6AA7"/>
              </a:buClr>
              <a:buSzPct val="80000"/>
              <a:buFont typeface="Wingdings" panose="05000000000000000000" pitchFamily="2" charset="2"/>
              <a:buChar char="l"/>
            </a:pPr>
            <a:r>
              <a:rPr lang="ja-JP" altLang="en-US" sz="1100" dirty="0"/>
              <a:t>ブラジルの</a:t>
            </a:r>
            <a:r>
              <a:rPr lang="ja-JP" altLang="en-US" sz="1100" dirty="0">
                <a:solidFill>
                  <a:srgbClr val="000000"/>
                </a:solidFill>
                <a:latin typeface="Arial Black" pitchFamily="34" charset="0"/>
                <a:ea typeface="HGP創英角ｺﾞｼｯｸUB" pitchFamily="50" charset="-128"/>
              </a:rPr>
              <a:t>整形外科と歯科の水準は総じて高い</a:t>
            </a:r>
            <a:r>
              <a:rPr lang="ja-JP" altLang="en-US" sz="1100" dirty="0"/>
              <a:t>とされている。</a:t>
            </a:r>
            <a:endParaRPr lang="en-US" altLang="ja-JP" sz="1100" dirty="0"/>
          </a:p>
          <a:p>
            <a:pPr marL="130175" indent="-130175">
              <a:lnSpc>
                <a:spcPct val="113000"/>
              </a:lnSpc>
              <a:spcAft>
                <a:spcPts val="300"/>
              </a:spcAft>
              <a:buClr>
                <a:srgbClr val="3D6AA7"/>
              </a:buClr>
              <a:buSzPct val="80000"/>
              <a:buFont typeface="Wingdings" panose="05000000000000000000" pitchFamily="2" charset="2"/>
              <a:buChar char="l"/>
            </a:pPr>
            <a:r>
              <a:rPr lang="ja-JP" altLang="en-US" sz="1100" dirty="0">
                <a:solidFill>
                  <a:srgbClr val="000000"/>
                </a:solidFill>
                <a:latin typeface="Arial Black" pitchFamily="34" charset="0"/>
                <a:ea typeface="HGP創英角ｺﾞｼｯｸUB" pitchFamily="50" charset="-128"/>
              </a:rPr>
              <a:t>心臓やがんの治療の手技レベルが高い</a:t>
            </a:r>
            <a:r>
              <a:rPr lang="ja-JP" altLang="en-US" sz="1100" dirty="0"/>
              <a:t>医療機関もあり、海外から</a:t>
            </a:r>
            <a:br>
              <a:rPr lang="en-US" altLang="ja-JP" sz="1100" dirty="0"/>
            </a:br>
            <a:r>
              <a:rPr lang="ja-JP" altLang="en-US" sz="1100" dirty="0"/>
              <a:t>患者が訪れるほどである。</a:t>
            </a:r>
            <a:endParaRPr lang="en-US" altLang="ja-JP" sz="1100" dirty="0"/>
          </a:p>
        </p:txBody>
      </p:sp>
      <p:sp>
        <p:nvSpPr>
          <p:cNvPr id="51" name="Rectangle 6"/>
          <p:cNvSpPr>
            <a:spLocks noChangeArrowheads="1"/>
          </p:cNvSpPr>
          <p:nvPr/>
        </p:nvSpPr>
        <p:spPr bwMode="auto">
          <a:xfrm>
            <a:off x="5457825" y="3203549"/>
            <a:ext cx="3787775" cy="513484"/>
          </a:xfrm>
          <a:prstGeom prst="roundRect">
            <a:avLst>
              <a:gd name="adj" fmla="val 12030"/>
            </a:avLst>
          </a:prstGeom>
          <a:noFill/>
          <a:ln w="19050" cap="flat" cmpd="sng" algn="ctr">
            <a:solidFill>
              <a:srgbClr val="5F8AC3"/>
            </a:solidFill>
            <a:prstDash val="solid"/>
            <a:miter lim="800000"/>
            <a:headEnd type="none" w="med" len="med"/>
            <a:tailEnd type="none" w="med" len="med"/>
          </a:ln>
        </p:spPr>
        <p:txBody>
          <a:bodyPr wrap="square" lIns="0" tIns="46800" rIns="0" bIns="4680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fontAlgn="ctr">
              <a:buSzPct val="120000"/>
            </a:pPr>
            <a:r>
              <a:rPr lang="ja-JP" altLang="en-US" sz="1400" b="1" dirty="0">
                <a:solidFill>
                  <a:srgbClr val="000000"/>
                </a:solidFill>
                <a:latin typeface="Arial Black" pitchFamily="34" charset="0"/>
                <a:ea typeface="HGP創英角ｺﾞｼｯｸUB" pitchFamily="50" charset="-128"/>
              </a:rPr>
              <a:t>歯科医師数（</a:t>
            </a:r>
            <a:r>
              <a:rPr lang="en-US" altLang="ja-JP" sz="1400" b="1" dirty="0">
                <a:solidFill>
                  <a:srgbClr val="000000"/>
                </a:solidFill>
                <a:latin typeface="Arial Black" pitchFamily="34" charset="0"/>
                <a:ea typeface="HGP創英角ｺﾞｼｯｸUB" pitchFamily="50" charset="-128"/>
              </a:rPr>
              <a:t>2018</a:t>
            </a:r>
            <a:r>
              <a:rPr lang="ja-JP" altLang="en-US" sz="1400" b="1" dirty="0">
                <a:solidFill>
                  <a:srgbClr val="000000"/>
                </a:solidFill>
                <a:latin typeface="Arial Black" pitchFamily="34" charset="0"/>
                <a:ea typeface="HGP創英角ｺﾞｼｯｸUB" pitchFamily="50" charset="-128"/>
              </a:rPr>
              <a:t>年）</a:t>
            </a:r>
            <a:endParaRPr lang="en-US" altLang="ko-KR" sz="1400" b="1" dirty="0">
              <a:solidFill>
                <a:srgbClr val="000000"/>
              </a:solidFill>
              <a:latin typeface="Arial Black" pitchFamily="34" charset="0"/>
              <a:ea typeface="HGP創英角ｺﾞｼｯｸUB" pitchFamily="50" charset="-128"/>
            </a:endParaRPr>
          </a:p>
        </p:txBody>
      </p:sp>
      <p:sp>
        <p:nvSpPr>
          <p:cNvPr id="23" name="Freeform 14"/>
          <p:cNvSpPr>
            <a:spLocks/>
          </p:cNvSpPr>
          <p:nvPr/>
        </p:nvSpPr>
        <p:spPr bwMode="auto">
          <a:xfrm>
            <a:off x="4910138" y="2759075"/>
            <a:ext cx="44450" cy="4763"/>
          </a:xfrm>
          <a:custGeom>
            <a:avLst/>
            <a:gdLst>
              <a:gd name="T0" fmla="*/ 28 w 28"/>
              <a:gd name="T1" fmla="*/ 0 h 3"/>
              <a:gd name="T2" fmla="*/ 0 w 28"/>
              <a:gd name="T3" fmla="*/ 3 h 3"/>
              <a:gd name="T4" fmla="*/ 28 w 28"/>
              <a:gd name="T5" fmla="*/ 0 h 3"/>
            </a:gdLst>
            <a:ahLst/>
            <a:cxnLst>
              <a:cxn ang="0">
                <a:pos x="T0" y="T1"/>
              </a:cxn>
              <a:cxn ang="0">
                <a:pos x="T2" y="T3"/>
              </a:cxn>
              <a:cxn ang="0">
                <a:pos x="T4" y="T5"/>
              </a:cxn>
            </a:cxnLst>
            <a:rect l="0" t="0" r="r" b="b"/>
            <a:pathLst>
              <a:path w="28" h="3">
                <a:moveTo>
                  <a:pt x="28" y="0"/>
                </a:moveTo>
                <a:lnTo>
                  <a:pt x="0" y="3"/>
                </a:ln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18"/>
          <p:cNvSpPr>
            <a:spLocks/>
          </p:cNvSpPr>
          <p:nvPr/>
        </p:nvSpPr>
        <p:spPr bwMode="auto">
          <a:xfrm>
            <a:off x="4954588" y="2527300"/>
            <a:ext cx="49213" cy="3175"/>
          </a:xfrm>
          <a:custGeom>
            <a:avLst/>
            <a:gdLst>
              <a:gd name="T0" fmla="*/ 0 w 31"/>
              <a:gd name="T1" fmla="*/ 0 h 2"/>
              <a:gd name="T2" fmla="*/ 31 w 31"/>
              <a:gd name="T3" fmla="*/ 2 h 2"/>
              <a:gd name="T4" fmla="*/ 0 w 31"/>
              <a:gd name="T5" fmla="*/ 0 h 2"/>
            </a:gdLst>
            <a:ahLst/>
            <a:cxnLst>
              <a:cxn ang="0">
                <a:pos x="T0" y="T1"/>
              </a:cxn>
              <a:cxn ang="0">
                <a:pos x="T2" y="T3"/>
              </a:cxn>
              <a:cxn ang="0">
                <a:pos x="T4" y="T5"/>
              </a:cxn>
            </a:cxnLst>
            <a:rect l="0" t="0" r="r" b="b"/>
            <a:pathLst>
              <a:path w="31" h="2">
                <a:moveTo>
                  <a:pt x="0" y="0"/>
                </a:moveTo>
                <a:lnTo>
                  <a:pt x="31" y="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Freeform 20"/>
          <p:cNvSpPr>
            <a:spLocks/>
          </p:cNvSpPr>
          <p:nvPr/>
        </p:nvSpPr>
        <p:spPr bwMode="auto">
          <a:xfrm>
            <a:off x="4910138" y="3532188"/>
            <a:ext cx="93663" cy="0"/>
          </a:xfrm>
          <a:custGeom>
            <a:avLst/>
            <a:gdLst>
              <a:gd name="T0" fmla="*/ 59 w 59"/>
              <a:gd name="T1" fmla="*/ 0 w 59"/>
              <a:gd name="T2" fmla="*/ 59 w 59"/>
            </a:gdLst>
            <a:ahLst/>
            <a:cxnLst>
              <a:cxn ang="0">
                <a:pos x="T0" y="0"/>
              </a:cxn>
              <a:cxn ang="0">
                <a:pos x="T1" y="0"/>
              </a:cxn>
              <a:cxn ang="0">
                <a:pos x="T2" y="0"/>
              </a:cxn>
            </a:cxnLst>
            <a:rect l="0" t="0" r="r" b="b"/>
            <a:pathLst>
              <a:path w="59">
                <a:moveTo>
                  <a:pt x="59" y="0"/>
                </a:moveTo>
                <a:lnTo>
                  <a:pt x="0" y="0"/>
                </a:lnTo>
                <a:lnTo>
                  <a:pt x="5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Freeform 26"/>
          <p:cNvSpPr>
            <a:spLocks/>
          </p:cNvSpPr>
          <p:nvPr/>
        </p:nvSpPr>
        <p:spPr bwMode="auto">
          <a:xfrm>
            <a:off x="4954588" y="2759075"/>
            <a:ext cx="49213" cy="4763"/>
          </a:xfrm>
          <a:custGeom>
            <a:avLst/>
            <a:gdLst>
              <a:gd name="T0" fmla="*/ 0 w 31"/>
              <a:gd name="T1" fmla="*/ 0 h 3"/>
              <a:gd name="T2" fmla="*/ 31 w 31"/>
              <a:gd name="T3" fmla="*/ 3 h 3"/>
              <a:gd name="T4" fmla="*/ 0 w 31"/>
              <a:gd name="T5" fmla="*/ 0 h 3"/>
            </a:gdLst>
            <a:ahLst/>
            <a:cxnLst>
              <a:cxn ang="0">
                <a:pos x="T0" y="T1"/>
              </a:cxn>
              <a:cxn ang="0">
                <a:pos x="T2" y="T3"/>
              </a:cxn>
              <a:cxn ang="0">
                <a:pos x="T4" y="T5"/>
              </a:cxn>
            </a:cxnLst>
            <a:rect l="0" t="0" r="r" b="b"/>
            <a:pathLst>
              <a:path w="31" h="3">
                <a:moveTo>
                  <a:pt x="0" y="0"/>
                </a:moveTo>
                <a:lnTo>
                  <a:pt x="31" y="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41" name="グループ化 40"/>
          <p:cNvGrpSpPr/>
          <p:nvPr/>
        </p:nvGrpSpPr>
        <p:grpSpPr>
          <a:xfrm>
            <a:off x="5701186" y="3289882"/>
            <a:ext cx="357683" cy="365185"/>
            <a:chOff x="3897313" y="2343150"/>
            <a:chExt cx="2119313" cy="2163763"/>
          </a:xfrm>
        </p:grpSpPr>
        <p:sp>
          <p:nvSpPr>
            <p:cNvPr id="39" name="Freeform 32"/>
            <p:cNvSpPr>
              <a:spLocks/>
            </p:cNvSpPr>
            <p:nvPr/>
          </p:nvSpPr>
          <p:spPr bwMode="auto">
            <a:xfrm>
              <a:off x="3897313" y="2343150"/>
              <a:ext cx="2119313" cy="2163763"/>
            </a:xfrm>
            <a:custGeom>
              <a:avLst/>
              <a:gdLst>
                <a:gd name="T0" fmla="*/ 284 w 565"/>
                <a:gd name="T1" fmla="*/ 314 h 577"/>
                <a:gd name="T2" fmla="*/ 393 w 565"/>
                <a:gd name="T3" fmla="*/ 566 h 577"/>
                <a:gd name="T4" fmla="*/ 413 w 565"/>
                <a:gd name="T5" fmla="*/ 567 h 577"/>
                <a:gd name="T6" fmla="*/ 499 w 565"/>
                <a:gd name="T7" fmla="*/ 367 h 577"/>
                <a:gd name="T8" fmla="*/ 546 w 565"/>
                <a:gd name="T9" fmla="*/ 117 h 577"/>
                <a:gd name="T10" fmla="*/ 512 w 565"/>
                <a:gd name="T11" fmla="*/ 54 h 577"/>
                <a:gd name="T12" fmla="*/ 413 w 565"/>
                <a:gd name="T13" fmla="*/ 11 h 577"/>
                <a:gd name="T14" fmla="*/ 362 w 565"/>
                <a:gd name="T15" fmla="*/ 26 h 577"/>
                <a:gd name="T16" fmla="*/ 289 w 565"/>
                <a:gd name="T17" fmla="*/ 33 h 577"/>
                <a:gd name="T18" fmla="*/ 284 w 565"/>
                <a:gd name="T19" fmla="*/ 33 h 577"/>
                <a:gd name="T20" fmla="*/ 281 w 565"/>
                <a:gd name="T21" fmla="*/ 33 h 577"/>
                <a:gd name="T22" fmla="*/ 276 w 565"/>
                <a:gd name="T23" fmla="*/ 33 h 577"/>
                <a:gd name="T24" fmla="*/ 203 w 565"/>
                <a:gd name="T25" fmla="*/ 26 h 577"/>
                <a:gd name="T26" fmla="*/ 152 w 565"/>
                <a:gd name="T27" fmla="*/ 11 h 577"/>
                <a:gd name="T28" fmla="*/ 53 w 565"/>
                <a:gd name="T29" fmla="*/ 54 h 577"/>
                <a:gd name="T30" fmla="*/ 19 w 565"/>
                <a:gd name="T31" fmla="*/ 117 h 577"/>
                <a:gd name="T32" fmla="*/ 66 w 565"/>
                <a:gd name="T33" fmla="*/ 367 h 577"/>
                <a:gd name="T34" fmla="*/ 152 w 565"/>
                <a:gd name="T35" fmla="*/ 567 h 577"/>
                <a:gd name="T36" fmla="*/ 172 w 565"/>
                <a:gd name="T37" fmla="*/ 566 h 577"/>
                <a:gd name="T38" fmla="*/ 281 w 565"/>
                <a:gd name="T39" fmla="*/ 314 h 577"/>
                <a:gd name="T40" fmla="*/ 284 w 565"/>
                <a:gd name="T41" fmla="*/ 314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5" h="577">
                  <a:moveTo>
                    <a:pt x="284" y="314"/>
                  </a:moveTo>
                  <a:cubicBezTo>
                    <a:pt x="344" y="309"/>
                    <a:pt x="390" y="469"/>
                    <a:pt x="393" y="566"/>
                  </a:cubicBezTo>
                  <a:cubicBezTo>
                    <a:pt x="393" y="577"/>
                    <a:pt x="408" y="576"/>
                    <a:pt x="413" y="567"/>
                  </a:cubicBezTo>
                  <a:cubicBezTo>
                    <a:pt x="443" y="501"/>
                    <a:pt x="471" y="434"/>
                    <a:pt x="499" y="367"/>
                  </a:cubicBezTo>
                  <a:cubicBezTo>
                    <a:pt x="528" y="295"/>
                    <a:pt x="565" y="204"/>
                    <a:pt x="546" y="117"/>
                  </a:cubicBezTo>
                  <a:cubicBezTo>
                    <a:pt x="542" y="96"/>
                    <a:pt x="524" y="70"/>
                    <a:pt x="512" y="54"/>
                  </a:cubicBezTo>
                  <a:cubicBezTo>
                    <a:pt x="486" y="18"/>
                    <a:pt x="451" y="0"/>
                    <a:pt x="413" y="11"/>
                  </a:cubicBezTo>
                  <a:cubicBezTo>
                    <a:pt x="396" y="16"/>
                    <a:pt x="379" y="22"/>
                    <a:pt x="362" y="26"/>
                  </a:cubicBezTo>
                  <a:cubicBezTo>
                    <a:pt x="339" y="31"/>
                    <a:pt x="313" y="31"/>
                    <a:pt x="289" y="33"/>
                  </a:cubicBezTo>
                  <a:cubicBezTo>
                    <a:pt x="288" y="33"/>
                    <a:pt x="286" y="33"/>
                    <a:pt x="284" y="33"/>
                  </a:cubicBezTo>
                  <a:cubicBezTo>
                    <a:pt x="281" y="33"/>
                    <a:pt x="281" y="33"/>
                    <a:pt x="281" y="33"/>
                  </a:cubicBezTo>
                  <a:cubicBezTo>
                    <a:pt x="279" y="33"/>
                    <a:pt x="277" y="33"/>
                    <a:pt x="276" y="33"/>
                  </a:cubicBezTo>
                  <a:cubicBezTo>
                    <a:pt x="252" y="31"/>
                    <a:pt x="226" y="31"/>
                    <a:pt x="203" y="26"/>
                  </a:cubicBezTo>
                  <a:cubicBezTo>
                    <a:pt x="186" y="22"/>
                    <a:pt x="169" y="16"/>
                    <a:pt x="152" y="11"/>
                  </a:cubicBezTo>
                  <a:cubicBezTo>
                    <a:pt x="114" y="0"/>
                    <a:pt x="79" y="18"/>
                    <a:pt x="53" y="54"/>
                  </a:cubicBezTo>
                  <a:cubicBezTo>
                    <a:pt x="41" y="70"/>
                    <a:pt x="23" y="96"/>
                    <a:pt x="19" y="117"/>
                  </a:cubicBezTo>
                  <a:cubicBezTo>
                    <a:pt x="0" y="204"/>
                    <a:pt x="37" y="295"/>
                    <a:pt x="66" y="367"/>
                  </a:cubicBezTo>
                  <a:cubicBezTo>
                    <a:pt x="94" y="434"/>
                    <a:pt x="122" y="501"/>
                    <a:pt x="152" y="567"/>
                  </a:cubicBezTo>
                  <a:cubicBezTo>
                    <a:pt x="157" y="576"/>
                    <a:pt x="172" y="577"/>
                    <a:pt x="172" y="566"/>
                  </a:cubicBezTo>
                  <a:cubicBezTo>
                    <a:pt x="175" y="469"/>
                    <a:pt x="221" y="309"/>
                    <a:pt x="281" y="314"/>
                  </a:cubicBezTo>
                  <a:lnTo>
                    <a:pt x="284" y="314"/>
                  </a:lnTo>
                  <a:close/>
                </a:path>
              </a:pathLst>
            </a:custGeom>
            <a:solidFill>
              <a:srgbClr val="FFFFFF"/>
            </a:solidFill>
            <a:ln w="19050"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0" name="Freeform 33"/>
            <p:cNvSpPr>
              <a:spLocks/>
            </p:cNvSpPr>
            <p:nvPr/>
          </p:nvSpPr>
          <p:spPr bwMode="auto">
            <a:xfrm>
              <a:off x="4583113" y="2711450"/>
              <a:ext cx="709613" cy="96838"/>
            </a:xfrm>
            <a:custGeom>
              <a:avLst/>
              <a:gdLst>
                <a:gd name="T0" fmla="*/ 189 w 189"/>
                <a:gd name="T1" fmla="*/ 0 h 26"/>
                <a:gd name="T2" fmla="*/ 95 w 189"/>
                <a:gd name="T3" fmla="*/ 26 h 26"/>
                <a:gd name="T4" fmla="*/ 0 w 189"/>
                <a:gd name="T5" fmla="*/ 0 h 26"/>
              </a:gdLst>
              <a:ahLst/>
              <a:cxnLst>
                <a:cxn ang="0">
                  <a:pos x="T0" y="T1"/>
                </a:cxn>
                <a:cxn ang="0">
                  <a:pos x="T2" y="T3"/>
                </a:cxn>
                <a:cxn ang="0">
                  <a:pos x="T4" y="T5"/>
                </a:cxn>
              </a:cxnLst>
              <a:rect l="0" t="0" r="r" b="b"/>
              <a:pathLst>
                <a:path w="189" h="26">
                  <a:moveTo>
                    <a:pt x="189" y="0"/>
                  </a:moveTo>
                  <a:cubicBezTo>
                    <a:pt x="165" y="16"/>
                    <a:pt x="132" y="26"/>
                    <a:pt x="95" y="26"/>
                  </a:cubicBezTo>
                  <a:cubicBezTo>
                    <a:pt x="58" y="26"/>
                    <a:pt x="24" y="16"/>
                    <a:pt x="0" y="0"/>
                  </a:cubicBezTo>
                </a:path>
              </a:pathLst>
            </a:custGeom>
            <a:solidFill>
              <a:srgbClr val="FFFFFF"/>
            </a:solidFill>
            <a:ln w="19050"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graphicFrame>
        <p:nvGraphicFramePr>
          <p:cNvPr id="216" name="Chart 215">
            <a:extLst>
              <a:ext uri="{FF2B5EF4-FFF2-40B4-BE49-F238E27FC236}">
                <a16:creationId xmlns:a16="http://schemas.microsoft.com/office/drawing/2014/main" id="{55AA8003-2115-4FFD-9091-E05B1894990F}"/>
              </a:ext>
            </a:extLst>
          </p:cNvPr>
          <p:cNvGraphicFramePr/>
          <p:nvPr>
            <p:custDataLst>
              <p:tags r:id="rId3"/>
            </p:custDataLst>
            <p:extLst>
              <p:ext uri="{D42A27DB-BD31-4B8C-83A1-F6EECF244321}">
                <p14:modId xmlns:p14="http://schemas.microsoft.com/office/powerpoint/2010/main" val="3204464805"/>
              </p:ext>
            </p:extLst>
          </p:nvPr>
        </p:nvGraphicFramePr>
        <p:xfrm>
          <a:off x="5375275" y="4252913"/>
          <a:ext cx="3981450" cy="1971675"/>
        </p:xfrm>
        <a:graphic>
          <a:graphicData uri="http://schemas.openxmlformats.org/drawingml/2006/chart">
            <c:chart xmlns:c="http://schemas.openxmlformats.org/drawingml/2006/chart" xmlns:r="http://schemas.openxmlformats.org/officeDocument/2006/relationships" r:id="rId13"/>
          </a:graphicData>
        </a:graphic>
      </p:graphicFrame>
      <p:sp>
        <p:nvSpPr>
          <p:cNvPr id="168" name="テキスト プレースホルダ 9">
            <a:extLst>
              <a:ext uri="{FF2B5EF4-FFF2-40B4-BE49-F238E27FC236}">
                <a16:creationId xmlns:a16="http://schemas.microsoft.com/office/drawing/2014/main" id="{14FAA30D-9020-4C74-BBF2-9981B608BA4D}"/>
              </a:ext>
            </a:extLst>
          </p:cNvPr>
          <p:cNvSpPr>
            <a:spLocks noGrp="1"/>
          </p:cNvSpPr>
          <p:nvPr>
            <p:custDataLst>
              <p:tags r:id="rId4"/>
            </p:custDataLst>
          </p:nvPr>
        </p:nvSpPr>
        <p:spPr bwMode="gray">
          <a:xfrm>
            <a:off x="6183313" y="4187824"/>
            <a:ext cx="838200" cy="2746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dirty="0"/>
              <a:t>約</a:t>
            </a:r>
            <a:r>
              <a:rPr lang="en-US" altLang="ja-JP" sz="1800" b="1" dirty="0"/>
              <a:t>20</a:t>
            </a:r>
            <a:r>
              <a:rPr lang="ja-JP" altLang="en-US" sz="1400" dirty="0"/>
              <a:t>万人</a:t>
            </a:r>
          </a:p>
        </p:txBody>
      </p:sp>
      <p:sp>
        <p:nvSpPr>
          <p:cNvPr id="158" name="テキスト プレースホルダ 9">
            <a:extLst>
              <a:ext uri="{FF2B5EF4-FFF2-40B4-BE49-F238E27FC236}">
                <a16:creationId xmlns:a16="http://schemas.microsoft.com/office/drawing/2014/main" id="{730DA7E2-C892-438D-865E-E8584DC0778B}"/>
              </a:ext>
            </a:extLst>
          </p:cNvPr>
          <p:cNvSpPr>
            <a:spLocks noGrp="1"/>
          </p:cNvSpPr>
          <p:nvPr>
            <p:custDataLst>
              <p:tags r:id="rId5"/>
            </p:custDataLst>
          </p:nvPr>
        </p:nvSpPr>
        <p:spPr bwMode="gray">
          <a:xfrm>
            <a:off x="5351463" y="4035424"/>
            <a:ext cx="838200" cy="2746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dirty="0"/>
              <a:t>約</a:t>
            </a:r>
            <a:r>
              <a:rPr lang="en-US" altLang="ja-JP" sz="1800" b="1" dirty="0"/>
              <a:t>22</a:t>
            </a:r>
            <a:r>
              <a:rPr lang="ja-JP" altLang="en-US" sz="1400" dirty="0"/>
              <a:t>万人</a:t>
            </a:r>
          </a:p>
        </p:txBody>
      </p:sp>
      <p:sp>
        <p:nvSpPr>
          <p:cNvPr id="69" name="テキスト プレースホルダ 9">
            <a:extLst>
              <a:ext uri="{FF2B5EF4-FFF2-40B4-BE49-F238E27FC236}">
                <a16:creationId xmlns:a16="http://schemas.microsoft.com/office/drawing/2014/main" id="{1BA9D75B-91AC-4EDE-B009-62CB210CA55E}"/>
              </a:ext>
            </a:extLst>
          </p:cNvPr>
          <p:cNvSpPr>
            <a:spLocks noGrp="1"/>
          </p:cNvSpPr>
          <p:nvPr>
            <p:custDataLst>
              <p:tags r:id="rId6"/>
            </p:custDataLst>
          </p:nvPr>
        </p:nvSpPr>
        <p:spPr bwMode="auto">
          <a:xfrm>
            <a:off x="5619750" y="6200775"/>
            <a:ext cx="4381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F93C02-FBAB-4441-BC1E-A1988E2CCE8A}" type="datetime'''''''''イ''''''''ンド'">
              <a:rPr lang="ja-JP" altLang="en-US" sz="1400" smtClean="0"/>
              <a:pPr/>
              <a:t>インド</a:t>
            </a:fld>
            <a:endParaRPr lang="ja-JP" altLang="en-US" sz="1400" dirty="0"/>
          </a:p>
        </p:txBody>
      </p:sp>
      <p:sp>
        <p:nvSpPr>
          <p:cNvPr id="88" name="テキスト プレースホルダ 9">
            <a:extLst>
              <a:ext uri="{FF2B5EF4-FFF2-40B4-BE49-F238E27FC236}">
                <a16:creationId xmlns:a16="http://schemas.microsoft.com/office/drawing/2014/main" id="{8602CF14-B867-4730-89D8-0C1564197CF7}"/>
              </a:ext>
            </a:extLst>
          </p:cNvPr>
          <p:cNvSpPr>
            <a:spLocks noGrp="1"/>
          </p:cNvSpPr>
          <p:nvPr>
            <p:custDataLst>
              <p:tags r:id="rId7"/>
            </p:custDataLst>
          </p:nvPr>
        </p:nvSpPr>
        <p:spPr bwMode="auto">
          <a:xfrm>
            <a:off x="6311900" y="6200775"/>
            <a:ext cx="5810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5DBEEB-04D2-4A7E-BB2E-EAC5FDF88D07}" type="datetime'''''''''''''''''''ア''''''''''''''''''''''''メリ''''カ'">
              <a:rPr lang="ja-JP" altLang="en-US" sz="1400" smtClean="0"/>
              <a:pPr/>
              <a:t>アメリカ</a:t>
            </a:fld>
            <a:endParaRPr lang="ja-JP" altLang="en-US" sz="1400" dirty="0"/>
          </a:p>
        </p:txBody>
      </p:sp>
      <p:sp>
        <p:nvSpPr>
          <p:cNvPr id="90" name="テキスト プレースホルダ 9">
            <a:extLst>
              <a:ext uri="{FF2B5EF4-FFF2-40B4-BE49-F238E27FC236}">
                <a16:creationId xmlns:a16="http://schemas.microsoft.com/office/drawing/2014/main" id="{F45E3ADA-FF30-4E26-928B-D02B8C31E21A}"/>
              </a:ext>
            </a:extLst>
          </p:cNvPr>
          <p:cNvSpPr>
            <a:spLocks noGrp="1"/>
          </p:cNvSpPr>
          <p:nvPr>
            <p:custDataLst>
              <p:tags r:id="rId8"/>
            </p:custDataLst>
          </p:nvPr>
        </p:nvSpPr>
        <p:spPr bwMode="auto">
          <a:xfrm>
            <a:off x="7040563" y="6200775"/>
            <a:ext cx="6524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122E43C-2BA1-415F-BF0E-C734E6DDBF87}" type="datetime'''ブ''''ラ''''''''''ジ''''''''ル'''''''''''''''''''''''''''">
              <a:rPr lang="ja-JP" altLang="en-US" sz="1400" smtClean="0"/>
              <a:pPr/>
              <a:t>ブラジル</a:t>
            </a:fld>
            <a:endParaRPr lang="ja-JP" altLang="en-US" sz="1400" dirty="0"/>
          </a:p>
        </p:txBody>
      </p:sp>
      <p:sp>
        <p:nvSpPr>
          <p:cNvPr id="173" name="テキスト プレースホルダ 9">
            <a:extLst>
              <a:ext uri="{FF2B5EF4-FFF2-40B4-BE49-F238E27FC236}">
                <a16:creationId xmlns:a16="http://schemas.microsoft.com/office/drawing/2014/main" id="{54D28697-3F97-419D-A52B-0DE26BD67790}"/>
              </a:ext>
            </a:extLst>
          </p:cNvPr>
          <p:cNvSpPr>
            <a:spLocks noGrp="1"/>
          </p:cNvSpPr>
          <p:nvPr>
            <p:custDataLst>
              <p:tags r:id="rId9"/>
            </p:custDataLst>
          </p:nvPr>
        </p:nvSpPr>
        <p:spPr bwMode="gray">
          <a:xfrm>
            <a:off x="6946900" y="4730749"/>
            <a:ext cx="838200" cy="2746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dirty="0"/>
              <a:t>約</a:t>
            </a:r>
            <a:r>
              <a:rPr lang="en-US" altLang="ja-JP" sz="1800" b="1" dirty="0"/>
              <a:t>13</a:t>
            </a:r>
            <a:r>
              <a:rPr lang="ja-JP" altLang="en-US" sz="1400" dirty="0"/>
              <a:t>万人</a:t>
            </a:r>
          </a:p>
        </p:txBody>
      </p:sp>
    </p:spTree>
    <p:extLst>
      <p:ext uri="{BB962C8B-B14F-4D97-AF65-F5344CB8AC3E}">
        <p14:creationId xmlns:p14="http://schemas.microsoft.com/office/powerpoint/2010/main" val="1802639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p:cNvSpPr/>
          <p:nvPr/>
        </p:nvSpPr>
        <p:spPr>
          <a:xfrm>
            <a:off x="3008784" y="2172482"/>
            <a:ext cx="3096344" cy="933649"/>
          </a:xfrm>
          <a:prstGeom prst="rect">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900" dirty="0">
              <a:solidFill>
                <a:schemeClr val="tx1"/>
              </a:solidFill>
              <a:latin typeface="Arial" panose="020B0604020202020204" pitchFamily="34" charset="0"/>
              <a:ea typeface="ＭＳ Ｐゴシック" panose="020B0600070205080204" pitchFamily="50" charset="-128"/>
            </a:endParaRPr>
          </a:p>
        </p:txBody>
      </p:sp>
      <p:sp>
        <p:nvSpPr>
          <p:cNvPr id="14" name="台形 13"/>
          <p:cNvSpPr/>
          <p:nvPr/>
        </p:nvSpPr>
        <p:spPr>
          <a:xfrm rot="5400000">
            <a:off x="5922313" y="2283958"/>
            <a:ext cx="1004221" cy="638592"/>
          </a:xfrm>
          <a:prstGeom prst="trapezoid">
            <a:avLst>
              <a:gd name="adj" fmla="val 20814"/>
            </a:avLst>
          </a:prstGeom>
          <a:gradFill flip="none" rotWithShape="1">
            <a:gsLst>
              <a:gs pos="0">
                <a:srgbClr val="D2F0FA"/>
              </a:gs>
              <a:gs pos="100000">
                <a:schemeClr val="bg1"/>
              </a:gs>
            </a:gsLst>
            <a:lin ang="5400000" scaled="1"/>
            <a:tileRect/>
          </a:gradFill>
          <a:ln w="9525" cap="flat" cmpd="sng" algn="ctr">
            <a:noFill/>
            <a:prstDash val="solid"/>
          </a:ln>
          <a:effectLst/>
          <a:extLst>
            <a:ext uri="{91240B29-F687-4F45-9708-019B960494DF}">
              <a14:hiddenLine xmlns:a14="http://schemas.microsoft.com/office/drawing/2010/main" w="9525" cap="flat" cmpd="sng" algn="ctr">
                <a:solidFill>
                  <a:srgbClr val="77D4ED"/>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円/楕円 11"/>
          <p:cNvSpPr/>
          <p:nvPr/>
        </p:nvSpPr>
        <p:spPr>
          <a:xfrm>
            <a:off x="776536" y="2469493"/>
            <a:ext cx="2081014" cy="564432"/>
          </a:xfrm>
          <a:prstGeom prst="ellipse">
            <a:avLst/>
          </a:prstGeom>
          <a:gradFill flip="none" rotWithShape="1">
            <a:gsLst>
              <a:gs pos="0">
                <a:srgbClr val="E15C21"/>
              </a:gs>
              <a:gs pos="100000">
                <a:schemeClr val="bg1"/>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chemeClr val="tx1"/>
                </a:solidFill>
                <a:latin typeface="Arial" panose="020B0604020202020204" pitchFamily="34" charset="0"/>
                <a:ea typeface="ＭＳ Ｐゴシック" panose="020B0600070205080204" pitchFamily="50" charset="-128"/>
              </a:rPr>
              <a:t>全国民が対象</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角丸四角形 46"/>
          <p:cNvSpPr/>
          <p:nvPr/>
        </p:nvSpPr>
        <p:spPr>
          <a:xfrm>
            <a:off x="632520" y="3560863"/>
            <a:ext cx="1006016" cy="1163051"/>
          </a:xfrm>
          <a:prstGeom prst="roundRect">
            <a:avLst>
              <a:gd name="adj" fmla="val 6467"/>
            </a:avLst>
          </a:prstGeom>
          <a:solidFill>
            <a:srgbClr val="5F8AC3"/>
          </a:solidFill>
          <a:ln w="12700" cap="flat" cmpd="sng" algn="ctr">
            <a:solidFill>
              <a:srgbClr val="5F8AC3"/>
            </a:solidFill>
            <a:prstDash val="solid"/>
            <a:round/>
            <a:headEnd type="none" w="med" len="med"/>
            <a:tailEnd type="none" w="med" len="med"/>
          </a:ln>
        </p:spPr>
        <p:txBody>
          <a:bodyPr wrap="square" lIns="162000" rIns="144000" rtlCol="0" anchor="ctr" anchorCtr="0">
            <a:noAutofit/>
          </a:bodyPr>
          <a:lstStyle/>
          <a:p>
            <a:pPr>
              <a:buClr>
                <a:srgbClr val="3D6AA7"/>
              </a:buClr>
              <a:buSzPct val="80000"/>
            </a:pPr>
            <a:r>
              <a:rPr lang="ja-JP" altLang="en-US" sz="1400" b="1" dirty="0">
                <a:solidFill>
                  <a:schemeClr val="bg1"/>
                </a:solidFill>
                <a:latin typeface="Arial" panose="020B0604020202020204" pitchFamily="34" charset="0"/>
                <a:ea typeface="ＭＳ Ｐゴシック" panose="020B0600070205080204" pitchFamily="50" charset="-128"/>
              </a:rPr>
              <a:t>財 源</a:t>
            </a:r>
            <a:endParaRPr lang="en-US" altLang="ja-JP" sz="1400" b="1" dirty="0">
              <a:solidFill>
                <a:schemeClr val="bg1"/>
              </a:solidFill>
              <a:latin typeface="Arial" panose="020B0604020202020204" pitchFamily="34" charset="0"/>
              <a:ea typeface="ＭＳ Ｐゴシック" panose="020B0600070205080204" pitchFamily="50" charset="-128"/>
            </a:endParaRPr>
          </a:p>
        </p:txBody>
      </p:sp>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公的保険制度（</a:t>
            </a:r>
            <a:r>
              <a:rPr lang="en-US" altLang="ja-JP" dirty="0"/>
              <a:t>SUS</a:t>
            </a:r>
            <a:r>
              <a:rPr lang="ja-JP" altLang="en-US" dirty="0"/>
              <a:t>）</a:t>
            </a:r>
          </a:p>
        </p:txBody>
      </p:sp>
      <p:sp>
        <p:nvSpPr>
          <p:cNvPr id="87" name="テキスト ボックス 86"/>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槙絵美子・加藤麻衣「ブラジルの健康保険制度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統一医療システム</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と民間健康保険</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有識者ヒアリン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NS Brazi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統計</a:t>
            </a:r>
          </a:p>
        </p:txBody>
      </p:sp>
      <p:grpSp>
        <p:nvGrpSpPr>
          <p:cNvPr id="50" name="グループ化 7"/>
          <p:cNvGrpSpPr/>
          <p:nvPr/>
        </p:nvGrpSpPr>
        <p:grpSpPr>
          <a:xfrm>
            <a:off x="488504" y="1556791"/>
            <a:ext cx="8928992" cy="288032"/>
            <a:chOff x="4944173" y="2113806"/>
            <a:chExt cx="5861371" cy="288032"/>
          </a:xfrm>
        </p:grpSpPr>
        <p:cxnSp>
          <p:nvCxnSpPr>
            <p:cNvPr id="51" name="直線コネクタ 50"/>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3"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保険</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SUS</a:t>
              </a:r>
              <a:r>
                <a:rPr lang="ja-JP" altLang="en-US" dirty="0">
                  <a:solidFill>
                    <a:srgbClr val="000000"/>
                  </a:solidFill>
                  <a:latin typeface="Arial Black" pitchFamily="34" charset="0"/>
                  <a:ea typeface="HGP創英角ｺﾞｼｯｸUB" pitchFamily="50" charset="-128"/>
                </a:rPr>
                <a:t>：統一保健医療システム）</a:t>
              </a:r>
            </a:p>
          </p:txBody>
        </p:sp>
      </p:grpSp>
      <p:sp>
        <p:nvSpPr>
          <p:cNvPr id="25" name="角丸四角形 24"/>
          <p:cNvSpPr/>
          <p:nvPr/>
        </p:nvSpPr>
        <p:spPr>
          <a:xfrm>
            <a:off x="6862102" y="2097288"/>
            <a:ext cx="2411378" cy="986308"/>
          </a:xfrm>
          <a:prstGeom prst="roundRect">
            <a:avLst>
              <a:gd name="adj" fmla="val 4929"/>
            </a:avLst>
          </a:prstGeom>
          <a:gradFill flip="none" rotWithShape="1">
            <a:gsLst>
              <a:gs pos="0">
                <a:srgbClr val="AFE6F7"/>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48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一般的な</a:t>
            </a:r>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予防医療</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や</a:t>
            </a:r>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風邪</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から臓器移植のような</a:t>
            </a:r>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高度な医療技術を要する診療</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で、全ての水準の医療サービスが対象</a:t>
            </a:r>
            <a:endParaRPr lang="ja-JP" altLang="en-US" sz="1000" dirty="0">
              <a:latin typeface="Arial" panose="020B0604020202020204" pitchFamily="34" charset="0"/>
              <a:ea typeface="ＭＳ Ｐゴシック" panose="020B0600070205080204" pitchFamily="50" charset="-128"/>
            </a:endParaRPr>
          </a:p>
        </p:txBody>
      </p:sp>
      <p:cxnSp>
        <p:nvCxnSpPr>
          <p:cNvPr id="26" name="直線コネクタ 25"/>
          <p:cNvCxnSpPr/>
          <p:nvPr/>
        </p:nvCxnSpPr>
        <p:spPr>
          <a:xfrm>
            <a:off x="702776" y="2064111"/>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27" name="円/楕円 26"/>
          <p:cNvSpPr/>
          <p:nvPr/>
        </p:nvSpPr>
        <p:spPr>
          <a:xfrm>
            <a:off x="632520" y="2172483"/>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843791" y="2097287"/>
            <a:ext cx="202097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988</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政府によって導入・運営</a:t>
            </a:r>
          </a:p>
        </p:txBody>
      </p:sp>
      <p:sp>
        <p:nvSpPr>
          <p:cNvPr id="4" name="角丸四角形 3"/>
          <p:cNvSpPr/>
          <p:nvPr/>
        </p:nvSpPr>
        <p:spPr>
          <a:xfrm>
            <a:off x="3152800" y="2535686"/>
            <a:ext cx="1229013" cy="432048"/>
          </a:xfrm>
          <a:prstGeom prst="roundRect">
            <a:avLst>
              <a:gd name="adj" fmla="val 9547"/>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a:solidFill>
                  <a:schemeClr val="tx1"/>
                </a:solidFill>
                <a:latin typeface="Arial" panose="020B0604020202020204" pitchFamily="34" charset="0"/>
                <a:ea typeface="ＭＳ Ｐゴシック" panose="020B0600070205080204" pitchFamily="50" charset="-128"/>
              </a:rPr>
              <a:t>公的医療機関</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角丸四角形 36"/>
          <p:cNvSpPr/>
          <p:nvPr/>
        </p:nvSpPr>
        <p:spPr>
          <a:xfrm>
            <a:off x="4658933" y="2535685"/>
            <a:ext cx="1230171" cy="432048"/>
          </a:xfrm>
          <a:prstGeom prst="roundRect">
            <a:avLst>
              <a:gd name="adj" fmla="val 8657"/>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rPr>
              <a:t>政府と契約を結んだ</a:t>
            </a:r>
            <a:br>
              <a:rPr lang="en-US" altLang="ja-JP" sz="1000" dirty="0">
                <a:solidFill>
                  <a:schemeClr val="tx1"/>
                </a:solidFill>
                <a:latin typeface="Arial" panose="020B0604020202020204" pitchFamily="34" charset="0"/>
                <a:ea typeface="ＭＳ Ｐゴシック" panose="020B0600070205080204" pitchFamily="50" charset="-128"/>
              </a:rPr>
            </a:br>
            <a:r>
              <a:rPr lang="ja-JP" altLang="en-US" sz="1200" b="1" dirty="0">
                <a:solidFill>
                  <a:schemeClr val="tx1"/>
                </a:solidFill>
                <a:latin typeface="Arial" panose="020B0604020202020204" pitchFamily="34" charset="0"/>
                <a:ea typeface="ＭＳ Ｐゴシック" panose="020B0600070205080204" pitchFamily="50" charset="-128"/>
              </a:rPr>
              <a:t>民間医療機関</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10"/>
          <p:cNvGrpSpPr/>
          <p:nvPr/>
        </p:nvGrpSpPr>
        <p:grpSpPr>
          <a:xfrm>
            <a:off x="6425419" y="2098020"/>
            <a:ext cx="985575" cy="985575"/>
            <a:chOff x="6049558" y="3728246"/>
            <a:chExt cx="1017383" cy="1017383"/>
          </a:xfrm>
        </p:grpSpPr>
        <p:sp>
          <p:nvSpPr>
            <p:cNvPr id="30" name="角丸四角形 29"/>
            <p:cNvSpPr/>
            <p:nvPr/>
          </p:nvSpPr>
          <p:spPr>
            <a:xfrm>
              <a:off x="6049558" y="3728246"/>
              <a:ext cx="1017383" cy="1017383"/>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square" lIns="0" tIns="0" rIns="0" bIns="0" anchor="ctr" anchorCtr="0">
              <a:noAutofit/>
            </a:bodyPr>
            <a:lstStyle/>
            <a:p>
              <a:pPr algn="ctr" fontAlgn="b">
                <a:lnSpc>
                  <a:spcPts val="1800"/>
                </a:lnSpc>
                <a:spcAft>
                  <a:spcPts val="300"/>
                </a:spcAft>
                <a:buClr>
                  <a:srgbClr val="3D6AA7"/>
                </a:buClr>
              </a:pPr>
              <a:r>
                <a:rPr lang="ja-JP" altLang="en-US" sz="1050" b="1" dirty="0">
                  <a:latin typeface="Arial Black" panose="020B0A04020102020204" pitchFamily="34" charset="0"/>
                  <a:ea typeface="ＭＳ Ｐゴシック" panose="020B0600070205080204" pitchFamily="50" charset="-128"/>
                  <a:cs typeface="Arial" panose="020B0604020202020204" pitchFamily="34" charset="0"/>
                </a:rPr>
                <a:t>国民の</a:t>
              </a:r>
              <a:endParaRPr lang="en-US" altLang="ja-JP" sz="1050" b="1" dirty="0">
                <a:latin typeface="Arial Black" panose="020B0A04020102020204" pitchFamily="34" charset="0"/>
                <a:ea typeface="ＭＳ Ｐゴシック" panose="020B0600070205080204" pitchFamily="50" charset="-128"/>
                <a:cs typeface="Arial" panose="020B0604020202020204" pitchFamily="34" charset="0"/>
              </a:endParaRPr>
            </a:p>
            <a:p>
              <a:pPr algn="ctr" fontAlgn="b">
                <a:lnSpc>
                  <a:spcPts val="1800"/>
                </a:lnSpc>
                <a:spcAft>
                  <a:spcPts val="300"/>
                </a:spcAft>
                <a:buClr>
                  <a:srgbClr val="3D6AA7"/>
                </a:buClr>
              </a:pPr>
              <a:r>
                <a:rPr lang="ja-JP" altLang="en-US" sz="1000" b="1" dirty="0">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ja-JP" altLang="en-US" sz="1050" b="1" dirty="0">
                  <a:latin typeface="Arial Black" panose="020B0A04020102020204" pitchFamily="34" charset="0"/>
                  <a:ea typeface="ＭＳ Ｐゴシック" panose="020B0600070205080204" pitchFamily="50" charset="-128"/>
                  <a:cs typeface="Arial" panose="020B0604020202020204" pitchFamily="34" charset="0"/>
                </a:rPr>
                <a:t>  　　　</a:t>
              </a:r>
              <a:r>
                <a:rPr lang="ja-JP" altLang="en-US" sz="1000" b="1" dirty="0">
                  <a:latin typeface="HGP創英角ｺﾞｼｯｸUB" panose="020B0900000000000000" pitchFamily="50" charset="-128"/>
                  <a:ea typeface="HGP創英角ｺﾞｼｯｸUB" panose="020B0900000000000000" pitchFamily="50" charset="-128"/>
                  <a:cs typeface="Arial" panose="020B0604020202020204" pitchFamily="34" charset="0"/>
                </a:rPr>
                <a:t>％</a:t>
              </a:r>
              <a:br>
                <a:rPr lang="en-US" altLang="ja-JP" sz="105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50" b="1" dirty="0">
                  <a:latin typeface="Arial Black" panose="020B0A04020102020204" pitchFamily="34" charset="0"/>
                  <a:ea typeface="ＭＳ Ｐゴシック" panose="020B0600070205080204" pitchFamily="50" charset="-128"/>
                  <a:cs typeface="Arial" panose="020B0604020202020204" pitchFamily="34" charset="0"/>
                </a:rPr>
                <a:t>が利用</a:t>
              </a:r>
            </a:p>
          </p:txBody>
        </p:sp>
        <p:sp>
          <p:nvSpPr>
            <p:cNvPr id="44" name="正方形/長方形 43"/>
            <p:cNvSpPr/>
            <p:nvPr/>
          </p:nvSpPr>
          <p:spPr>
            <a:xfrm>
              <a:off x="6388347" y="4089911"/>
              <a:ext cx="314402" cy="317710"/>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000" spc="-150" dirty="0">
                  <a:latin typeface="Arial Black" panose="020B0A04020102020204" pitchFamily="34" charset="0"/>
                  <a:ea typeface="ＭＳ Ｐゴシック" panose="020B0600070205080204" pitchFamily="50" charset="-128"/>
                  <a:cs typeface="Arial" panose="020B0604020202020204" pitchFamily="34" charset="0"/>
                </a:rPr>
                <a:t>77</a:t>
              </a:r>
            </a:p>
          </p:txBody>
        </p:sp>
      </p:grpSp>
      <p:graphicFrame>
        <p:nvGraphicFramePr>
          <p:cNvPr id="13" name="表 12"/>
          <p:cNvGraphicFramePr>
            <a:graphicFrameLocks noGrp="1"/>
          </p:cNvGraphicFramePr>
          <p:nvPr>
            <p:extLst>
              <p:ext uri="{D42A27DB-BD31-4B8C-83A1-F6EECF244321}">
                <p14:modId xmlns:p14="http://schemas.microsoft.com/office/powerpoint/2010/main" val="2484859284"/>
              </p:ext>
            </p:extLst>
          </p:nvPr>
        </p:nvGraphicFramePr>
        <p:xfrm>
          <a:off x="1421578" y="3560863"/>
          <a:ext cx="7851902" cy="1164282"/>
        </p:xfrm>
        <a:graphic>
          <a:graphicData uri="http://schemas.openxmlformats.org/drawingml/2006/table">
            <a:tbl>
              <a:tblPr firstRow="1" bandRow="1">
                <a:tableStyleId>{5C22544A-7EE6-4342-B048-85BDC9FD1C3A}</a:tableStyleId>
              </a:tblPr>
              <a:tblGrid>
                <a:gridCol w="621950">
                  <a:extLst>
                    <a:ext uri="{9D8B030D-6E8A-4147-A177-3AD203B41FA5}">
                      <a16:colId xmlns:a16="http://schemas.microsoft.com/office/drawing/2014/main" val="20000"/>
                    </a:ext>
                  </a:extLst>
                </a:gridCol>
                <a:gridCol w="7229952">
                  <a:extLst>
                    <a:ext uri="{9D8B030D-6E8A-4147-A177-3AD203B41FA5}">
                      <a16:colId xmlns:a16="http://schemas.microsoft.com/office/drawing/2014/main" val="20001"/>
                    </a:ext>
                  </a:extLst>
                </a:gridCol>
              </a:tblGrid>
              <a:tr h="50990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b="0" baseline="0" dirty="0">
                          <a:solidFill>
                            <a:schemeClr val="tx1"/>
                          </a:solidFill>
                          <a:latin typeface="Arial" panose="020B0604020202020204" pitchFamily="34" charset="0"/>
                          <a:ea typeface="ＭＳ Ｐゴシック" panose="020B0600070205080204" pitchFamily="50" charset="-128"/>
                        </a:rPr>
                        <a:t>連邦</a:t>
                      </a:r>
                    </a:p>
                  </a:txBody>
                  <a:tcPr anchor="ctr">
                    <a:lnL w="12700" cmpd="sng">
                      <a:noFill/>
                    </a:lnL>
                    <a:lnT w="12700" cmpd="sng">
                      <a:noFill/>
                    </a:lnT>
                    <a:lnB w="12700" cap="flat" cmpd="sng" algn="ctr">
                      <a:solidFill>
                        <a:schemeClr val="bg1"/>
                      </a:solidFill>
                      <a:prstDash val="solid"/>
                      <a:round/>
                      <a:headEnd type="none" w="med" len="med"/>
                      <a:tailEnd type="none" w="med" len="med"/>
                    </a:lnB>
                    <a:solidFill>
                      <a:srgbClr val="CCDAEC"/>
                    </a:solidFill>
                  </a:tcPr>
                </a:tc>
                <a:tc>
                  <a:txBody>
                    <a:bodyPr/>
                    <a:lstStyle/>
                    <a:p>
                      <a:pPr marL="0" marR="0" indent="0" algn="l" defTabSz="914400" rtl="0" eaLnBrk="1" fontAlgn="auto" latinLnBrk="0" hangingPunct="1">
                        <a:lnSpc>
                          <a:spcPct val="113000"/>
                        </a:lnSpc>
                        <a:spcBef>
                          <a:spcPts val="0"/>
                        </a:spcBef>
                        <a:spcAft>
                          <a:spcPts val="0"/>
                        </a:spcAft>
                        <a:buClrTx/>
                        <a:buSzTx/>
                        <a:buFontTx/>
                        <a:buNone/>
                        <a:tabLst/>
                        <a:defRPr/>
                      </a:pPr>
                      <a:r>
                        <a:rPr lang="ja-JP" altLang="en-US" sz="1050" b="0" spc="20" baseline="0" dirty="0">
                          <a:solidFill>
                            <a:schemeClr val="tx1"/>
                          </a:solidFill>
                          <a:latin typeface="Arial" panose="020B0604020202020204" pitchFamily="34" charset="0"/>
                          <a:ea typeface="ＭＳ Ｐゴシック" panose="020B0600070205080204" pitchFamily="50" charset="-128"/>
                        </a:rPr>
                        <a:t>国家予算は一般会計と社会保障会計から成り、</a:t>
                      </a:r>
                      <a:r>
                        <a:rPr lang="en-US" altLang="ja-JP" sz="1050" b="0" spc="20" baseline="0" dirty="0">
                          <a:solidFill>
                            <a:schemeClr val="tx1"/>
                          </a:solidFill>
                          <a:latin typeface="Arial" panose="020B0604020202020204" pitchFamily="34" charset="0"/>
                          <a:ea typeface="ＭＳ Ｐゴシック" panose="020B0600070205080204" pitchFamily="50" charset="-128"/>
                        </a:rPr>
                        <a:t>SUS</a:t>
                      </a:r>
                      <a:r>
                        <a:rPr lang="ja-JP" altLang="en-US" sz="1050" b="0" spc="20" baseline="0" dirty="0">
                          <a:solidFill>
                            <a:schemeClr val="tx1"/>
                          </a:solidFill>
                          <a:latin typeface="Arial" panose="020B0604020202020204" pitchFamily="34" charset="0"/>
                          <a:ea typeface="ＭＳ Ｐゴシック" panose="020B0600070205080204" pitchFamily="50" charset="-128"/>
                        </a:rPr>
                        <a:t>に関する予算は前年実績額に</a:t>
                      </a:r>
                      <a:br>
                        <a:rPr lang="en-US" altLang="ja-JP" sz="1050" b="0" spc="20" baseline="0" dirty="0">
                          <a:solidFill>
                            <a:schemeClr val="tx1"/>
                          </a:solidFill>
                          <a:latin typeface="Arial" panose="020B0604020202020204" pitchFamily="34" charset="0"/>
                          <a:ea typeface="ＭＳ Ｐゴシック" panose="020B0600070205080204" pitchFamily="50" charset="-128"/>
                        </a:rPr>
                      </a:br>
                      <a:r>
                        <a:rPr kumimoji="1" lang="ja-JP" altLang="en-US" sz="1000" b="0" kern="1200" spc="20" dirty="0">
                          <a:solidFill>
                            <a:schemeClr val="tx1"/>
                          </a:solidFill>
                          <a:latin typeface="Arial Black" panose="020B0A04020102020204" pitchFamily="34" charset="0"/>
                          <a:ea typeface="HGP創英角ｺﾞｼｯｸUB" panose="020B0900000000000000" pitchFamily="50" charset="-128"/>
                          <a:cs typeface="+mn-cs"/>
                        </a:rPr>
                        <a:t>名目</a:t>
                      </a:r>
                      <a:r>
                        <a:rPr kumimoji="1" lang="en-US" altLang="ja-JP" sz="1000" b="0" kern="1200" spc="20" dirty="0">
                          <a:solidFill>
                            <a:schemeClr val="tx1"/>
                          </a:solidFill>
                          <a:latin typeface="Arial Black" panose="020B0A04020102020204" pitchFamily="34" charset="0"/>
                          <a:ea typeface="HGP創英角ｺﾞｼｯｸUB" panose="020B0900000000000000" pitchFamily="50" charset="-128"/>
                          <a:cs typeface="+mn-cs"/>
                        </a:rPr>
                        <a:t>GDP</a:t>
                      </a:r>
                      <a:r>
                        <a:rPr kumimoji="1" lang="ja-JP" altLang="en-US" sz="1000" b="0" kern="1200" spc="20" dirty="0">
                          <a:solidFill>
                            <a:schemeClr val="tx1"/>
                          </a:solidFill>
                          <a:latin typeface="Arial Black" panose="020B0A04020102020204" pitchFamily="34" charset="0"/>
                          <a:ea typeface="HGP創英角ｺﾞｼｯｸUB" panose="020B0900000000000000" pitchFamily="50" charset="-128"/>
                          <a:cs typeface="+mn-cs"/>
                        </a:rPr>
                        <a:t>の変化率を乗じて算出した額</a:t>
                      </a:r>
                      <a:r>
                        <a:rPr lang="ja-JP" altLang="en-US" sz="1050" b="0" spc="20" baseline="0" dirty="0">
                          <a:solidFill>
                            <a:schemeClr val="tx1"/>
                          </a:solidFill>
                          <a:latin typeface="Arial" panose="020B0604020202020204" pitchFamily="34" charset="0"/>
                          <a:ea typeface="ＭＳ Ｐゴシック" panose="020B0600070205080204" pitchFamily="50" charset="-128"/>
                        </a:rPr>
                        <a:t>を社会保障会計から歳出している。</a:t>
                      </a:r>
                    </a:p>
                  </a:txBody>
                  <a:tcPr marL="144000" anchor="ctr">
                    <a:lnT w="12700" cmpd="sng">
                      <a:noFill/>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32718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b="0" baseline="0" dirty="0">
                          <a:solidFill>
                            <a:schemeClr val="tx1"/>
                          </a:solidFill>
                          <a:latin typeface="Arial" panose="020B0604020202020204" pitchFamily="34" charset="0"/>
                          <a:ea typeface="ＭＳ Ｐゴシック" panose="020B0600070205080204" pitchFamily="50" charset="-128"/>
                        </a:rPr>
                        <a:t>州</a:t>
                      </a:r>
                    </a:p>
                  </a:txBody>
                  <a:tcPr anchor="ctr">
                    <a:lnL w="38100" cmpd="sng">
                      <a:noFill/>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DAE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kern="1200" dirty="0">
                          <a:solidFill>
                            <a:schemeClr val="tx1"/>
                          </a:solidFill>
                          <a:latin typeface="HGP創英角ｺﾞｼｯｸUB" panose="020B0900000000000000" pitchFamily="50" charset="-128"/>
                          <a:ea typeface="HGP創英角ｺﾞｼｯｸUB" panose="020B0900000000000000" pitchFamily="50" charset="-128"/>
                          <a:cs typeface="+mn-cs"/>
                        </a:rPr>
                        <a:t>州独自財源に連邦からの移転を加えた総歳入に</a:t>
                      </a:r>
                      <a:r>
                        <a:rPr kumimoji="1" lang="en-US" altLang="ja-JP" sz="1000" kern="1200" dirty="0">
                          <a:solidFill>
                            <a:schemeClr val="tx1"/>
                          </a:solidFill>
                          <a:latin typeface="Arial Black" panose="020B0A04020102020204" pitchFamily="34" charset="0"/>
                          <a:ea typeface="HGP創英角ｺﾞｼｯｸUB" panose="020B0900000000000000" pitchFamily="50" charset="-128"/>
                          <a:cs typeface="+mn-cs"/>
                        </a:rPr>
                        <a:t>0.12</a:t>
                      </a:r>
                      <a:r>
                        <a:rPr kumimoji="1" lang="ja-JP" altLang="en-US" sz="1000" kern="1200" dirty="0">
                          <a:solidFill>
                            <a:schemeClr val="tx1"/>
                          </a:solidFill>
                          <a:latin typeface="HGP創英角ｺﾞｼｯｸUB" panose="020B0900000000000000" pitchFamily="50" charset="-128"/>
                          <a:ea typeface="HGP創英角ｺﾞｼｯｸUB" panose="020B0900000000000000" pitchFamily="50" charset="-128"/>
                          <a:cs typeface="+mn-cs"/>
                        </a:rPr>
                        <a:t>を乗じた額</a:t>
                      </a:r>
                      <a:r>
                        <a:rPr kumimoji="1" lang="ja-JP" altLang="en-US" sz="1050" b="0" kern="1200" baseline="0" dirty="0">
                          <a:solidFill>
                            <a:schemeClr val="tx1"/>
                          </a:solidFill>
                          <a:latin typeface="Arial" panose="020B0604020202020204" pitchFamily="34" charset="0"/>
                          <a:ea typeface="ＭＳ Ｐゴシック" panose="020B0600070205080204" pitchFamily="50" charset="-128"/>
                          <a:cs typeface="+mn-cs"/>
                        </a:rPr>
                        <a:t>を</a:t>
                      </a:r>
                      <a:r>
                        <a:rPr kumimoji="1" lang="en-US" altLang="ja-JP" sz="1050" b="0" kern="1200" baseline="0" dirty="0">
                          <a:solidFill>
                            <a:schemeClr val="tx1"/>
                          </a:solidFill>
                          <a:latin typeface="Arial" panose="020B0604020202020204" pitchFamily="34" charset="0"/>
                          <a:ea typeface="ＭＳ Ｐゴシック" panose="020B0600070205080204" pitchFamily="50" charset="-128"/>
                          <a:cs typeface="+mn-cs"/>
                        </a:rPr>
                        <a:t>SUS</a:t>
                      </a:r>
                      <a:r>
                        <a:rPr kumimoji="1" lang="ja-JP" altLang="en-US" sz="1050" b="0" kern="1200" baseline="0" dirty="0" err="1">
                          <a:solidFill>
                            <a:schemeClr val="tx1"/>
                          </a:solidFill>
                          <a:latin typeface="Arial" panose="020B0604020202020204" pitchFamily="34" charset="0"/>
                          <a:ea typeface="ＭＳ Ｐゴシック" panose="020B0600070205080204" pitchFamily="50" charset="-128"/>
                          <a:cs typeface="+mn-cs"/>
                        </a:rPr>
                        <a:t>の拠</a:t>
                      </a:r>
                      <a:r>
                        <a:rPr kumimoji="1" lang="ja-JP" altLang="en-US" sz="1050" b="0" kern="1200" baseline="0" dirty="0">
                          <a:solidFill>
                            <a:schemeClr val="tx1"/>
                          </a:solidFill>
                          <a:latin typeface="Arial" panose="020B0604020202020204" pitchFamily="34" charset="0"/>
                          <a:ea typeface="ＭＳ Ｐゴシック" panose="020B0600070205080204" pitchFamily="50" charset="-128"/>
                          <a:cs typeface="+mn-cs"/>
                        </a:rPr>
                        <a:t>出する</a:t>
                      </a:r>
                      <a:r>
                        <a:rPr lang="ja-JP" altLang="en-US" sz="1050" b="0" baseline="0" dirty="0">
                          <a:solidFill>
                            <a:schemeClr val="tx1"/>
                          </a:solidFill>
                          <a:latin typeface="Arial" panose="020B0604020202020204" pitchFamily="34" charset="0"/>
                          <a:ea typeface="ＭＳ Ｐゴシック" panose="020B0600070205080204" pitchFamily="50" charset="-128"/>
                        </a:rPr>
                        <a:t>ことが定められている。</a:t>
                      </a:r>
                    </a:p>
                  </a:txBody>
                  <a:tcPr marL="14400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2718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b="0" baseline="0" dirty="0">
                          <a:solidFill>
                            <a:schemeClr val="tx1"/>
                          </a:solidFill>
                          <a:latin typeface="Arial" panose="020B0604020202020204" pitchFamily="34" charset="0"/>
                          <a:ea typeface="ＭＳ Ｐゴシック" panose="020B0600070205080204" pitchFamily="50" charset="-128"/>
                        </a:rPr>
                        <a:t>市</a:t>
                      </a:r>
                    </a:p>
                  </a:txBody>
                  <a:tcPr anchor="ctr">
                    <a:lnL w="38100" cmpd="sng">
                      <a:noFill/>
                    </a:lnL>
                    <a:lnT w="12700" cap="flat" cmpd="sng" algn="ctr">
                      <a:solidFill>
                        <a:schemeClr val="bg1"/>
                      </a:solidFill>
                      <a:prstDash val="solid"/>
                      <a:round/>
                      <a:headEnd type="none" w="med" len="med"/>
                      <a:tailEnd type="none" w="med" len="med"/>
                    </a:lnT>
                    <a:lnB w="12700" cmpd="sng">
                      <a:noFill/>
                    </a:lnB>
                    <a:solidFill>
                      <a:srgbClr val="CCDAEC"/>
                    </a:solidFill>
                  </a:tcPr>
                </a:tc>
                <a:tc>
                  <a:txBody>
                    <a:bodyPr/>
                    <a:lstStyle/>
                    <a:p>
                      <a:pPr marL="0" indent="0">
                        <a:buClr>
                          <a:srgbClr val="3D6AA7"/>
                        </a:buClr>
                        <a:buSzPct val="80000"/>
                        <a:buFont typeface="Wingdings" panose="05000000000000000000" pitchFamily="2" charset="2"/>
                        <a:buNone/>
                      </a:pPr>
                      <a:r>
                        <a:rPr kumimoji="1" lang="ja-JP" altLang="en-US" sz="1000" kern="1200" dirty="0">
                          <a:solidFill>
                            <a:schemeClr val="tx1"/>
                          </a:solidFill>
                          <a:latin typeface="HGP創英角ｺﾞｼｯｸUB" panose="020B0900000000000000" pitchFamily="50" charset="-128"/>
                          <a:ea typeface="HGP創英角ｺﾞｼｯｸUB" panose="020B0900000000000000" pitchFamily="50" charset="-128"/>
                          <a:cs typeface="+mn-cs"/>
                        </a:rPr>
                        <a:t>市の独自財源に連邦・州からの移転を加えた総歳入に</a:t>
                      </a:r>
                      <a:r>
                        <a:rPr kumimoji="1" lang="en-US" altLang="ja-JP" sz="1000" kern="1200" dirty="0">
                          <a:solidFill>
                            <a:schemeClr val="tx1"/>
                          </a:solidFill>
                          <a:latin typeface="Arial Black" panose="020B0A04020102020204" pitchFamily="34" charset="0"/>
                          <a:ea typeface="HGP創英角ｺﾞｼｯｸUB" panose="020B0900000000000000" pitchFamily="50" charset="-128"/>
                          <a:cs typeface="+mn-cs"/>
                        </a:rPr>
                        <a:t>0.15</a:t>
                      </a:r>
                      <a:r>
                        <a:rPr kumimoji="1" lang="ja-JP" altLang="en-US" sz="1000" kern="1200" dirty="0">
                          <a:solidFill>
                            <a:schemeClr val="tx1"/>
                          </a:solidFill>
                          <a:latin typeface="HGP創英角ｺﾞｼｯｸUB" panose="020B0900000000000000" pitchFamily="50" charset="-128"/>
                          <a:ea typeface="HGP創英角ｺﾞｼｯｸUB" panose="020B0900000000000000" pitchFamily="50" charset="-128"/>
                          <a:cs typeface="+mn-cs"/>
                        </a:rPr>
                        <a:t>を乗じた額</a:t>
                      </a:r>
                      <a:r>
                        <a:rPr kumimoji="1" lang="ja-JP" altLang="en-US" sz="1050" b="0" kern="1200" baseline="0" dirty="0">
                          <a:solidFill>
                            <a:schemeClr val="tx1"/>
                          </a:solidFill>
                          <a:latin typeface="Arial" panose="020B0604020202020204" pitchFamily="34" charset="0"/>
                          <a:ea typeface="ＭＳ Ｐゴシック" panose="020B0600070205080204" pitchFamily="50" charset="-128"/>
                          <a:cs typeface="+mn-cs"/>
                        </a:rPr>
                        <a:t>を拠出するとされている</a:t>
                      </a:r>
                      <a:r>
                        <a:rPr lang="ja-JP" altLang="en-US" sz="1050" b="0" baseline="0" dirty="0">
                          <a:solidFill>
                            <a:schemeClr val="tx1"/>
                          </a:solidFill>
                          <a:latin typeface="Arial" panose="020B0604020202020204" pitchFamily="34" charset="0"/>
                          <a:ea typeface="ＭＳ Ｐゴシック" panose="020B0600070205080204" pitchFamily="50" charset="-128"/>
                        </a:rPr>
                        <a:t>。</a:t>
                      </a:r>
                    </a:p>
                  </a:txBody>
                  <a:tcPr marL="144000" anchor="ctr">
                    <a:lnT w="12700" cap="flat" cmpd="sng" algn="ctr">
                      <a:solidFill>
                        <a:schemeClr val="bg1">
                          <a:lumMod val="75000"/>
                        </a:schemeClr>
                      </a:solidFill>
                      <a:prstDash val="solid"/>
                      <a:round/>
                      <a:headEnd type="none" w="med" len="med"/>
                      <a:tailEnd type="none" w="med" len="med"/>
                    </a:lnT>
                    <a:lnB w="12700" cmpd="sng">
                      <a:noFill/>
                    </a:lnB>
                    <a:solidFill>
                      <a:srgbClr val="FFFFFF"/>
                    </a:solidFill>
                  </a:tcPr>
                </a:tc>
                <a:extLst>
                  <a:ext uri="{0D108BD9-81ED-4DB2-BD59-A6C34878D82A}">
                    <a16:rowId xmlns:a16="http://schemas.microsoft.com/office/drawing/2014/main" val="10002"/>
                  </a:ext>
                </a:extLst>
              </a:tr>
            </a:tbl>
          </a:graphicData>
        </a:graphic>
      </p:graphicFrame>
      <p:sp>
        <p:nvSpPr>
          <p:cNvPr id="54" name="角丸四角形 53"/>
          <p:cNvSpPr/>
          <p:nvPr/>
        </p:nvSpPr>
        <p:spPr>
          <a:xfrm>
            <a:off x="632520" y="4869150"/>
            <a:ext cx="1006016" cy="1584179"/>
          </a:xfrm>
          <a:prstGeom prst="roundRect">
            <a:avLst>
              <a:gd name="adj" fmla="val 6467"/>
            </a:avLst>
          </a:prstGeom>
          <a:solidFill>
            <a:srgbClr val="5F8AC3"/>
          </a:solidFill>
          <a:ln w="12700" cap="flat" cmpd="sng" algn="ctr">
            <a:solidFill>
              <a:srgbClr val="5F8AC3"/>
            </a:solidFill>
            <a:prstDash val="solid"/>
            <a:round/>
            <a:headEnd type="none" w="med" len="med"/>
            <a:tailEnd type="none" w="med" len="med"/>
          </a:ln>
        </p:spPr>
        <p:txBody>
          <a:bodyPr wrap="square" lIns="162000" rIns="144000" rtlCol="0" anchor="ctr" anchorCtr="0">
            <a:noAutofit/>
          </a:bodyPr>
          <a:lstStyle/>
          <a:p>
            <a:pPr>
              <a:buClr>
                <a:srgbClr val="3D6AA7"/>
              </a:buClr>
              <a:buSzPct val="80000"/>
            </a:pPr>
            <a:r>
              <a:rPr lang="ja-JP" altLang="en-US" sz="1400" b="1" dirty="0">
                <a:solidFill>
                  <a:schemeClr val="bg1"/>
                </a:solidFill>
                <a:latin typeface="Arial" panose="020B0604020202020204" pitchFamily="34" charset="0"/>
                <a:ea typeface="ＭＳ Ｐゴシック" panose="020B0600070205080204" pitchFamily="50" charset="-128"/>
              </a:rPr>
              <a:t>課 題</a:t>
            </a:r>
            <a:endParaRPr lang="en-US" altLang="ja-JP" sz="1400" b="1" dirty="0">
              <a:solidFill>
                <a:schemeClr val="bg1"/>
              </a:solidFill>
              <a:latin typeface="Arial" panose="020B0604020202020204" pitchFamily="34" charset="0"/>
              <a:ea typeface="ＭＳ Ｐゴシック" panose="020B0600070205080204" pitchFamily="50" charset="-128"/>
            </a:endParaRPr>
          </a:p>
        </p:txBody>
      </p:sp>
      <p:sp>
        <p:nvSpPr>
          <p:cNvPr id="108" name="片側の 2 つの角を丸めた四角形 107"/>
          <p:cNvSpPr/>
          <p:nvPr/>
        </p:nvSpPr>
        <p:spPr>
          <a:xfrm rot="5400000">
            <a:off x="4555439" y="1735295"/>
            <a:ext cx="1584176" cy="7851905"/>
          </a:xfrm>
          <a:prstGeom prst="round2SameRect">
            <a:avLst>
              <a:gd name="adj1" fmla="val 4884"/>
              <a:gd name="adj2" fmla="val 0"/>
            </a:avLst>
          </a:prstGeom>
          <a:solidFill>
            <a:srgbClr val="FFFFFF"/>
          </a:solidFill>
          <a:ln w="12700" cap="flat" cmpd="sng" algn="ctr">
            <a:solidFill>
              <a:srgbClr val="5F8AC3"/>
            </a:solidFill>
            <a:prstDash val="solid"/>
            <a:round/>
            <a:headEnd type="none" w="med" len="med"/>
            <a:tailEnd type="none" w="med" len="med"/>
          </a:ln>
        </p:spPr>
        <p:txBody>
          <a:bodyPr vert="vert270" wrap="square" lIns="36000" tIns="36000" rIns="36000" bIns="72000" rtlCol="0" anchor="ctr" anchorCtr="0">
            <a:noAutofit/>
          </a:bodyPr>
          <a:lstStyle/>
          <a:p>
            <a:pPr marL="260350" indent="-130175">
              <a:lnSpc>
                <a:spcPct val="113000"/>
              </a:lnSpc>
              <a:spcAft>
                <a:spcPts val="200"/>
              </a:spcAft>
              <a:buClr>
                <a:srgbClr val="3D6AA7"/>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rPr>
              <a:t>公的医療機関、および、政府と契約している民間医療機関が少ない。そのため、これらの医療機関が混雑している。</a:t>
            </a:r>
            <a:endParaRPr lang="en-US" altLang="ja-JP" sz="1050" dirty="0">
              <a:latin typeface="Arial" panose="020B0604020202020204" pitchFamily="34" charset="0"/>
              <a:ea typeface="ＭＳ Ｐゴシック" panose="020B0600070205080204" pitchFamily="50" charset="-128"/>
            </a:endParaRPr>
          </a:p>
          <a:p>
            <a:pPr marL="260350" indent="-130175">
              <a:lnSpc>
                <a:spcPct val="113000"/>
              </a:lnSpc>
              <a:spcAft>
                <a:spcPts val="200"/>
              </a:spcAft>
              <a:buClr>
                <a:srgbClr val="3D6AA7"/>
              </a:buClr>
              <a:buSzPct val="80000"/>
              <a:buFont typeface="Wingdings" panose="05000000000000000000" pitchFamily="2" charset="2"/>
              <a:buChar char="l"/>
            </a:pPr>
            <a:endParaRPr lang="en-US" altLang="ja-JP" sz="1050" dirty="0">
              <a:latin typeface="Arial" panose="020B0604020202020204" pitchFamily="34" charset="0"/>
              <a:ea typeface="ＭＳ Ｐゴシック" panose="020B0600070205080204" pitchFamily="50" charset="-128"/>
            </a:endParaRPr>
          </a:p>
          <a:p>
            <a:pPr marL="260350" indent="-130175">
              <a:lnSpc>
                <a:spcPct val="113000"/>
              </a:lnSpc>
              <a:spcAft>
                <a:spcPts val="200"/>
              </a:spcAft>
              <a:buClr>
                <a:srgbClr val="3D6AA7"/>
              </a:buClr>
              <a:buSzPct val="80000"/>
              <a:buFont typeface="Wingdings" panose="05000000000000000000" pitchFamily="2" charset="2"/>
              <a:buChar char="l"/>
            </a:pPr>
            <a:endParaRPr lang="en-US" altLang="ja-JP" sz="1050" dirty="0">
              <a:latin typeface="Arial" panose="020B0604020202020204" pitchFamily="34" charset="0"/>
              <a:ea typeface="ＭＳ Ｐゴシック" panose="020B0600070205080204" pitchFamily="50" charset="-128"/>
            </a:endParaRPr>
          </a:p>
          <a:p>
            <a:pPr marL="260350" indent="-130175">
              <a:lnSpc>
                <a:spcPct val="113000"/>
              </a:lnSpc>
              <a:spcAft>
                <a:spcPts val="200"/>
              </a:spcAft>
              <a:buClr>
                <a:srgbClr val="3D6AA7"/>
              </a:buClr>
              <a:buSzPct val="80000"/>
              <a:buFont typeface="Wingdings" panose="05000000000000000000" pitchFamily="2" charset="2"/>
              <a:buChar char="l"/>
            </a:pPr>
            <a:endParaRPr lang="en-US" altLang="ja-JP" sz="1050" dirty="0">
              <a:latin typeface="Arial" panose="020B0604020202020204" pitchFamily="34" charset="0"/>
              <a:ea typeface="ＭＳ Ｐゴシック" panose="020B0600070205080204" pitchFamily="50" charset="-128"/>
            </a:endParaRPr>
          </a:p>
          <a:p>
            <a:pPr marL="260350" indent="-130175">
              <a:lnSpc>
                <a:spcPct val="113000"/>
              </a:lnSpc>
              <a:spcBef>
                <a:spcPts val="400"/>
              </a:spcBef>
              <a:spcAft>
                <a:spcPts val="200"/>
              </a:spcAft>
              <a:buClr>
                <a:srgbClr val="3D6AA7"/>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rPr>
              <a:t>SUS</a:t>
            </a:r>
            <a:r>
              <a:rPr lang="ja-JP" altLang="en-US" sz="1050" dirty="0">
                <a:latin typeface="Arial" panose="020B0604020202020204" pitchFamily="34" charset="0"/>
                <a:ea typeface="ＭＳ Ｐゴシック" panose="020B0600070205080204" pitchFamily="50" charset="-128"/>
              </a:rPr>
              <a:t>によって政府から医療機関に支払われる給付額は、民間保険の給付額の平均より低い。</a:t>
            </a:r>
            <a:endParaRPr lang="en-US" altLang="ja-JP" sz="1050" dirty="0">
              <a:latin typeface="Arial" panose="020B0604020202020204" pitchFamily="34" charset="0"/>
              <a:ea typeface="ＭＳ Ｐゴシック" panose="020B0600070205080204" pitchFamily="50" charset="-128"/>
            </a:endParaRPr>
          </a:p>
          <a:p>
            <a:pPr lvl="1" indent="-134938">
              <a:lnSpc>
                <a:spcPct val="113000"/>
              </a:lnSpc>
              <a:spcAft>
                <a:spcPts val="200"/>
              </a:spcAft>
              <a:buClr>
                <a:srgbClr val="868686"/>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rPr>
              <a:t>医療機関によっては、</a:t>
            </a:r>
            <a:r>
              <a:rPr lang="en-US" altLang="ja-JP" sz="1050" dirty="0">
                <a:latin typeface="Arial" panose="020B0604020202020204" pitchFamily="34" charset="0"/>
                <a:ea typeface="ＭＳ Ｐゴシック" panose="020B0600070205080204" pitchFamily="50" charset="-128"/>
              </a:rPr>
              <a:t>SUS</a:t>
            </a:r>
            <a:r>
              <a:rPr lang="ja-JP" altLang="en-US" sz="1050" dirty="0">
                <a:latin typeface="Arial" panose="020B0604020202020204" pitchFamily="34" charset="0"/>
                <a:ea typeface="ＭＳ Ｐゴシック" panose="020B0600070205080204" pitchFamily="50" charset="-128"/>
              </a:rPr>
              <a:t>を利用する患者に医療サービスを提供することで、赤字になることもる。</a:t>
            </a:r>
          </a:p>
        </p:txBody>
      </p:sp>
      <p:sp>
        <p:nvSpPr>
          <p:cNvPr id="48" name="片側の 2 つの角を丸めた四角形 47"/>
          <p:cNvSpPr/>
          <p:nvPr/>
        </p:nvSpPr>
        <p:spPr>
          <a:xfrm rot="5400000">
            <a:off x="4766001" y="216437"/>
            <a:ext cx="1163051" cy="7851903"/>
          </a:xfrm>
          <a:prstGeom prst="round2SameRect">
            <a:avLst>
              <a:gd name="adj1" fmla="val 6863"/>
              <a:gd name="adj2" fmla="val 0"/>
            </a:avLst>
          </a:prstGeom>
          <a:noFill/>
          <a:ln w="12700" cap="flat" cmpd="sng" algn="ctr">
            <a:solidFill>
              <a:srgbClr val="5F8AC3"/>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vert270" wrap="square" lIns="36000" rIns="36000" rtlCol="0" anchor="ctr" anchorCtr="0">
            <a:noAutofit/>
          </a:bodyPr>
          <a:lstStyle/>
          <a:p>
            <a:pPr marL="301625" indent="-171450">
              <a:lnSpc>
                <a:spcPct val="113000"/>
              </a:lnSpc>
              <a:buClr>
                <a:srgbClr val="3D6AA7"/>
              </a:buClr>
              <a:buSzPct val="80000"/>
              <a:buFont typeface="Wingdings" panose="05000000000000000000" pitchFamily="2" charset="2"/>
              <a:buChar char="l"/>
            </a:pPr>
            <a:endParaRPr lang="ja-JP" altLang="en-US" sz="1050" dirty="0">
              <a:latin typeface="Arial" panose="020B0604020202020204" pitchFamily="34" charset="0"/>
              <a:ea typeface="ＭＳ Ｐゴシック" panose="020B0600070205080204" pitchFamily="50" charset="-128"/>
            </a:endParaRPr>
          </a:p>
        </p:txBody>
      </p:sp>
      <p:sp>
        <p:nvSpPr>
          <p:cNvPr id="5" name="テキスト ボックス 4"/>
          <p:cNvSpPr txBox="1"/>
          <p:nvPr/>
        </p:nvSpPr>
        <p:spPr>
          <a:xfrm>
            <a:off x="3008784" y="2100161"/>
            <a:ext cx="3096344" cy="302080"/>
          </a:xfrm>
          <a:prstGeom prst="round2SameRect">
            <a:avLst/>
          </a:prstGeom>
          <a:solidFill>
            <a:srgbClr val="83A4D1"/>
          </a:solidFill>
        </p:spPr>
        <p:txBody>
          <a:bodyPr wrap="square" lIns="36000" tIns="36000" rIns="36000" bIns="36000" rtlCol="0">
            <a:spAutoFit/>
          </a:bodyPr>
          <a:lstStyle/>
          <a:p>
            <a:pPr algn="ctr"/>
            <a:r>
              <a:rPr lang="ja-JP" altLang="en-US" sz="1400" dirty="0">
                <a:latin typeface="HGP創英角ｺﾞｼｯｸUB" panose="020B0900000000000000" pitchFamily="50" charset="-128"/>
                <a:ea typeface="HGP創英角ｺﾞｼｯｸUB" panose="020B0900000000000000" pitchFamily="50" charset="-128"/>
              </a:rPr>
              <a:t>全国民</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は</a:t>
            </a:r>
            <a:r>
              <a:rPr lang="ja-JP" altLang="en-US" sz="1400" dirty="0">
                <a:latin typeface="HGP創英角ｺﾞｼｯｸUB" panose="020B0900000000000000" pitchFamily="50" charset="-128"/>
                <a:ea typeface="HGP創英角ｺﾞｼｯｸUB" panose="020B0900000000000000" pitchFamily="50" charset="-128"/>
              </a:rPr>
              <a:t>無償</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で医療サービスを受けることが可能</a:t>
            </a:r>
          </a:p>
        </p:txBody>
      </p:sp>
      <p:sp>
        <p:nvSpPr>
          <p:cNvPr id="15" name="テキスト ボックス 14"/>
          <p:cNvSpPr txBox="1"/>
          <p:nvPr/>
        </p:nvSpPr>
        <p:spPr>
          <a:xfrm>
            <a:off x="848544" y="3175084"/>
            <a:ext cx="8357682" cy="253916"/>
          </a:xfrm>
          <a:prstGeom prst="rect">
            <a:avLst/>
          </a:prstGeom>
          <a:noFill/>
        </p:spPr>
        <p:txBody>
          <a:bodyPr wrap="square" lIns="0" rIns="0" rtlCol="0">
            <a:spAutoFit/>
          </a:bodyPr>
          <a:lstStyle/>
          <a:p>
            <a:pPr marL="0" lvl="1"/>
            <a:r>
              <a:rPr lang="en-US" altLang="ja-JP" sz="1050" dirty="0"/>
              <a:t>※ SUS</a:t>
            </a:r>
            <a:r>
              <a:rPr lang="ja-JP" altLang="en-US" sz="1050" dirty="0"/>
              <a:t>によって政府から医療機関に支払われる給付額は、各医療機関、各地方自治体が保健省と交渉して決めるため、</a:t>
            </a:r>
            <a:r>
              <a:rPr lang="ja-JP" altLang="en-US" sz="1050" dirty="0">
                <a:solidFill>
                  <a:srgbClr val="000000"/>
                </a:solidFill>
                <a:latin typeface="Arial Black" pitchFamily="34" charset="0"/>
                <a:ea typeface="HGP創英角ｺﾞｼｯｸUB" pitchFamily="50" charset="-128"/>
              </a:rPr>
              <a:t>給付額は一律ではない</a:t>
            </a:r>
            <a:endParaRPr lang="en-US" altLang="ja-JP" sz="1050" dirty="0">
              <a:solidFill>
                <a:srgbClr val="000000"/>
              </a:solidFill>
              <a:latin typeface="Arial Black" pitchFamily="34" charset="0"/>
              <a:ea typeface="HGP創英角ｺﾞｼｯｸUB" pitchFamily="50" charset="-128"/>
            </a:endParaRPr>
          </a:p>
        </p:txBody>
      </p:sp>
      <p:sp>
        <p:nvSpPr>
          <p:cNvPr id="36" name="テキスト ボックス 35"/>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統一保健医療システ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stema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Único</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Saúd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8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導入された公的保険であり、国民は無償で医療サービスを受けることができ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正方形/長方形 108"/>
          <p:cNvSpPr/>
          <p:nvPr/>
        </p:nvSpPr>
        <p:spPr>
          <a:xfrm>
            <a:off x="1816175" y="5270728"/>
            <a:ext cx="4968552" cy="507242"/>
          </a:xfrm>
          <a:prstGeom prst="rect">
            <a:avLst/>
          </a:prstGeom>
          <a:gradFill flip="none" rotWithShape="1">
            <a:gsLst>
              <a:gs pos="26000">
                <a:srgbClr val="DDE6F3"/>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0" rtlCol="0" anchor="ctr"/>
          <a:lstStyle/>
          <a:p>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中間層以上</a:t>
            </a:r>
          </a:p>
        </p:txBody>
      </p:sp>
      <p:sp>
        <p:nvSpPr>
          <p:cNvPr id="38" name="片側の 2 つの角を丸めた四角形 37"/>
          <p:cNvSpPr/>
          <p:nvPr/>
        </p:nvSpPr>
        <p:spPr>
          <a:xfrm rot="16200000">
            <a:off x="1540323" y="5501490"/>
            <a:ext cx="507242" cy="45719"/>
          </a:xfrm>
          <a:prstGeom prst="round2SameRect">
            <a:avLst>
              <a:gd name="adj1" fmla="val 0"/>
              <a:gd name="adj2" fmla="val 0"/>
            </a:avLst>
          </a:prstGeom>
          <a:solidFill>
            <a:srgbClr val="83A4D1"/>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1050" spc="13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正方形/長方形 109"/>
          <p:cNvSpPr/>
          <p:nvPr/>
        </p:nvSpPr>
        <p:spPr>
          <a:xfrm>
            <a:off x="2655094" y="5306732"/>
            <a:ext cx="6474370" cy="435234"/>
          </a:xfrm>
          <a:prstGeom prst="rect">
            <a:avLst/>
          </a:prstGeom>
          <a:solidFill>
            <a:srgbClr val="FFFFFF"/>
          </a:solidFill>
          <a:ln cmpd="sng">
            <a:noFill/>
          </a:ln>
        </p:spPr>
        <p:txBody>
          <a:bodyPr wrap="square" lIns="36000" tIns="36000" rIns="36000" bIns="36000" rtlCol="0" anchor="ctr" anchorCtr="0">
            <a:noAutofit/>
          </a:bodyPr>
          <a:lstStyle/>
          <a:p>
            <a:pPr marL="184150" indent="-133350" fontAlgn="ctr">
              <a:lnSpc>
                <a:spcPct val="113000"/>
              </a:lnSpc>
              <a:spcAft>
                <a:spcPts val="200"/>
              </a:spcAft>
              <a:buClr>
                <a:srgbClr val="868686"/>
              </a:buClr>
              <a:buSzPct val="8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rPr>
              <a:t>一般的な傾向として、</a:t>
            </a:r>
            <a:r>
              <a:rPr lang="en-US" altLang="ja-JP" sz="1050" dirty="0">
                <a:latin typeface="Arial" panose="020B0604020202020204" pitchFamily="34" charset="0"/>
                <a:ea typeface="ＭＳ Ｐゴシック" panose="020B0600070205080204" pitchFamily="50" charset="-128"/>
              </a:rPr>
              <a:t>SUS</a:t>
            </a:r>
            <a:r>
              <a:rPr lang="ja-JP" altLang="en-US" sz="1050" dirty="0">
                <a:latin typeface="Arial" panose="020B0604020202020204" pitchFamily="34" charset="0"/>
                <a:ea typeface="ＭＳ Ｐゴシック" panose="020B0600070205080204" pitchFamily="50" charset="-128"/>
              </a:rPr>
              <a:t>は活用せずに、</a:t>
            </a:r>
            <a:r>
              <a:rPr lang="ja-JP" altLang="en-US" sz="1000" dirty="0">
                <a:latin typeface="HGP創英角ｺﾞｼｯｸUB" panose="020B0900000000000000" pitchFamily="50" charset="-128"/>
                <a:ea typeface="HGP創英角ｺﾞｼｯｸUB" panose="020B0900000000000000" pitchFamily="50" charset="-128"/>
              </a:rPr>
              <a:t>民間病院に直接行くことが多い</a:t>
            </a:r>
            <a:r>
              <a:rPr lang="ja-JP" altLang="en-US" sz="1050" dirty="0">
                <a:latin typeface="Arial" panose="020B0604020202020204" pitchFamily="34" charset="0"/>
                <a:ea typeface="ＭＳ Ｐゴシック" panose="020B0600070205080204" pitchFamily="50" charset="-128"/>
              </a:rPr>
              <a:t>。</a:t>
            </a:r>
            <a:endParaRPr lang="en-US" altLang="ja-JP" sz="1050" dirty="0">
              <a:latin typeface="Arial" panose="020B0604020202020204" pitchFamily="34" charset="0"/>
              <a:ea typeface="ＭＳ Ｐゴシック" panose="020B0600070205080204" pitchFamily="50" charset="-128"/>
            </a:endParaRPr>
          </a:p>
          <a:p>
            <a:pPr marL="184150" indent="-133350" fontAlgn="ctr">
              <a:lnSpc>
                <a:spcPct val="113000"/>
              </a:lnSpc>
              <a:spcAft>
                <a:spcPts val="200"/>
              </a:spcAft>
              <a:buClr>
                <a:srgbClr val="868686"/>
              </a:buClr>
              <a:buSzPct val="8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rPr>
              <a:t>SUS</a:t>
            </a:r>
            <a:r>
              <a:rPr lang="ja-JP" altLang="en-US" sz="1050" dirty="0">
                <a:latin typeface="Arial" panose="020B0604020202020204" pitchFamily="34" charset="0"/>
                <a:ea typeface="ＭＳ Ｐゴシック" panose="020B0600070205080204" pitchFamily="50" charset="-128"/>
              </a:rPr>
              <a:t>で活用できる無料サービスのうち、</a:t>
            </a:r>
            <a:r>
              <a:rPr lang="ja-JP" altLang="en-US" sz="1000" dirty="0">
                <a:latin typeface="HGP創英角ｺﾞｼｯｸUB" panose="020B0900000000000000" pitchFamily="50" charset="-128"/>
                <a:ea typeface="HGP創英角ｺﾞｼｯｸUB" panose="020B0900000000000000" pitchFamily="50" charset="-128"/>
              </a:rPr>
              <a:t>健康診断、母乳バンク、血液バンク等のみを使う</a:t>
            </a:r>
            <a:r>
              <a:rPr lang="ja-JP" altLang="en-US" sz="1050" dirty="0">
                <a:latin typeface="Arial" panose="020B0604020202020204" pitchFamily="34" charset="0"/>
                <a:ea typeface="ＭＳ Ｐゴシック" panose="020B0600070205080204" pitchFamily="50" charset="-128"/>
              </a:rPr>
              <a:t>と言われている。</a:t>
            </a:r>
          </a:p>
        </p:txBody>
      </p:sp>
    </p:spTree>
    <p:extLst>
      <p:ext uri="{BB962C8B-B14F-4D97-AF65-F5344CB8AC3E}">
        <p14:creationId xmlns:p14="http://schemas.microsoft.com/office/powerpoint/2010/main" val="9156278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角丸四角形 9"/>
          <p:cNvSpPr/>
          <p:nvPr/>
        </p:nvSpPr>
        <p:spPr>
          <a:xfrm>
            <a:off x="632520" y="3978275"/>
            <a:ext cx="4064000" cy="1284829"/>
          </a:xfrm>
          <a:prstGeom prst="roundRect">
            <a:avLst>
              <a:gd name="adj" fmla="val 4649"/>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角丸四角形 174"/>
          <p:cNvSpPr/>
          <p:nvPr/>
        </p:nvSpPr>
        <p:spPr>
          <a:xfrm>
            <a:off x="2713490" y="4275582"/>
            <a:ext cx="1848470" cy="564750"/>
          </a:xfrm>
          <a:prstGeom prst="roundRect">
            <a:avLst>
              <a:gd name="adj" fmla="val 6732"/>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just">
              <a:lnSpc>
                <a:spcPct val="113000"/>
              </a:lnSpc>
              <a:buClr>
                <a:srgbClr val="3D6AA7"/>
              </a:buClr>
              <a:buSzPct val="80000"/>
            </a:pPr>
            <a:r>
              <a:rPr lang="ja-JP" altLang="en-US" sz="1000" spc="-20" dirty="0">
                <a:solidFill>
                  <a:schemeClr val="tx1"/>
                </a:solidFill>
                <a:latin typeface="Arial" panose="020B0604020202020204" pitchFamily="34" charset="0"/>
                <a:ea typeface="ＭＳ Ｐゴシック" panose="020B0600070205080204" pitchFamily="50" charset="-128"/>
              </a:rPr>
              <a:t>受診できる</a:t>
            </a:r>
            <a:r>
              <a:rPr lang="ja-JP" altLang="en-US" sz="1000" spc="-2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関数が多くなり、医療機関のレベルも高くなる</a:t>
            </a:r>
          </a:p>
        </p:txBody>
      </p:sp>
      <p:sp>
        <p:nvSpPr>
          <p:cNvPr id="13" name="角丸四角形 12"/>
          <p:cNvSpPr/>
          <p:nvPr/>
        </p:nvSpPr>
        <p:spPr>
          <a:xfrm>
            <a:off x="759732" y="4275582"/>
            <a:ext cx="1848470" cy="564750"/>
          </a:xfrm>
          <a:prstGeom prst="roundRect">
            <a:avLst>
              <a:gd name="adj" fmla="val 6732"/>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just">
              <a:lnSpc>
                <a:spcPct val="113000"/>
              </a:lnSpc>
              <a:buClr>
                <a:srgbClr val="3D6AA7"/>
              </a:buClr>
              <a:buSzPct val="80000"/>
            </a:pPr>
            <a:r>
              <a:rPr lang="ja-JP" altLang="en-US" sz="1000" spc="-10" dirty="0">
                <a:solidFill>
                  <a:schemeClr val="tx1"/>
                </a:solidFill>
                <a:latin typeface="Arial" panose="020B0604020202020204" pitchFamily="34" charset="0"/>
                <a:ea typeface="ＭＳ Ｐゴシック" panose="020B0600070205080204" pitchFamily="50" charset="-128"/>
              </a:rPr>
              <a:t>額により医療サービスを受けることのできる</a:t>
            </a:r>
            <a:r>
              <a:rPr lang="ja-JP" altLang="en-US" sz="1000" spc="-1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関が決まる</a:t>
            </a:r>
          </a:p>
        </p:txBody>
      </p:sp>
      <p:sp>
        <p:nvSpPr>
          <p:cNvPr id="12" name="角丸四角形 11"/>
          <p:cNvSpPr/>
          <p:nvPr/>
        </p:nvSpPr>
        <p:spPr>
          <a:xfrm>
            <a:off x="5417206" y="5301704"/>
            <a:ext cx="3772215" cy="863600"/>
          </a:xfrm>
          <a:prstGeom prst="roundRect">
            <a:avLst>
              <a:gd name="adj" fmla="val 6715"/>
            </a:avLst>
          </a:prstGeom>
          <a:solidFill>
            <a:srgbClr val="DDE6F3"/>
          </a:solidFill>
          <a:ln w="9525"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円/楕円 70"/>
          <p:cNvSpPr/>
          <p:nvPr/>
        </p:nvSpPr>
        <p:spPr>
          <a:xfrm>
            <a:off x="1359132" y="6111001"/>
            <a:ext cx="1656184" cy="293187"/>
          </a:xfrm>
          <a:prstGeom prst="ellipse">
            <a:avLst/>
          </a:prstGeom>
          <a:gradFill flip="none" rotWithShape="1">
            <a:gsLst>
              <a:gs pos="0">
                <a:srgbClr val="A2A2A2"/>
              </a:gs>
              <a:gs pos="100000">
                <a:schemeClr val="bg1"/>
              </a:gs>
            </a:gsLst>
            <a:path path="shape">
              <a:fillToRect l="50000" t="50000" r="50000" b="50000"/>
            </a:path>
            <a:tileRect/>
          </a:gradFill>
        </p:spPr>
        <p:txBody>
          <a:bodyPr wrap="square" anchor="ctr">
            <a:noAutofit/>
          </a:bodyPr>
          <a:lstStyle/>
          <a:p>
            <a:pPr algn="ctr"/>
            <a:endParaRPr lang="ja-JP" altLang="en-US" sz="1600" dirty="0">
              <a:latin typeface="ＭＳ Ｐゴシック" panose="020B0600070205080204" pitchFamily="50" charset="-128"/>
              <a:ea typeface="ＭＳ Ｐゴシック" panose="020B0600070205080204" pitchFamily="50" charset="-128"/>
            </a:endParaRPr>
          </a:p>
        </p:txBody>
      </p:sp>
      <p:sp>
        <p:nvSpPr>
          <p:cNvPr id="74" name="正方形/長方形 73"/>
          <p:cNvSpPr/>
          <p:nvPr/>
        </p:nvSpPr>
        <p:spPr>
          <a:xfrm>
            <a:off x="704528" y="6054960"/>
            <a:ext cx="3917170" cy="216024"/>
          </a:xfrm>
          <a:prstGeom prst="rect">
            <a:avLst/>
          </a:prstGeom>
          <a:noFill/>
          <a:ln cmpd="sng">
            <a:noFill/>
          </a:ln>
        </p:spPr>
        <p:txBody>
          <a:bodyPr wrap="square" lIns="0" rIns="0" rtlCol="0" anchor="ctr" anchorCtr="0">
            <a:noAutofit/>
          </a:bodyPr>
          <a:lstStyle/>
          <a:p>
            <a:pPr algn="ctr">
              <a:lnSpc>
                <a:spcPct val="113000"/>
              </a:lnSpc>
              <a:spcAft>
                <a:spcPts val="300"/>
              </a:spcAft>
              <a:buClr>
                <a:srgbClr val="3D6AA7"/>
              </a:buClr>
              <a:buSzPct val="80000"/>
            </a:pPr>
            <a:r>
              <a:rPr lang="ja-JP" altLang="en-US" sz="1050" dirty="0">
                <a:latin typeface="Arial" panose="020B0604020202020204" pitchFamily="34" charset="0"/>
                <a:ea typeface="ＭＳ Ｐゴシック" panose="020B0600070205080204" pitchFamily="50" charset="-128"/>
              </a:rPr>
              <a:t>自分が加入している保険を使って</a:t>
            </a:r>
            <a:r>
              <a:rPr lang="ja-JP" altLang="en-US" sz="1100" spc="-20" dirty="0">
                <a:latin typeface="HGP創英角ｺﾞｼｯｸUB" panose="020B0900000000000000" pitchFamily="50" charset="-128"/>
                <a:ea typeface="HGP創英角ｺﾞｼｯｸUB" panose="020B0900000000000000" pitchFamily="50" charset="-128"/>
                <a:cs typeface="Arial" panose="020B0604020202020204" pitchFamily="34" charset="0"/>
              </a:rPr>
              <a:t>無料で受診できる病院が、</a:t>
            </a:r>
            <a:br>
              <a:rPr lang="en-US" altLang="ja-JP" sz="1100" spc="-20" dirty="0">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100" spc="-20" dirty="0">
                <a:latin typeface="HGP創英角ｺﾞｼｯｸUB" panose="020B0900000000000000" pitchFamily="50" charset="-128"/>
                <a:ea typeface="HGP創英角ｺﾞｼｯｸUB" panose="020B0900000000000000" pitchFamily="50" charset="-128"/>
                <a:cs typeface="Arial" panose="020B0604020202020204" pitchFamily="34" charset="0"/>
              </a:rPr>
              <a:t>短期間の間に何度も変わってしまう</a:t>
            </a:r>
            <a:r>
              <a:rPr lang="ja-JP" altLang="en-US" sz="1050" spc="-20" dirty="0">
                <a:latin typeface="Arial" panose="020B0604020202020204" pitchFamily="34" charset="0"/>
                <a:ea typeface="ＭＳ Ｐゴシック" panose="020B0600070205080204" pitchFamily="50" charset="-128"/>
              </a:rPr>
              <a:t>といった事態も起こっている。</a:t>
            </a:r>
          </a:p>
        </p:txBody>
      </p:sp>
      <p:sp>
        <p:nvSpPr>
          <p:cNvPr id="2" name="タイトル 1"/>
          <p:cNvSpPr>
            <a:spLocks noGrp="1"/>
          </p:cNvSpPr>
          <p:nvPr>
            <p:ph type="title"/>
          </p:nvPr>
        </p:nvSpPr>
        <p:spPr/>
        <p:txBody>
          <a:bodyPr vert="horz" lIns="91440" tIns="45720" rIns="91440" bIns="45720" rtlCol="0" anchor="b" anchorCtr="0">
            <a:normAutofit/>
          </a:bodyPr>
          <a:lstStyle/>
          <a:p>
            <a:r>
              <a:rPr lang="ja-JP" altLang="en-US" dirty="0"/>
              <a:t>ブラジル／医療関連／制度</a:t>
            </a:r>
          </a:p>
        </p:txBody>
      </p:sp>
      <p:sp>
        <p:nvSpPr>
          <p:cNvPr id="3" name="テキスト プレースホルダー 2"/>
          <p:cNvSpPr>
            <a:spLocks noGrp="1"/>
          </p:cNvSpPr>
          <p:nvPr>
            <p:ph type="body" sz="quarter" idx="15"/>
          </p:nvPr>
        </p:nvSpPr>
        <p:spPr/>
        <p:txBody>
          <a:bodyPr/>
          <a:lstStyle/>
          <a:p>
            <a:r>
              <a:rPr lang="zh-TW" altLang="en-US" dirty="0"/>
              <a:t>民間保険制度</a:t>
            </a:r>
          </a:p>
        </p:txBody>
      </p:sp>
      <p:sp>
        <p:nvSpPr>
          <p:cNvPr id="87" name="テキスト ボックス 86"/>
          <p:cNvSpPr txBox="1"/>
          <p:nvPr/>
        </p:nvSpPr>
        <p:spPr>
          <a:xfrm>
            <a:off x="200472" y="6525344"/>
            <a:ext cx="9073008" cy="24622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心臓疾患削減戦略コンソーシアム「ブラジルにおける日本式心臓健診システム提供プロジェクト（ブラジル心臓疾患削減戦略）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槙絵美子・加藤麻衣「ブラジルの健康保険制度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統一医療システム</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と民間健康保険</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有識者ヒアリン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NS Brazil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統計、</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nahp</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統計</a:t>
            </a:r>
          </a:p>
        </p:txBody>
      </p:sp>
      <p:grpSp>
        <p:nvGrpSpPr>
          <p:cNvPr id="50" name="グループ化 7"/>
          <p:cNvGrpSpPr/>
          <p:nvPr/>
        </p:nvGrpSpPr>
        <p:grpSpPr>
          <a:xfrm>
            <a:off x="488504" y="1969790"/>
            <a:ext cx="8928992" cy="288032"/>
            <a:chOff x="4944173" y="2113806"/>
            <a:chExt cx="5861371" cy="288032"/>
          </a:xfrm>
        </p:grpSpPr>
        <p:cxnSp>
          <p:nvCxnSpPr>
            <p:cNvPr id="51" name="直線コネクタ 50"/>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3"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健康保険</a:t>
              </a:r>
              <a:r>
                <a:rPr lang="zh-TW" altLang="en-US" dirty="0">
                  <a:solidFill>
                    <a:srgbClr val="000000"/>
                  </a:solidFill>
                  <a:latin typeface="Arial Black" pitchFamily="34" charset="0"/>
                  <a:ea typeface="HGP創英角ｺﾞｼｯｸUB" pitchFamily="50" charset="-128"/>
                </a:rPr>
                <a:t>（</a:t>
              </a:r>
              <a:r>
                <a:rPr lang="en-US" altLang="zh-TW" dirty="0">
                  <a:solidFill>
                    <a:srgbClr val="000000"/>
                  </a:solidFill>
                  <a:latin typeface="Arial Black" pitchFamily="34" charset="0"/>
                  <a:ea typeface="HGP創英角ｺﾞｼｯｸUB" pitchFamily="50" charset="-128"/>
                </a:rPr>
                <a:t>SHI</a:t>
              </a:r>
              <a:r>
                <a:rPr lang="zh-TW" altLang="en-US" dirty="0">
                  <a:solidFill>
                    <a:srgbClr val="000000"/>
                  </a:solidFill>
                  <a:latin typeface="Arial Black" pitchFamily="34" charset="0"/>
                  <a:ea typeface="HGP創英角ｺﾞｼｯｸUB" pitchFamily="50" charset="-128"/>
                </a:rPr>
                <a:t>）</a:t>
              </a:r>
              <a:endParaRPr lang="ja-JP" altLang="en-US" dirty="0">
                <a:solidFill>
                  <a:srgbClr val="000000"/>
                </a:solidFill>
                <a:latin typeface="Arial Black" pitchFamily="34" charset="0"/>
                <a:ea typeface="HGP創英角ｺﾞｼｯｸUB" pitchFamily="50" charset="-128"/>
              </a:endParaRPr>
            </a:p>
          </p:txBody>
        </p:sp>
      </p:grpSp>
      <p:sp>
        <p:nvSpPr>
          <p:cNvPr id="27" name="テキスト ボックス 26"/>
          <p:cNvSpPr txBox="1"/>
          <p:nvPr/>
        </p:nvSpPr>
        <p:spPr>
          <a:xfrm>
            <a:off x="800777" y="2612329"/>
            <a:ext cx="1754071" cy="369332"/>
          </a:xfrm>
          <a:prstGeom prst="rect">
            <a:avLst/>
          </a:prstGeom>
          <a:noFill/>
        </p:spPr>
        <p:txBody>
          <a:bodyPr wrap="square" rtlCol="0">
            <a:spAutoFit/>
          </a:bodyPr>
          <a:lstStyle/>
          <a:p>
            <a:pPr algn="ct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48.5</a:t>
            </a:r>
            <a:r>
              <a:rPr kumimoji="1"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百万人</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32"/>
          <p:cNvSpPr txBox="1"/>
          <p:nvPr/>
        </p:nvSpPr>
        <p:spPr>
          <a:xfrm>
            <a:off x="3418943" y="2612329"/>
            <a:ext cx="2592289" cy="369332"/>
          </a:xfrm>
          <a:prstGeom prst="rect">
            <a:avLst/>
          </a:prstGeom>
          <a:noFill/>
        </p:spPr>
        <p:txBody>
          <a:bodyPr wrap="square" rtlCol="0">
            <a:spAutoFit/>
          </a:bodyPr>
          <a:lstStyle/>
          <a:p>
            <a:pPr algn="ct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2,342</a:t>
            </a: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億レアル </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約</a:t>
            </a:r>
            <a:r>
              <a:rPr lang="en-US" altLang="ja-JP" b="1" dirty="0">
                <a:latin typeface="Arial" panose="020B0604020202020204" pitchFamily="34" charset="0"/>
                <a:ea typeface="ＭＳ Ｐゴシック" panose="020B0600070205080204" pitchFamily="50" charset="-128"/>
                <a:cs typeface="Arial" panose="020B0604020202020204" pitchFamily="34" charset="0"/>
              </a:rPr>
              <a:t>4.7</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兆円）</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 name="グループ化 3"/>
          <p:cNvGrpSpPr/>
          <p:nvPr/>
        </p:nvGrpSpPr>
        <p:grpSpPr>
          <a:xfrm>
            <a:off x="3313585" y="2911406"/>
            <a:ext cx="2428401" cy="936207"/>
            <a:chOff x="3089137" y="2852936"/>
            <a:chExt cx="2812625" cy="1084335"/>
          </a:xfrm>
        </p:grpSpPr>
        <p:sp>
          <p:nvSpPr>
            <p:cNvPr id="36" name="角丸四角形 35"/>
            <p:cNvSpPr/>
            <p:nvPr/>
          </p:nvSpPr>
          <p:spPr>
            <a:xfrm>
              <a:off x="4065447" y="2942395"/>
              <a:ext cx="1814251" cy="798511"/>
            </a:xfrm>
            <a:prstGeom prst="roundRect">
              <a:avLst>
                <a:gd name="adj" fmla="val 4909"/>
              </a:avLst>
            </a:prstGeom>
            <a:solidFill>
              <a:srgbClr val="D2F0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4406253" y="2943387"/>
              <a:ext cx="1495509" cy="797518"/>
            </a:xfrm>
            <a:prstGeom prst="rect">
              <a:avLst/>
            </a:prstGeom>
          </p:spPr>
          <p:txBody>
            <a:bodyPr wrap="none" anchor="ctr" anchorCtr="0">
              <a:noAutofit/>
            </a:bodyPr>
            <a:lstStyle/>
            <a:p>
              <a:pPr algn="r">
                <a:lnSpc>
                  <a:spcPct val="113000"/>
                </a:lnSpc>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ブラジル</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ja-JP" altLang="en-US" sz="1100" dirty="0">
                  <a:latin typeface="Arial" panose="020B0604020202020204" pitchFamily="34" charset="0"/>
                  <a:ea typeface="ＭＳ Ｐゴシック" panose="020B0600070205080204" pitchFamily="50" charset="-128"/>
                  <a:cs typeface="Arial" panose="020B0604020202020204" pitchFamily="34" charset="0"/>
                </a:rPr>
                <a:t>保険市場の</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最大品目</a:t>
              </a:r>
              <a:endParaRPr lang="ja-JP" altLang="en-US" sz="1600" dirty="0">
                <a:latin typeface="Arial Black" panose="020B0A04020102020204" pitchFamily="34" charset="0"/>
                <a:ea typeface="ＭＳ Ｐゴシック" panose="020B0600070205080204" pitchFamily="50" charset="-128"/>
                <a:cs typeface="Arial" panose="020B0604020202020204" pitchFamily="34" charset="0"/>
              </a:endParaRPr>
            </a:p>
          </p:txBody>
        </p:sp>
        <p:graphicFrame>
          <p:nvGraphicFramePr>
            <p:cNvPr id="34" name="グラフ 33"/>
            <p:cNvGraphicFramePr/>
            <p:nvPr>
              <p:extLst>
                <p:ext uri="{D42A27DB-BD31-4B8C-83A1-F6EECF244321}">
                  <p14:modId xmlns:p14="http://schemas.microsoft.com/office/powerpoint/2010/main" val="808402502"/>
                </p:ext>
              </p:extLst>
            </p:nvPr>
          </p:nvGraphicFramePr>
          <p:xfrm>
            <a:off x="3089137" y="2852936"/>
            <a:ext cx="1820996" cy="1084335"/>
          </p:xfrm>
          <a:graphic>
            <a:graphicData uri="http://schemas.openxmlformats.org/drawingml/2006/chart">
              <c:chart xmlns:c="http://schemas.openxmlformats.org/drawingml/2006/chart" xmlns:r="http://schemas.openxmlformats.org/officeDocument/2006/relationships" r:id="rId2"/>
            </a:graphicData>
          </a:graphic>
        </p:graphicFrame>
        <p:sp>
          <p:nvSpPr>
            <p:cNvPr id="35" name="テキスト ボックス 34"/>
            <p:cNvSpPr txBox="1"/>
            <p:nvPr/>
          </p:nvSpPr>
          <p:spPr>
            <a:xfrm>
              <a:off x="3821572" y="3046261"/>
              <a:ext cx="1151608" cy="523220"/>
            </a:xfrm>
            <a:prstGeom prst="rect">
              <a:avLst/>
            </a:prstGeom>
            <a:noFill/>
          </p:spPr>
          <p:txBody>
            <a:bodyPr wrap="square" rtlCol="0" anchor="ctr" anchorCtr="0">
              <a:noAutofit/>
            </a:bodyPr>
            <a:lstStyle/>
            <a:p>
              <a:pPr algn="r"/>
              <a:r>
                <a:rPr lang="ja-JP" altLang="en-US" sz="1400" dirty="0">
                  <a:latin typeface="ＭＳ Ｐゴシック" panose="020B0600070205080204" pitchFamily="50" charset="-128"/>
                  <a:ea typeface="ＭＳ Ｐゴシック" panose="020B0600070205080204" pitchFamily="50" charset="-128"/>
                  <a:cs typeface="Arial" panose="020B0604020202020204" pitchFamily="34" charset="0"/>
                </a:rPr>
                <a:t>約</a:t>
              </a:r>
              <a:r>
                <a:rPr kumimoji="1" lang="en-US" altLang="ja-JP" sz="2000" dirty="0">
                  <a:latin typeface="Arial Black" panose="020B0A04020102020204" pitchFamily="34" charset="0"/>
                  <a:ea typeface="HGP創英角ｺﾞｼｯｸUB" panose="020B0900000000000000" pitchFamily="50" charset="-128"/>
                  <a:cs typeface="Arial" panose="020B0604020202020204" pitchFamily="34" charset="0"/>
                </a:rPr>
                <a:t>31</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41" name="テキスト ボックス 40"/>
          <p:cNvSpPr txBox="1"/>
          <p:nvPr/>
        </p:nvSpPr>
        <p:spPr>
          <a:xfrm>
            <a:off x="7110221" y="2612329"/>
            <a:ext cx="1754071" cy="369332"/>
          </a:xfrm>
          <a:prstGeom prst="rect">
            <a:avLst/>
          </a:prstGeom>
          <a:noFill/>
        </p:spPr>
        <p:txBody>
          <a:bodyPr wrap="square" rtlCol="0">
            <a:spAutoFit/>
          </a:bodyPr>
          <a:lstStyle/>
          <a:p>
            <a:pPr algn="ct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1.5</a:t>
            </a: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億人</a:t>
            </a:r>
          </a:p>
        </p:txBody>
      </p:sp>
      <p:grpSp>
        <p:nvGrpSpPr>
          <p:cNvPr id="5" name="グループ化 4"/>
          <p:cNvGrpSpPr/>
          <p:nvPr/>
        </p:nvGrpSpPr>
        <p:grpSpPr>
          <a:xfrm>
            <a:off x="6594102" y="2924839"/>
            <a:ext cx="2398361" cy="936207"/>
            <a:chOff x="6373728" y="2866369"/>
            <a:chExt cx="2777832" cy="1084335"/>
          </a:xfrm>
        </p:grpSpPr>
        <p:sp>
          <p:nvSpPr>
            <p:cNvPr id="44" name="角丸四角形 43"/>
            <p:cNvSpPr/>
            <p:nvPr/>
          </p:nvSpPr>
          <p:spPr>
            <a:xfrm>
              <a:off x="7295781" y="2947156"/>
              <a:ext cx="1855779" cy="940594"/>
            </a:xfrm>
            <a:prstGeom prst="roundRect">
              <a:avLst>
                <a:gd name="adj" fmla="val 4909"/>
              </a:avLst>
            </a:prstGeom>
            <a:solidFill>
              <a:srgbClr val="E8E8E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2" name="グラフ 41"/>
            <p:cNvGraphicFramePr/>
            <p:nvPr>
              <p:extLst>
                <p:ext uri="{D42A27DB-BD31-4B8C-83A1-F6EECF244321}">
                  <p14:modId xmlns:p14="http://schemas.microsoft.com/office/powerpoint/2010/main" val="3895127553"/>
                </p:ext>
              </p:extLst>
            </p:nvPr>
          </p:nvGraphicFramePr>
          <p:xfrm>
            <a:off x="6373728" y="2866369"/>
            <a:ext cx="1820996" cy="1084335"/>
          </p:xfrm>
          <a:graphic>
            <a:graphicData uri="http://schemas.openxmlformats.org/drawingml/2006/chart">
              <c:chart xmlns:c="http://schemas.openxmlformats.org/drawingml/2006/chart" xmlns:r="http://schemas.openxmlformats.org/officeDocument/2006/relationships" r:id="rId3"/>
            </a:graphicData>
          </a:graphic>
        </p:graphicFrame>
        <p:sp>
          <p:nvSpPr>
            <p:cNvPr id="43" name="テキスト ボックス 42"/>
            <p:cNvSpPr txBox="1"/>
            <p:nvPr/>
          </p:nvSpPr>
          <p:spPr>
            <a:xfrm>
              <a:off x="6874136" y="3348685"/>
              <a:ext cx="1155776" cy="523220"/>
            </a:xfrm>
            <a:prstGeom prst="rect">
              <a:avLst/>
            </a:prstGeom>
            <a:noFill/>
          </p:spPr>
          <p:txBody>
            <a:bodyPr wrap="square" rtlCol="0" anchor="ctr" anchorCtr="0">
              <a:noAutofit/>
            </a:bodyPr>
            <a:lstStyle/>
            <a:p>
              <a:pPr algn="r"/>
              <a:r>
                <a:rPr lang="ja-JP" altLang="en-US" sz="1400" dirty="0">
                  <a:latin typeface="ＭＳ Ｐゴシック" panose="020B0600070205080204" pitchFamily="50" charset="-128"/>
                  <a:ea typeface="ＭＳ Ｐゴシック" panose="020B0600070205080204" pitchFamily="50" charset="-128"/>
                  <a:cs typeface="Arial" panose="020B0604020202020204" pitchFamily="34" charset="0"/>
                </a:rPr>
                <a:t>約</a:t>
              </a:r>
              <a:r>
                <a:rPr kumimoji="1" lang="en-US" altLang="ja-JP" sz="2000" dirty="0">
                  <a:latin typeface="Arial Black" panose="020B0A04020102020204" pitchFamily="34" charset="0"/>
                  <a:ea typeface="HGP創英角ｺﾞｼｯｸUB" panose="020B0900000000000000" pitchFamily="50" charset="-128"/>
                  <a:cs typeface="Arial" panose="020B0604020202020204" pitchFamily="34" charset="0"/>
                </a:rPr>
                <a:t>77</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p>
            <a:p>
              <a:pPr algn="r"/>
              <a:r>
                <a:rPr lang="ja-JP" altLang="en-US" sz="1000" dirty="0">
                  <a:latin typeface="Arial" panose="020B0604020202020204" pitchFamily="34" charset="0"/>
                  <a:ea typeface="ＭＳ Ｐゴシック" panose="020B0600070205080204" pitchFamily="50" charset="-128"/>
                  <a:cs typeface="Arial" panose="020B0604020202020204" pitchFamily="34" charset="0"/>
                </a:rPr>
                <a:t>（約</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5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人）</a:t>
              </a:r>
              <a:endParaRPr kumimoji="1" lang="ja-JP" altLang="en-US" sz="10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45" name="正方形/長方形 44"/>
            <p:cNvSpPr/>
            <p:nvPr/>
          </p:nvSpPr>
          <p:spPr>
            <a:xfrm>
              <a:off x="7386649" y="2946224"/>
              <a:ext cx="1756411" cy="936413"/>
            </a:xfrm>
            <a:prstGeom prst="rect">
              <a:avLst/>
            </a:prstGeom>
          </p:spPr>
          <p:txBody>
            <a:bodyPr wrap="square" tIns="0" bIns="0" anchor="ctr" anchorCtr="0">
              <a:noAutofit/>
            </a:bodyPr>
            <a:lstStyle/>
            <a:p>
              <a:pPr algn="r">
                <a:lnSpc>
                  <a:spcPct val="113000"/>
                </a:lnSpc>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加入者</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ja-JP" altLang="en-US" sz="1100" dirty="0">
                  <a:latin typeface="Arial" panose="020B0604020202020204" pitchFamily="34" charset="0"/>
                  <a:ea typeface="ＭＳ Ｐゴシック" panose="020B0600070205080204" pitchFamily="50" charset="-128"/>
                  <a:cs typeface="Arial" panose="020B0604020202020204" pitchFamily="34" charset="0"/>
                </a:rPr>
                <a:t>以外は</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ja-JP" altLang="en-US" sz="1100" dirty="0">
                  <a:latin typeface="Arial" panose="020B0604020202020204" pitchFamily="34" charset="0"/>
                  <a:ea typeface="ＭＳ Ｐゴシック" panose="020B0600070205080204" pitchFamily="50" charset="-128"/>
                  <a:cs typeface="Arial" panose="020B0604020202020204" pitchFamily="34" charset="0"/>
                </a:rPr>
                <a:t>公共医療</a:t>
              </a:r>
              <a:br>
                <a:rPr lang="en-US" altLang="ja-JP" sz="1100" dirty="0">
                  <a:latin typeface="Arial" panose="020B0604020202020204" pitchFamily="34" charset="0"/>
                  <a:ea typeface="ＭＳ Ｐゴシック" panose="020B0600070205080204" pitchFamily="50" charset="-128"/>
                  <a:cs typeface="Arial" panose="020B0604020202020204" pitchFamily="34" charset="0"/>
                </a:rPr>
              </a:b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のみに依存</a:t>
              </a:r>
            </a:p>
          </p:txBody>
        </p:sp>
      </p:grpSp>
      <p:sp>
        <p:nvSpPr>
          <p:cNvPr id="52" name="角丸四角形 51"/>
          <p:cNvSpPr/>
          <p:nvPr/>
        </p:nvSpPr>
        <p:spPr>
          <a:xfrm>
            <a:off x="628634" y="2324297"/>
            <a:ext cx="2070230" cy="289441"/>
          </a:xfrm>
          <a:prstGeom prst="roundRect">
            <a:avLst>
              <a:gd name="adj" fmla="val 17985"/>
            </a:avLst>
          </a:prstGeom>
          <a:solidFill>
            <a:srgbClr val="5F8AC3"/>
          </a:solidFill>
        </p:spPr>
        <p:txBody>
          <a:bodyPr wrap="none" lIns="0" tIns="0" rIns="0" bIns="0" anchor="ctr" anchorCtr="0">
            <a:noAutofit/>
          </a:bodyPr>
          <a:lstStyle/>
          <a:p>
            <a:pPr algn="ctr" fontAlgn="ctr">
              <a:buClr>
                <a:srgbClr val="3D6AA7"/>
              </a:buClr>
            </a:pPr>
            <a:r>
              <a:rPr lang="en-US" altLang="ja-JP" sz="120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SHI</a:t>
            </a:r>
            <a:r>
              <a:rPr lang="ja-JP" altLang="en-US" sz="120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加入者数</a:t>
            </a:r>
            <a:r>
              <a:rPr lang="ja-JP" altLang="en-US" sz="105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lang="en-US" altLang="ja-JP" sz="105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19</a:t>
            </a:r>
            <a:r>
              <a:rPr lang="ja-JP" altLang="en-US" sz="105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末）</a:t>
            </a:r>
          </a:p>
        </p:txBody>
      </p:sp>
      <p:sp>
        <p:nvSpPr>
          <p:cNvPr id="55" name="角丸四角形 54"/>
          <p:cNvSpPr/>
          <p:nvPr/>
        </p:nvSpPr>
        <p:spPr>
          <a:xfrm>
            <a:off x="3418943" y="2324297"/>
            <a:ext cx="2592289" cy="289441"/>
          </a:xfrm>
          <a:prstGeom prst="roundRect">
            <a:avLst>
              <a:gd name="adj" fmla="val 17985"/>
            </a:avLst>
          </a:prstGeom>
          <a:solidFill>
            <a:srgbClr val="5F8AC3"/>
          </a:solidFill>
        </p:spPr>
        <p:txBody>
          <a:bodyPr wrap="none" lIns="0" tIns="0" rIns="0" bIns="0" anchor="ctr" anchorCtr="0">
            <a:noAutofit/>
          </a:bodyPr>
          <a:lstStyle/>
          <a:p>
            <a:pPr algn="ctr" fontAlgn="ctr">
              <a:buClr>
                <a:srgbClr val="3D6AA7"/>
              </a:buClr>
            </a:pPr>
            <a:r>
              <a:rPr lang="ja-JP" altLang="en-US" sz="120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市場の</a:t>
            </a:r>
            <a:r>
              <a:rPr lang="en-US" altLang="ja-JP" sz="120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SHI</a:t>
            </a:r>
            <a:r>
              <a:rPr lang="ja-JP" altLang="en-US" sz="120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収入保険料</a:t>
            </a:r>
            <a:r>
              <a:rPr lang="ja-JP" altLang="en-US" sz="105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lang="en-US" altLang="ja-JP" sz="105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20</a:t>
            </a:r>
            <a:r>
              <a:rPr lang="ja-JP" altLang="en-US" sz="105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a:t>
            </a:r>
          </a:p>
        </p:txBody>
      </p:sp>
      <p:sp>
        <p:nvSpPr>
          <p:cNvPr id="56" name="角丸四角形 55"/>
          <p:cNvSpPr/>
          <p:nvPr/>
        </p:nvSpPr>
        <p:spPr>
          <a:xfrm>
            <a:off x="6753199" y="2324297"/>
            <a:ext cx="2448273" cy="289441"/>
          </a:xfrm>
          <a:prstGeom prst="roundRect">
            <a:avLst>
              <a:gd name="adj" fmla="val 17985"/>
            </a:avLst>
          </a:prstGeom>
          <a:solidFill>
            <a:srgbClr val="5F8AC3"/>
          </a:solidFill>
        </p:spPr>
        <p:txBody>
          <a:bodyPr wrap="none" lIns="0" tIns="0" rIns="0" bIns="0" anchor="ctr" anchorCtr="0">
            <a:noAutofit/>
          </a:bodyPr>
          <a:lstStyle/>
          <a:p>
            <a:pPr algn="ctr" fontAlgn="ctr">
              <a:buClr>
                <a:srgbClr val="3D6AA7"/>
              </a:buClr>
            </a:pPr>
            <a:r>
              <a:rPr lang="ja-JP" altLang="en-US" sz="1200" spc="6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公的保険制度のみの加入者数</a:t>
            </a:r>
          </a:p>
        </p:txBody>
      </p:sp>
      <p:sp>
        <p:nvSpPr>
          <p:cNvPr id="38" name="テキスト ボックス 37"/>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健康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t>Supplementary Health Insurance and Plan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代から半世紀をかけてブラジル独自の様式で発展してきた。</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加入できるということが中間所得層のステータスともされており、ブラジルの多くの国民の憧れの商品であり続けている。</a:t>
            </a:r>
          </a:p>
        </p:txBody>
      </p:sp>
      <p:grpSp>
        <p:nvGrpSpPr>
          <p:cNvPr id="6" name="グループ化 5"/>
          <p:cNvGrpSpPr/>
          <p:nvPr/>
        </p:nvGrpSpPr>
        <p:grpSpPr>
          <a:xfrm>
            <a:off x="871528" y="2924839"/>
            <a:ext cx="1585404" cy="936209"/>
            <a:chOff x="683731" y="2866369"/>
            <a:chExt cx="1836249" cy="1084335"/>
          </a:xfrm>
        </p:grpSpPr>
        <p:graphicFrame>
          <p:nvGraphicFramePr>
            <p:cNvPr id="28" name="グラフ 27"/>
            <p:cNvGraphicFramePr/>
            <p:nvPr>
              <p:extLst>
                <p:ext uri="{D42A27DB-BD31-4B8C-83A1-F6EECF244321}">
                  <p14:modId xmlns:p14="http://schemas.microsoft.com/office/powerpoint/2010/main" val="141413699"/>
                </p:ext>
              </p:extLst>
            </p:nvPr>
          </p:nvGraphicFramePr>
          <p:xfrm>
            <a:off x="683731" y="2866369"/>
            <a:ext cx="1820996" cy="1084335"/>
          </p:xfrm>
          <a:graphic>
            <a:graphicData uri="http://schemas.openxmlformats.org/drawingml/2006/chart">
              <c:chart xmlns:c="http://schemas.openxmlformats.org/drawingml/2006/chart" xmlns:r="http://schemas.openxmlformats.org/officeDocument/2006/relationships" r:id="rId4"/>
            </a:graphicData>
          </a:graphic>
        </p:graphicFrame>
        <p:sp>
          <p:nvSpPr>
            <p:cNvPr id="29" name="テキスト ボックス 28"/>
            <p:cNvSpPr txBox="1"/>
            <p:nvPr/>
          </p:nvSpPr>
          <p:spPr>
            <a:xfrm>
              <a:off x="1483940" y="3001742"/>
              <a:ext cx="1036040" cy="523220"/>
            </a:xfrm>
            <a:prstGeom prst="rect">
              <a:avLst/>
            </a:prstGeom>
            <a:noFill/>
          </p:spPr>
          <p:txBody>
            <a:bodyPr wrap="square" rtlCol="0" anchor="ctr" anchorCtr="0">
              <a:noAutofit/>
            </a:bodyPr>
            <a:lstStyle/>
            <a:p>
              <a:pPr algn="r"/>
              <a:r>
                <a:rPr lang="ja-JP" altLang="en-US" sz="1400" dirty="0">
                  <a:latin typeface="ＭＳ Ｐゴシック" panose="020B0600070205080204" pitchFamily="50" charset="-128"/>
                  <a:ea typeface="ＭＳ Ｐゴシック" panose="020B0600070205080204" pitchFamily="50" charset="-128"/>
                  <a:cs typeface="Arial" panose="020B0604020202020204" pitchFamily="34" charset="0"/>
                </a:rPr>
                <a:t>約</a:t>
              </a:r>
              <a:r>
                <a:rPr kumimoji="1" lang="en-US" altLang="ja-JP" sz="2000" dirty="0">
                  <a:latin typeface="Arial Black" panose="020B0A04020102020204" pitchFamily="34" charset="0"/>
                  <a:ea typeface="HGP創英角ｺﾞｼｯｸUB" panose="020B0900000000000000" pitchFamily="50" charset="-128"/>
                  <a:cs typeface="Arial" panose="020B0604020202020204" pitchFamily="34" charset="0"/>
                </a:rPr>
                <a:t>23</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40" name="正方形/長方形 39"/>
            <p:cNvSpPr/>
            <p:nvPr/>
          </p:nvSpPr>
          <p:spPr>
            <a:xfrm>
              <a:off x="1531480" y="2879578"/>
              <a:ext cx="852820" cy="285178"/>
            </a:xfrm>
            <a:prstGeom prst="rect">
              <a:avLst/>
            </a:prstGeom>
          </p:spPr>
          <p:txBody>
            <a:bodyPr wrap="square">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全国民の</a:t>
              </a:r>
            </a:p>
          </p:txBody>
        </p:sp>
      </p:grpSp>
      <p:sp>
        <p:nvSpPr>
          <p:cNvPr id="60" name="正方形/長方形 59"/>
          <p:cNvSpPr/>
          <p:nvPr/>
        </p:nvSpPr>
        <p:spPr>
          <a:xfrm>
            <a:off x="753405" y="4846367"/>
            <a:ext cx="3787800" cy="416737"/>
          </a:xfrm>
          <a:prstGeom prst="rect">
            <a:avLst/>
          </a:prstGeom>
          <a:noFill/>
          <a:ln cmpd="sng">
            <a:noFill/>
          </a:ln>
          <a:extLst>
            <a:ext uri="{909E8E84-426E-40DD-AFC4-6F175D3DCCD1}">
              <a14:hiddenFill xmlns:a14="http://schemas.microsoft.com/office/drawing/2010/main">
                <a:solidFill>
                  <a:srgbClr val="FFEEE7"/>
                </a:solidFill>
              </a14:hiddenFill>
            </a:ext>
          </a:extLst>
        </p:spPr>
        <p:txBody>
          <a:bodyPr wrap="square" lIns="0" rIns="0" rtlCol="0" anchor="t" anchorCtr="0">
            <a:noAutofit/>
          </a:bodyPr>
          <a:lstStyle/>
          <a:p>
            <a:pPr marL="138113" indent="-138113" algn="just">
              <a:lnSpc>
                <a:spcPct val="113000"/>
              </a:lnSpc>
              <a:buClr>
                <a:srgbClr val="3D6AA7"/>
              </a:buClr>
              <a:buSzPct val="80000"/>
            </a:pPr>
            <a:r>
              <a:rPr lang="en-US" altLang="ja-JP" sz="800" spc="-30" dirty="0">
                <a:latin typeface="Arial" panose="020B0604020202020204" pitchFamily="34" charset="0"/>
                <a:ea typeface="ＭＳ Ｐゴシック" panose="020B0600070205080204" pitchFamily="50" charset="-128"/>
              </a:rPr>
              <a:t>※ </a:t>
            </a:r>
            <a:r>
              <a:rPr lang="ja-JP" altLang="en-US" sz="800" spc="-30" dirty="0">
                <a:latin typeface="Arial" panose="020B0604020202020204" pitchFamily="34" charset="0"/>
                <a:ea typeface="ＭＳ Ｐゴシック" panose="020B0600070205080204" pitchFamily="50" charset="-128"/>
              </a:rPr>
              <a:t>国民健康保険庁により、民間保険がカバーしなくてはいけない医療サービスは定められている。支払保険料の金額にかかわらず同じ医療サービスのメニューを受けることができる。</a:t>
            </a:r>
          </a:p>
        </p:txBody>
      </p:sp>
      <p:sp>
        <p:nvSpPr>
          <p:cNvPr id="49" name="片側の 2 つの角を丸めた四角形 48"/>
          <p:cNvSpPr/>
          <p:nvPr/>
        </p:nvSpPr>
        <p:spPr>
          <a:xfrm>
            <a:off x="759731" y="4091361"/>
            <a:ext cx="1851921" cy="288746"/>
          </a:xfrm>
          <a:prstGeom prst="round2SameRect">
            <a:avLst/>
          </a:prstGeom>
          <a:solidFill>
            <a:srgbClr val="A2BBDC"/>
          </a:solidFill>
          <a:ln cmpd="sng">
            <a:noFill/>
          </a:ln>
        </p:spPr>
        <p:txBody>
          <a:bodyPr wrap="square" lIns="108000" tIns="36000" rIns="36000" rtlCol="0" anchor="ctr" anchorCtr="0">
            <a:noAutofit/>
          </a:bodyPr>
          <a:lstStyle/>
          <a:p>
            <a:pPr algn="ctr" fontAlgn="ctr">
              <a:lnSpc>
                <a:spcPct val="113000"/>
              </a:lnSpc>
              <a:buClr>
                <a:srgbClr val="3D6AA7"/>
              </a:buClr>
              <a:buSzPct val="80000"/>
            </a:pPr>
            <a:r>
              <a:rPr lang="ja-JP" altLang="en-US" sz="1200" b="1" dirty="0">
                <a:latin typeface="Arial" panose="020B0604020202020204" pitchFamily="34" charset="0"/>
                <a:ea typeface="ＭＳ Ｐゴシック" panose="020B0600070205080204" pitchFamily="50" charset="-128"/>
              </a:rPr>
              <a:t>支払う保険料による差</a:t>
            </a:r>
          </a:p>
        </p:txBody>
      </p:sp>
      <p:sp>
        <p:nvSpPr>
          <p:cNvPr id="62" name="片側の 2 つの角を丸めた四角形 61"/>
          <p:cNvSpPr/>
          <p:nvPr/>
        </p:nvSpPr>
        <p:spPr>
          <a:xfrm>
            <a:off x="2706837" y="4091361"/>
            <a:ext cx="1851921" cy="288746"/>
          </a:xfrm>
          <a:prstGeom prst="round2SameRect">
            <a:avLst/>
          </a:prstGeom>
          <a:solidFill>
            <a:srgbClr val="A2BBDC"/>
          </a:solidFill>
          <a:ln cmpd="sng">
            <a:noFill/>
          </a:ln>
        </p:spPr>
        <p:txBody>
          <a:bodyPr wrap="square" lIns="108000" tIns="36000" rIns="36000" rtlCol="0" anchor="ctr" anchorCtr="0">
            <a:noAutofit/>
          </a:bodyPr>
          <a:lstStyle/>
          <a:p>
            <a:pPr algn="ctr" fontAlgn="ctr">
              <a:lnSpc>
                <a:spcPct val="113000"/>
              </a:lnSpc>
              <a:buClr>
                <a:srgbClr val="3D6AA7"/>
              </a:buClr>
              <a:buSzPct val="80000"/>
            </a:pPr>
            <a:r>
              <a:rPr lang="ja-JP" altLang="en-US" sz="1200" b="1" dirty="0">
                <a:latin typeface="Arial" panose="020B0604020202020204" pitchFamily="34" charset="0"/>
                <a:ea typeface="ＭＳ Ｐゴシック" panose="020B0600070205080204" pitchFamily="50" charset="-128"/>
              </a:rPr>
              <a:t>高い保険料を払うメリット</a:t>
            </a:r>
          </a:p>
        </p:txBody>
      </p:sp>
      <p:sp>
        <p:nvSpPr>
          <p:cNvPr id="66" name="正方形/長方形 65"/>
          <p:cNvSpPr/>
          <p:nvPr/>
        </p:nvSpPr>
        <p:spPr>
          <a:xfrm>
            <a:off x="779672" y="4450687"/>
            <a:ext cx="1800000" cy="288746"/>
          </a:xfrm>
          <a:prstGeom prst="rect">
            <a:avLst/>
          </a:prstGeom>
          <a:noFill/>
          <a:ln cmpd="sng">
            <a:noFill/>
          </a:ln>
        </p:spPr>
        <p:txBody>
          <a:bodyPr wrap="square" lIns="0" tIns="36000" rIns="0" bIns="0" rtlCol="0" anchor="t" anchorCtr="0">
            <a:noAutofit/>
          </a:bodyPr>
          <a:lstStyle/>
          <a:p>
            <a:pPr algn="ctr">
              <a:lnSpc>
                <a:spcPct val="113000"/>
              </a:lnSpc>
              <a:buClr>
                <a:srgbClr val="3D6AA7"/>
              </a:buClr>
              <a:buSzPct val="80000"/>
            </a:pP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65" name="角丸四角形 64"/>
          <p:cNvSpPr/>
          <p:nvPr/>
        </p:nvSpPr>
        <p:spPr>
          <a:xfrm>
            <a:off x="2792210" y="5445125"/>
            <a:ext cx="1681174" cy="432147"/>
          </a:xfrm>
          <a:prstGeom prst="roundRect">
            <a:avLst>
              <a:gd name="adj" fmla="val 11523"/>
            </a:avLst>
          </a:prstGeom>
          <a:solidFill>
            <a:srgbClr val="FFFFFF"/>
          </a:solidFill>
          <a:ln w="12700" cmpd="sng">
            <a:solidFill>
              <a:srgbClr val="3D6AA7"/>
            </a:solidFill>
          </a:ln>
        </p:spPr>
        <p:txBody>
          <a:bodyPr wrap="square" lIns="0" tIns="0" rIns="0" bIns="0" rtlCol="0" anchor="ctr" anchorCtr="0">
            <a:noAutofit/>
          </a:bodyPr>
          <a:lstStyle/>
          <a:p>
            <a:pPr algn="ctr">
              <a:lnSpc>
                <a:spcPct val="113000"/>
              </a:lnSpc>
              <a:spcAft>
                <a:spcPts val="300"/>
              </a:spcAft>
              <a:buClr>
                <a:srgbClr val="3D6AA7"/>
              </a:buClr>
              <a:buSzPct val="80000"/>
            </a:pPr>
            <a:r>
              <a:rPr lang="ja-JP" altLang="en-US" sz="1000" dirty="0">
                <a:latin typeface="Arial" panose="020B0604020202020204" pitchFamily="34" charset="0"/>
                <a:ea typeface="ＭＳ Ｐゴシック" panose="020B0600070205080204" pitchFamily="50" charset="-128"/>
              </a:rPr>
              <a:t>保険会社による</a:t>
            </a: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加盟病院の</a:t>
            </a:r>
            <a:br>
              <a:rPr lang="en-US" altLang="ja-JP"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奪い合い</a:t>
            </a:r>
            <a:r>
              <a:rPr lang="ja-JP" altLang="en-US" sz="1000" dirty="0">
                <a:latin typeface="Arial" panose="020B0604020202020204" pitchFamily="34" charset="0"/>
                <a:ea typeface="ＭＳ Ｐゴシック" panose="020B0600070205080204" pitchFamily="50" charset="-128"/>
              </a:rPr>
              <a:t>が起こっている</a:t>
            </a:r>
          </a:p>
        </p:txBody>
      </p:sp>
      <p:sp>
        <p:nvSpPr>
          <p:cNvPr id="72" name="角丸四角形 71"/>
          <p:cNvSpPr/>
          <p:nvPr/>
        </p:nvSpPr>
        <p:spPr>
          <a:xfrm>
            <a:off x="852171" y="5445125"/>
            <a:ext cx="1681200" cy="432147"/>
          </a:xfrm>
          <a:prstGeom prst="roundRect">
            <a:avLst>
              <a:gd name="adj" fmla="val 10788"/>
            </a:avLst>
          </a:prstGeom>
          <a:solidFill>
            <a:srgbClr val="FFFFFF"/>
          </a:solidFill>
          <a:ln w="12700" cmpd="sng">
            <a:solidFill>
              <a:srgbClr val="3D6AA7"/>
            </a:solidFill>
          </a:ln>
        </p:spPr>
        <p:txBody>
          <a:bodyPr wrap="square" lIns="0" tIns="0" rIns="0" bIns="0" rtlCol="0" anchor="ctr" anchorCtr="0">
            <a:noAutofit/>
          </a:bodyPr>
          <a:lstStyle/>
          <a:p>
            <a:pPr algn="ctr">
              <a:lnSpc>
                <a:spcPct val="113000"/>
              </a:lnSpc>
              <a:spcAft>
                <a:spcPts val="300"/>
              </a:spcAft>
              <a:buClr>
                <a:srgbClr val="3D6AA7"/>
              </a:buClr>
              <a:buSzPct val="80000"/>
            </a:pP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民間保険の競争は熾烈</a:t>
            </a:r>
            <a:br>
              <a:rPr lang="en-US" altLang="ja-JP"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rPr>
              <a:t>（低所得者向けを含む）</a:t>
            </a:r>
          </a:p>
        </p:txBody>
      </p:sp>
      <p:sp>
        <p:nvSpPr>
          <p:cNvPr id="9" name="角丸四角形 8"/>
          <p:cNvSpPr/>
          <p:nvPr/>
        </p:nvSpPr>
        <p:spPr>
          <a:xfrm>
            <a:off x="6801932" y="5439777"/>
            <a:ext cx="1103427" cy="259260"/>
          </a:xfrm>
          <a:prstGeom prst="roundRect">
            <a:avLst>
              <a:gd name="adj" fmla="val 50000"/>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050" spc="-20" dirty="0" err="1">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Sul</a:t>
            </a:r>
            <a:r>
              <a:rPr lang="en-US" altLang="ja-JP" sz="105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 America</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角丸四角形 115"/>
          <p:cNvSpPr/>
          <p:nvPr/>
        </p:nvSpPr>
        <p:spPr>
          <a:xfrm>
            <a:off x="6801932" y="5771473"/>
            <a:ext cx="1103427" cy="259260"/>
          </a:xfrm>
          <a:prstGeom prst="roundRect">
            <a:avLst>
              <a:gd name="adj" fmla="val 50000"/>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05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BRADESCO</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角丸四角形 116"/>
          <p:cNvSpPr/>
          <p:nvPr/>
        </p:nvSpPr>
        <p:spPr>
          <a:xfrm>
            <a:off x="8001768" y="5439777"/>
            <a:ext cx="674064" cy="259260"/>
          </a:xfrm>
          <a:prstGeom prst="roundRect">
            <a:avLst>
              <a:gd name="adj" fmla="val 50000"/>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05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OMINT</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角丸四角形 117"/>
          <p:cNvSpPr/>
          <p:nvPr/>
        </p:nvSpPr>
        <p:spPr>
          <a:xfrm>
            <a:off x="8001768" y="5771473"/>
            <a:ext cx="674064" cy="259260"/>
          </a:xfrm>
          <a:prstGeom prst="roundRect">
            <a:avLst>
              <a:gd name="adj" fmla="val 50000"/>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05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AMIL</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9" name="正方形/長方形 118"/>
          <p:cNvSpPr/>
          <p:nvPr/>
        </p:nvSpPr>
        <p:spPr>
          <a:xfrm>
            <a:off x="8631218" y="5882293"/>
            <a:ext cx="449964" cy="170571"/>
          </a:xfrm>
          <a:prstGeom prst="rect">
            <a:avLst/>
          </a:prstGeom>
          <a:noFill/>
          <a:ln cmpd="sng">
            <a:noFill/>
          </a:ln>
        </p:spPr>
        <p:txBody>
          <a:bodyPr wrap="square" lIns="36000" rIns="36000" rtlCol="0" anchor="ctr" anchorCtr="0">
            <a:noAutofit/>
          </a:bodyPr>
          <a:lstStyle/>
          <a:p>
            <a:pPr marL="130175">
              <a:lnSpc>
                <a:spcPct val="113000"/>
              </a:lnSpc>
              <a:buClr>
                <a:srgbClr val="3D6AA7"/>
              </a:buClr>
              <a:buSzPct val="80000"/>
            </a:pPr>
            <a:r>
              <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rPr>
              <a:t>など</a:t>
            </a:r>
          </a:p>
        </p:txBody>
      </p:sp>
      <p:sp>
        <p:nvSpPr>
          <p:cNvPr id="11" name="片側の 2 つの角を丸めた四角形 10"/>
          <p:cNvSpPr/>
          <p:nvPr/>
        </p:nvSpPr>
        <p:spPr>
          <a:xfrm rot="16200000">
            <a:off x="5623829" y="5094684"/>
            <a:ext cx="864000" cy="1277239"/>
          </a:xfrm>
          <a:prstGeom prst="round2SameRect">
            <a:avLst>
              <a:gd name="adj1" fmla="val 7789"/>
              <a:gd name="adj2" fmla="val 0"/>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lIns="108000" tIns="72000" rIns="108000" bIns="72000" rtlCol="0" anchor="ctr"/>
          <a:lstStyle/>
          <a:p>
            <a:pPr algn="ctr">
              <a:lnSpc>
                <a:spcPct val="113000"/>
              </a:lnSpc>
              <a:buClr>
                <a:srgbClr val="3D6AA7"/>
              </a:buClr>
              <a:buSzPct val="80000"/>
            </a:pPr>
            <a:r>
              <a:rPr lang="ja-JP" altLang="en-US" sz="1050" dirty="0">
                <a:solidFill>
                  <a:schemeClr val="tx1"/>
                </a:solidFill>
                <a:latin typeface="Arial Black" panose="020B0A04020102020204" pitchFamily="34" charset="0"/>
              </a:rPr>
              <a:t>ブラジルで</a:t>
            </a:r>
            <a:br>
              <a:rPr lang="en-US" altLang="ja-JP" sz="1050" dirty="0">
                <a:solidFill>
                  <a:schemeClr val="tx1"/>
                </a:solidFill>
                <a:latin typeface="Arial Black" panose="020B0A04020102020204" pitchFamily="34" charset="0"/>
              </a:rPr>
            </a:br>
            <a:r>
              <a:rPr lang="ja-JP" altLang="en-US" sz="1050" dirty="0">
                <a:solidFill>
                  <a:schemeClr val="tx1"/>
                </a:solidFill>
                <a:latin typeface="Arial Black" panose="020B0A04020102020204" pitchFamily="34" charset="0"/>
              </a:rPr>
              <a:t>事業を展開する</a:t>
            </a:r>
            <a:br>
              <a:rPr lang="en-US" altLang="ja-JP" sz="1050" dirty="0">
                <a:solidFill>
                  <a:schemeClr val="tx1"/>
                </a:solidFill>
                <a:latin typeface="Arial Black" panose="020B0A04020102020204" pitchFamily="34" charset="0"/>
              </a:rPr>
            </a:br>
            <a:r>
              <a:rPr lang="ja-JP" altLang="en-US" sz="110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主要日系企業の</a:t>
            </a:r>
            <a:br>
              <a:rPr lang="en-US" altLang="ja-JP" sz="110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100" spc="-2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加入先保険会社</a:t>
            </a:r>
          </a:p>
        </p:txBody>
      </p:sp>
      <p:sp>
        <p:nvSpPr>
          <p:cNvPr id="115" name="円/楕円 114"/>
          <p:cNvSpPr/>
          <p:nvPr/>
        </p:nvSpPr>
        <p:spPr>
          <a:xfrm>
            <a:off x="7905329" y="4207019"/>
            <a:ext cx="1238226" cy="917978"/>
          </a:xfrm>
          <a:prstGeom prst="ellipse">
            <a:avLst/>
          </a:prstGeom>
          <a:gradFill flip="none" rotWithShape="1">
            <a:gsLst>
              <a:gs pos="0">
                <a:srgbClr val="77D4ED"/>
              </a:gs>
              <a:gs pos="100000">
                <a:schemeClr val="bg1"/>
              </a:gs>
            </a:gsLst>
            <a:path path="shape">
              <a:fillToRect l="50000" t="50000" r="50000" b="50000"/>
            </a:path>
            <a:tileRect/>
          </a:gradFill>
          <a:ln cmpd="sng">
            <a:noFill/>
          </a:ln>
        </p:spPr>
        <p:txBody>
          <a:bodyPr wrap="none" lIns="36000" rIns="36000" rtlCol="0" anchor="ctr" anchorCtr="0">
            <a:noAutofit/>
          </a:bodyPr>
          <a:lstStyle/>
          <a:p>
            <a:pPr algn="ctr">
              <a:lnSpc>
                <a:spcPct val="113000"/>
              </a:lnSpc>
              <a:buClr>
                <a:srgbClr val="3D6AA7"/>
              </a:buClr>
              <a:buSzPct val="80000"/>
            </a:pPr>
            <a:r>
              <a:rPr lang="ja-JP" altLang="en-US" sz="1400" dirty="0">
                <a:latin typeface="HGP創英角ｺﾞｼｯｸUB" panose="020B0900000000000000" pitchFamily="50" charset="-128"/>
                <a:ea typeface="HGP創英角ｺﾞｼｯｸUB" panose="020B0900000000000000" pitchFamily="50" charset="-128"/>
              </a:rPr>
              <a:t>民間保険</a:t>
            </a:r>
            <a:endPar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131" name="Group 5"/>
          <p:cNvGrpSpPr>
            <a:grpSpLocks noChangeAspect="1"/>
          </p:cNvGrpSpPr>
          <p:nvPr/>
        </p:nvGrpSpPr>
        <p:grpSpPr bwMode="auto">
          <a:xfrm>
            <a:off x="5779401" y="4063003"/>
            <a:ext cx="306849" cy="503388"/>
            <a:chOff x="537" y="888"/>
            <a:chExt cx="548" cy="899"/>
          </a:xfrm>
        </p:grpSpPr>
        <p:sp>
          <p:nvSpPr>
            <p:cNvPr id="132" name="Oval 6"/>
            <p:cNvSpPr>
              <a:spLocks noChangeArrowheads="1"/>
            </p:cNvSpPr>
            <p:nvPr/>
          </p:nvSpPr>
          <p:spPr bwMode="auto">
            <a:xfrm>
              <a:off x="641" y="888"/>
              <a:ext cx="341" cy="343"/>
            </a:xfrm>
            <a:prstGeom prst="ellipse">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46" name="Group 5"/>
          <p:cNvGrpSpPr>
            <a:grpSpLocks noChangeAspect="1"/>
          </p:cNvGrpSpPr>
          <p:nvPr/>
        </p:nvGrpSpPr>
        <p:grpSpPr bwMode="auto">
          <a:xfrm>
            <a:off x="5532264" y="4163474"/>
            <a:ext cx="306849" cy="503388"/>
            <a:chOff x="537" y="888"/>
            <a:chExt cx="548" cy="899"/>
          </a:xfrm>
        </p:grpSpPr>
        <p:sp>
          <p:nvSpPr>
            <p:cNvPr id="47" name="Oval 6"/>
            <p:cNvSpPr>
              <a:spLocks noChangeArrowheads="1"/>
            </p:cNvSpPr>
            <p:nvPr/>
          </p:nvSpPr>
          <p:spPr bwMode="auto">
            <a:xfrm>
              <a:off x="641" y="888"/>
              <a:ext cx="341" cy="343"/>
            </a:xfrm>
            <a:prstGeom prst="ellipse">
              <a:avLst/>
            </a:prstGeom>
            <a:solidFill>
              <a:srgbClr val="A2BBDC"/>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A2BBDC"/>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4" name="正方形/長方形 53"/>
          <p:cNvSpPr/>
          <p:nvPr/>
        </p:nvSpPr>
        <p:spPr>
          <a:xfrm>
            <a:off x="5633238" y="4940998"/>
            <a:ext cx="738421" cy="216692"/>
          </a:xfrm>
          <a:prstGeom prst="rect">
            <a:avLst/>
          </a:prstGeom>
          <a:noFill/>
          <a:ln cmpd="sng">
            <a:noFill/>
          </a:ln>
        </p:spPr>
        <p:txBody>
          <a:bodyPr wrap="square" lIns="36000" rIns="36000" rtlCol="0" anchor="ctr" anchorCtr="0">
            <a:noAutofit/>
          </a:bodyPr>
          <a:lstStyle/>
          <a:p>
            <a:pPr algn="ctr">
              <a:lnSpc>
                <a:spcPct val="113000"/>
              </a:lnSpc>
              <a:buClr>
                <a:srgbClr val="3D6AA7"/>
              </a:buClr>
              <a:buSzPct val="80000"/>
            </a:pPr>
            <a:r>
              <a:rPr lang="ja-JP" altLang="en-US" sz="1050" dirty="0">
                <a:latin typeface="Arial Black" panose="020B0A04020102020204" pitchFamily="34" charset="0"/>
              </a:rPr>
              <a:t>従業員</a:t>
            </a:r>
            <a:endPar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8" name="正方形/長方形 57"/>
          <p:cNvSpPr/>
          <p:nvPr/>
        </p:nvSpPr>
        <p:spPr>
          <a:xfrm>
            <a:off x="6379783" y="4256088"/>
            <a:ext cx="1711849" cy="288746"/>
          </a:xfrm>
          <a:prstGeom prst="rect">
            <a:avLst/>
          </a:prstGeom>
          <a:noFill/>
          <a:ln cmpd="sng">
            <a:noFill/>
          </a:ln>
        </p:spPr>
        <p:txBody>
          <a:bodyPr wrap="square" lIns="36000" rIns="36000" rtlCol="0" anchor="ctr" anchorCtr="0">
            <a:noAutofit/>
          </a:bodyPr>
          <a:lstStyle/>
          <a:p>
            <a:pPr algn="ctr">
              <a:lnSpc>
                <a:spcPct val="113000"/>
              </a:lnSpc>
              <a:buClr>
                <a:srgbClr val="3D6AA7"/>
              </a:buClr>
              <a:buSzPct val="80000"/>
            </a:pPr>
            <a:r>
              <a:rPr lang="ja-JP" altLang="en-US" sz="1050" spc="-20" dirty="0">
                <a:latin typeface="+mn-ea"/>
                <a:cs typeface="Arial" panose="020B0604020202020204" pitchFamily="34" charset="0"/>
              </a:rPr>
              <a:t>従業員向け</a:t>
            </a:r>
            <a:r>
              <a:rPr lang="ja-JP" altLang="en-US" sz="1100" spc="-20" dirty="0">
                <a:latin typeface="Arial Black" panose="020B0A04020102020204" pitchFamily="34" charset="0"/>
                <a:ea typeface="HGP創英角ｺﾞｼｯｸUB" panose="020B0900000000000000" pitchFamily="50" charset="-128"/>
                <a:cs typeface="Arial" panose="020B0604020202020204" pitchFamily="34" charset="0"/>
              </a:rPr>
              <a:t>福利厚生の一環</a:t>
            </a:r>
            <a:endParaRPr lang="en-US" altLang="ja-JP" sz="1100" spc="-20" dirty="0">
              <a:latin typeface="Arial Black" panose="020B0A04020102020204" pitchFamily="34" charset="0"/>
              <a:ea typeface="HGP創英角ｺﾞｼｯｸUB" panose="020B0900000000000000" pitchFamily="50" charset="-128"/>
              <a:cs typeface="Arial" panose="020B0604020202020204" pitchFamily="34" charset="0"/>
            </a:endParaRPr>
          </a:p>
          <a:p>
            <a:pPr algn="ctr">
              <a:lnSpc>
                <a:spcPct val="113000"/>
              </a:lnSpc>
              <a:buClr>
                <a:srgbClr val="3D6AA7"/>
              </a:buClr>
              <a:buSzPct val="80000"/>
            </a:pPr>
            <a:r>
              <a:rPr lang="ja-JP" altLang="en-US" sz="1100" dirty="0">
                <a:latin typeface="Arial Black" panose="020B0A04020102020204" pitchFamily="34" charset="0"/>
              </a:rPr>
              <a:t>として民間保険に加入</a:t>
            </a:r>
            <a:endPar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9" name="右矢印 58"/>
          <p:cNvSpPr/>
          <p:nvPr/>
        </p:nvSpPr>
        <p:spPr>
          <a:xfrm>
            <a:off x="6446751" y="4567059"/>
            <a:ext cx="1486108"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22" name="Group 5"/>
          <p:cNvGrpSpPr>
            <a:grpSpLocks noChangeAspect="1"/>
          </p:cNvGrpSpPr>
          <p:nvPr/>
        </p:nvGrpSpPr>
        <p:grpSpPr bwMode="auto">
          <a:xfrm>
            <a:off x="5987372" y="4213338"/>
            <a:ext cx="306849" cy="503389"/>
            <a:chOff x="863" y="619"/>
            <a:chExt cx="548" cy="899"/>
          </a:xfrm>
        </p:grpSpPr>
        <p:sp>
          <p:nvSpPr>
            <p:cNvPr id="123" name="Oval 6"/>
            <p:cNvSpPr>
              <a:spLocks noChangeArrowheads="1"/>
            </p:cNvSpPr>
            <p:nvPr/>
          </p:nvSpPr>
          <p:spPr bwMode="auto">
            <a:xfrm>
              <a:off x="967" y="619"/>
              <a:ext cx="341" cy="343"/>
            </a:xfrm>
            <a:prstGeom prst="ellipse">
              <a:avLst/>
            </a:pr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 name="Freeform 7"/>
            <p:cNvSpPr>
              <a:spLocks/>
            </p:cNvSpPr>
            <p:nvPr/>
          </p:nvSpPr>
          <p:spPr bwMode="auto">
            <a:xfrm>
              <a:off x="863" y="948"/>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25" name="Group 5"/>
          <p:cNvGrpSpPr>
            <a:grpSpLocks noChangeAspect="1"/>
          </p:cNvGrpSpPr>
          <p:nvPr/>
        </p:nvGrpSpPr>
        <p:grpSpPr bwMode="auto">
          <a:xfrm>
            <a:off x="5625977" y="4342324"/>
            <a:ext cx="306849" cy="503388"/>
            <a:chOff x="537" y="888"/>
            <a:chExt cx="548" cy="899"/>
          </a:xfrm>
        </p:grpSpPr>
        <p:sp>
          <p:nvSpPr>
            <p:cNvPr id="126" name="Oval 6"/>
            <p:cNvSpPr>
              <a:spLocks noChangeArrowheads="1"/>
            </p:cNvSpPr>
            <p:nvPr/>
          </p:nvSpPr>
          <p:spPr bwMode="auto">
            <a:xfrm>
              <a:off x="641" y="888"/>
              <a:ext cx="341" cy="343"/>
            </a:xfrm>
            <a:prstGeom prst="ellipse">
              <a:avLst/>
            </a:pr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28" name="Group 5"/>
          <p:cNvGrpSpPr>
            <a:grpSpLocks noChangeAspect="1"/>
          </p:cNvGrpSpPr>
          <p:nvPr/>
        </p:nvGrpSpPr>
        <p:grpSpPr bwMode="auto">
          <a:xfrm>
            <a:off x="6116002" y="4333561"/>
            <a:ext cx="306849" cy="503388"/>
            <a:chOff x="537" y="888"/>
            <a:chExt cx="548" cy="899"/>
          </a:xfrm>
        </p:grpSpPr>
        <p:sp>
          <p:nvSpPr>
            <p:cNvPr id="129" name="Oval 6"/>
            <p:cNvSpPr>
              <a:spLocks noChangeArrowheads="1"/>
            </p:cNvSpPr>
            <p:nvPr/>
          </p:nvSpPr>
          <p:spPr bwMode="auto">
            <a:xfrm>
              <a:off x="641" y="888"/>
              <a:ext cx="341" cy="343"/>
            </a:xfrm>
            <a:prstGeom prst="ellipse">
              <a:avLst/>
            </a:prstGeom>
            <a:solidFill>
              <a:srgbClr val="CCDAEC"/>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CCDAEC"/>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34" name="Group 5"/>
          <p:cNvGrpSpPr>
            <a:grpSpLocks noChangeAspect="1"/>
          </p:cNvGrpSpPr>
          <p:nvPr/>
        </p:nvGrpSpPr>
        <p:grpSpPr bwMode="auto">
          <a:xfrm>
            <a:off x="5804499" y="4314234"/>
            <a:ext cx="369210" cy="605692"/>
            <a:chOff x="537" y="888"/>
            <a:chExt cx="548" cy="899"/>
          </a:xfrm>
        </p:grpSpPr>
        <p:sp>
          <p:nvSpPr>
            <p:cNvPr id="135" name="Oval 6"/>
            <p:cNvSpPr>
              <a:spLocks noChangeArrowheads="1"/>
            </p:cNvSpPr>
            <p:nvPr/>
          </p:nvSpPr>
          <p:spPr bwMode="auto">
            <a:xfrm>
              <a:off x="641" y="888"/>
              <a:ext cx="341" cy="343"/>
            </a:xfrm>
            <a:prstGeom prst="ellipse">
              <a:avLst/>
            </a:prstGeom>
            <a:solidFill>
              <a:srgbClr val="5F8AC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5F8AC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spTree>
    <p:extLst>
      <p:ext uri="{BB962C8B-B14F-4D97-AF65-F5344CB8AC3E}">
        <p14:creationId xmlns:p14="http://schemas.microsoft.com/office/powerpoint/2010/main" val="14987909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2"/>
            </p:custDataLst>
            <p:extLst>
              <p:ext uri="{D42A27DB-BD31-4B8C-83A1-F6EECF244321}">
                <p14:modId xmlns:p14="http://schemas.microsoft.com/office/powerpoint/2010/main" val="259195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29" imgW="395" imgH="396" progId="TCLayout.ActiveDocument.1">
                  <p:embed/>
                </p:oleObj>
              </mc:Choice>
              <mc:Fallback>
                <p:oleObj name="think-cell Slide" r:id="rId29"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ブラジル／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1" name="Chart 40">
            <a:extLst>
              <a:ext uri="{FF2B5EF4-FFF2-40B4-BE49-F238E27FC236}">
                <a16:creationId xmlns:a16="http://schemas.microsoft.com/office/drawing/2014/main" id="{BCCB4C3B-6B9F-4150-8D53-3EF2B7D3D5F1}"/>
              </a:ext>
            </a:extLst>
          </p:cNvPr>
          <p:cNvGraphicFramePr/>
          <p:nvPr>
            <p:custDataLst>
              <p:tags r:id="rId3"/>
            </p:custDataLst>
            <p:extLst>
              <p:ext uri="{D42A27DB-BD31-4B8C-83A1-F6EECF244321}">
                <p14:modId xmlns:p14="http://schemas.microsoft.com/office/powerpoint/2010/main" val="3182023571"/>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1"/>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4"/>
            </p:custDataLst>
          </p:nvPr>
        </p:nvCxnSpPr>
        <p:spPr bwMode="auto">
          <a:xfrm flipV="1">
            <a:off x="854075" y="2933700"/>
            <a:ext cx="8293100" cy="254317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5"/>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6"/>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7"/>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8"/>
            </p:custDataLst>
          </p:nvPr>
        </p:nvSpPr>
        <p:spPr bwMode="auto">
          <a:xfrm>
            <a:off x="89725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9"/>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10"/>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11"/>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12"/>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13"/>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14"/>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5"/>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6"/>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7"/>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8"/>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9"/>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20"/>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21"/>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2"/>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3"/>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4"/>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5"/>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6"/>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7"/>
            </p:custDataLst>
          </p:nvPr>
        </p:nvSpPr>
        <p:spPr bwMode="auto">
          <a:xfrm>
            <a:off x="4430713" y="4054476"/>
            <a:ext cx="11398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0E6C6317-45F7-4A0A-9E06-9141B3D7B502}" type="datetime'''''''''+''''''''''''''''''''11''''%'''''''''''''''''''">
              <a:rPr lang="en-US" altLang="en-US" sz="1400" b="1" smtClean="0">
                <a:effectLst/>
              </a:rPr>
              <a:pPr marL="0" indent="0" algn="ctr">
                <a:spcBef>
                  <a:spcPct val="0"/>
                </a:spcBef>
                <a:buNone/>
              </a:pPr>
              <a:t>+11%</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razil Government, ANS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nuario</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USE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ブラジル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433048"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では民間医療保険の７割近くは会社負担による加入であり、経済状況の影響を大きく受けるが、全体的な市場としては順調に成長している。</a:t>
            </a:r>
          </a:p>
        </p:txBody>
      </p:sp>
    </p:spTree>
    <p:extLst>
      <p:ext uri="{BB962C8B-B14F-4D97-AF65-F5344CB8AC3E}">
        <p14:creationId xmlns:p14="http://schemas.microsoft.com/office/powerpoint/2010/main" val="10131250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HGP創英角ｺﾞｼｯｸUB"/>
                <a:ea typeface="HGP創英角ｺﾞｼｯｸUB"/>
              </a:rPr>
              <a:t>医薬品規制</a:t>
            </a:r>
          </a:p>
        </p:txBody>
      </p:sp>
      <p:sp>
        <p:nvSpPr>
          <p:cNvPr id="44" name="テキスト ボックス 43"/>
          <p:cNvSpPr txBox="1"/>
          <p:nvPr/>
        </p:nvSpPr>
        <p:spPr>
          <a:xfrm>
            <a:off x="200472" y="6525344"/>
            <a:ext cx="8640960"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国家衛生監督庁の認証・登録制度の概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p>
        </p:txBody>
      </p:sp>
      <p:grpSp>
        <p:nvGrpSpPr>
          <p:cNvPr id="61" name="グループ化 7"/>
          <p:cNvGrpSpPr/>
          <p:nvPr/>
        </p:nvGrpSpPr>
        <p:grpSpPr>
          <a:xfrm>
            <a:off x="488504" y="2276872"/>
            <a:ext cx="8928992" cy="288032"/>
            <a:chOff x="4944173" y="2113806"/>
            <a:chExt cx="5861371" cy="288032"/>
          </a:xfrm>
        </p:grpSpPr>
        <p:cxnSp>
          <p:nvCxnSpPr>
            <p:cNvPr id="62" name="直線コネクタ 6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3"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化学合成・半合成による有効成分を含有する医薬品</a:t>
              </a:r>
              <a:r>
                <a:rPr lang="en-US" altLang="ja-JP" sz="1400" baseline="30000" dirty="0">
                  <a:solidFill>
                    <a:srgbClr val="000000"/>
                  </a:solidFill>
                  <a:latin typeface="Arial Black" pitchFamily="34" charset="0"/>
                  <a:ea typeface="HGP創英角ｺﾞｼｯｸUB" pitchFamily="50" charset="-128"/>
                </a:rPr>
                <a:t>※2</a:t>
              </a:r>
              <a:r>
                <a:rPr lang="ja-JP" altLang="en-US" sz="1400" dirty="0">
                  <a:solidFill>
                    <a:srgbClr val="000000"/>
                  </a:solidFill>
                  <a:latin typeface="Arial Black" pitchFamily="34" charset="0"/>
                  <a:ea typeface="HGP創英角ｺﾞｼｯｸUB" pitchFamily="50" charset="-128"/>
                </a:rPr>
                <a:t>」に必要な書類</a:t>
              </a:r>
            </a:p>
          </p:txBody>
        </p:sp>
      </p:grpSp>
      <p:graphicFrame>
        <p:nvGraphicFramePr>
          <p:cNvPr id="66" name="表 65"/>
          <p:cNvGraphicFramePr>
            <a:graphicFrameLocks noGrp="1"/>
          </p:cNvGraphicFramePr>
          <p:nvPr>
            <p:extLst>
              <p:ext uri="{D42A27DB-BD31-4B8C-83A1-F6EECF244321}">
                <p14:modId xmlns:p14="http://schemas.microsoft.com/office/powerpoint/2010/main" val="408688373"/>
              </p:ext>
            </p:extLst>
          </p:nvPr>
        </p:nvGraphicFramePr>
        <p:xfrm>
          <a:off x="2278745" y="3262746"/>
          <a:ext cx="3454473" cy="2584938"/>
        </p:xfrm>
        <a:graphic>
          <a:graphicData uri="http://schemas.openxmlformats.org/drawingml/2006/table">
            <a:tbl>
              <a:tblPr firstRow="1" bandRow="1">
                <a:tableStyleId>{5C22544A-7EE6-4342-B048-85BDC9FD1C3A}</a:tableStyleId>
              </a:tblPr>
              <a:tblGrid>
                <a:gridCol w="3454473">
                  <a:extLst>
                    <a:ext uri="{9D8B030D-6E8A-4147-A177-3AD203B41FA5}">
                      <a16:colId xmlns:a16="http://schemas.microsoft.com/office/drawing/2014/main" val="20000"/>
                    </a:ext>
                  </a:extLst>
                </a:gridCol>
              </a:tblGrid>
              <a:tr h="1273992">
                <a:tc>
                  <a:txBody>
                    <a:bodyPr/>
                    <a:lstStyle/>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200" b="0" kern="1200" dirty="0">
                          <a:solidFill>
                            <a:srgbClr val="000000"/>
                          </a:solidFill>
                          <a:latin typeface="+mn-lt"/>
                          <a:ea typeface="ＭＳ Ｐゴシック" charset="-128"/>
                          <a:cs typeface="Arial" pitchFamily="34" charset="0"/>
                        </a:rPr>
                        <a:t>製品の安全性・有効性に関する報告書</a:t>
                      </a:r>
                      <a:endParaRPr kumimoji="1" lang="en-US" altLang="ja-JP" sz="1200" b="0" kern="1200" dirty="0">
                        <a:solidFill>
                          <a:srgbClr val="000000"/>
                        </a:solidFill>
                        <a:latin typeface="+mn-lt"/>
                        <a:ea typeface="ＭＳ Ｐゴシック" charset="-128"/>
                        <a:cs typeface="Arial" pitchFamily="34" charset="0"/>
                      </a:endParaRPr>
                    </a:p>
                    <a:p>
                      <a:pPr marL="171450" indent="-171450" algn="l" defTabSz="914400" rtl="0" eaLnBrk="1" latinLnBrk="0" hangingPunct="1">
                        <a:lnSpc>
                          <a:spcPct val="113000"/>
                        </a:lnSpc>
                        <a:spcBef>
                          <a:spcPts val="0"/>
                        </a:spcBef>
                        <a:spcAft>
                          <a:spcPts val="300"/>
                        </a:spcAft>
                        <a:buClr>
                          <a:srgbClr val="5F8AC3"/>
                        </a:buClr>
                        <a:buSzPct val="80000"/>
                        <a:buFont typeface="Wingdings" panose="05000000000000000000" pitchFamily="2" charset="2"/>
                        <a:buChar char="l"/>
                      </a:pPr>
                      <a:r>
                        <a:rPr kumimoji="1" lang="ja-JP" altLang="en-US" sz="1200" b="0" kern="1200" dirty="0">
                          <a:solidFill>
                            <a:srgbClr val="000000"/>
                          </a:solidFill>
                          <a:latin typeface="+mn-lt"/>
                          <a:ea typeface="ＭＳ Ｐゴシック" charset="-128"/>
                          <a:cs typeface="Arial" pitchFamily="34" charset="0"/>
                        </a:rPr>
                        <a:t>医薬品安全計画書</a:t>
                      </a:r>
                    </a:p>
                  </a:txBody>
                  <a:tcPr marL="144000" marR="14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CCDAEC"/>
                    </a:solidFill>
                  </a:tcPr>
                </a:tc>
                <a:extLst>
                  <a:ext uri="{0D108BD9-81ED-4DB2-BD59-A6C34878D82A}">
                    <a16:rowId xmlns:a16="http://schemas.microsoft.com/office/drawing/2014/main" val="10000"/>
                  </a:ext>
                </a:extLst>
              </a:tr>
              <a:tr h="1310946">
                <a:tc>
                  <a:txBody>
                    <a:bodyPr/>
                    <a:lstStyle/>
                    <a:p>
                      <a:pPr marL="171450" indent="-171450" algn="l" defTabSz="914400" rtl="0" eaLnBrk="1" latinLnBrk="0" hangingPunct="1">
                        <a:lnSpc>
                          <a:spcPct val="113000"/>
                        </a:lnSpc>
                        <a:spcBef>
                          <a:spcPts val="0"/>
                        </a:spcBef>
                        <a:spcAft>
                          <a:spcPts val="300"/>
                        </a:spcAft>
                        <a:buClr>
                          <a:srgbClr val="26A287"/>
                        </a:buClr>
                        <a:buSzPct val="80000"/>
                        <a:buFont typeface="Wingdings" panose="05000000000000000000" pitchFamily="2" charset="2"/>
                        <a:buChar char="l"/>
                      </a:pPr>
                      <a:r>
                        <a:rPr kumimoji="1" lang="ja-JP" altLang="en-US" sz="1200" b="0" kern="1200" dirty="0">
                          <a:solidFill>
                            <a:srgbClr val="000000"/>
                          </a:solidFill>
                          <a:latin typeface="+mn-lt"/>
                          <a:ea typeface="ＭＳ Ｐゴシック" charset="-128"/>
                          <a:cs typeface="Arial" pitchFamily="34" charset="0"/>
                        </a:rPr>
                        <a:t>参照医薬品との同等性の証明書類</a:t>
                      </a:r>
                      <a:endParaRPr kumimoji="1" lang="en-US" altLang="ja-JP" sz="1200" b="0" kern="1200" dirty="0">
                        <a:solidFill>
                          <a:srgbClr val="000000"/>
                        </a:solidFill>
                        <a:latin typeface="+mn-lt"/>
                        <a:ea typeface="ＭＳ Ｐゴシック" charset="-128"/>
                        <a:cs typeface="Arial" pitchFamily="34" charset="0"/>
                      </a:endParaRPr>
                    </a:p>
                    <a:p>
                      <a:pPr marL="171450" indent="-171450" algn="l" defTabSz="914400" rtl="0" eaLnBrk="1" latinLnBrk="0" hangingPunct="1">
                        <a:lnSpc>
                          <a:spcPct val="113000"/>
                        </a:lnSpc>
                        <a:spcBef>
                          <a:spcPts val="0"/>
                        </a:spcBef>
                        <a:spcAft>
                          <a:spcPts val="300"/>
                        </a:spcAft>
                        <a:buClr>
                          <a:srgbClr val="26A287"/>
                        </a:buClr>
                        <a:buSzPct val="80000"/>
                        <a:buFont typeface="Wingdings" panose="05000000000000000000" pitchFamily="2" charset="2"/>
                        <a:buChar char="l"/>
                      </a:pPr>
                      <a:r>
                        <a:rPr kumimoji="1" lang="ja-JP" altLang="en-US" sz="1200" b="0" kern="1200" dirty="0">
                          <a:solidFill>
                            <a:srgbClr val="000000"/>
                          </a:solidFill>
                          <a:latin typeface="+mn-lt"/>
                          <a:ea typeface="ＭＳ Ｐゴシック" charset="-128"/>
                          <a:cs typeface="Arial" pitchFamily="34" charset="0"/>
                        </a:rPr>
                        <a:t>溶解プロファイル証明書</a:t>
                      </a:r>
                      <a:endParaRPr kumimoji="1" lang="en-US" altLang="ja-JP" sz="1200" b="0" kern="1200" dirty="0">
                        <a:solidFill>
                          <a:srgbClr val="000000"/>
                        </a:solidFill>
                        <a:latin typeface="+mn-lt"/>
                        <a:ea typeface="ＭＳ Ｐゴシック" charset="-128"/>
                        <a:cs typeface="Arial" pitchFamily="34" charset="0"/>
                      </a:endParaRPr>
                    </a:p>
                    <a:p>
                      <a:pPr marL="171450" indent="-171450" algn="l" defTabSz="914400" rtl="0" eaLnBrk="1" latinLnBrk="0" hangingPunct="1">
                        <a:lnSpc>
                          <a:spcPct val="113000"/>
                        </a:lnSpc>
                        <a:spcBef>
                          <a:spcPts val="0"/>
                        </a:spcBef>
                        <a:spcAft>
                          <a:spcPts val="300"/>
                        </a:spcAft>
                        <a:buClr>
                          <a:srgbClr val="26A287"/>
                        </a:buClr>
                        <a:buSzPct val="80000"/>
                        <a:buFont typeface="Wingdings" panose="05000000000000000000" pitchFamily="2" charset="2"/>
                        <a:buChar char="l"/>
                      </a:pPr>
                      <a:r>
                        <a:rPr kumimoji="1" lang="ja-JP" altLang="en-US" sz="1200" b="0" kern="1200" dirty="0">
                          <a:solidFill>
                            <a:srgbClr val="000000"/>
                          </a:solidFill>
                          <a:latin typeface="+mn-lt"/>
                          <a:ea typeface="ＭＳ Ｐゴシック" charset="-128"/>
                          <a:cs typeface="Arial" pitchFamily="34" charset="0"/>
                        </a:rPr>
                        <a:t>溶解方法の開発に関する報告書</a:t>
                      </a:r>
                      <a:endParaRPr kumimoji="1" lang="en-US" altLang="ja-JP" sz="1200" b="0" kern="1200" dirty="0">
                        <a:solidFill>
                          <a:srgbClr val="000000"/>
                        </a:solidFill>
                        <a:latin typeface="+mn-lt"/>
                        <a:ea typeface="ＭＳ Ｐゴシック" charset="-128"/>
                        <a:cs typeface="Arial" pitchFamily="34" charset="0"/>
                      </a:endParaRPr>
                    </a:p>
                    <a:p>
                      <a:pPr marL="171450" indent="-171450" algn="l" defTabSz="914400" rtl="0" eaLnBrk="1" latinLnBrk="0" hangingPunct="1">
                        <a:lnSpc>
                          <a:spcPct val="113000"/>
                        </a:lnSpc>
                        <a:spcBef>
                          <a:spcPts val="0"/>
                        </a:spcBef>
                        <a:spcAft>
                          <a:spcPts val="300"/>
                        </a:spcAft>
                        <a:buClr>
                          <a:srgbClr val="26A287"/>
                        </a:buClr>
                        <a:buSzPct val="80000"/>
                        <a:buFont typeface="Wingdings" panose="05000000000000000000" pitchFamily="2" charset="2"/>
                        <a:buChar char="l"/>
                      </a:pPr>
                      <a:r>
                        <a:rPr kumimoji="1" lang="ja-JP" altLang="en-US" sz="1200" b="0" kern="1200" dirty="0">
                          <a:solidFill>
                            <a:srgbClr val="000000"/>
                          </a:solidFill>
                          <a:latin typeface="+mn-lt"/>
                          <a:ea typeface="ＭＳ Ｐゴシック" charset="-128"/>
                          <a:cs typeface="Arial" pitchFamily="34" charset="0"/>
                        </a:rPr>
                        <a:t>同等性検査に使用されたロットに対する生物学的同等検査またはヒト試験免除の証明書</a:t>
                      </a:r>
                    </a:p>
                  </a:txBody>
                  <a:tcPr marL="144000" marR="14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solidFill>
                      <a:srgbClr val="BAE4D9"/>
                    </a:solidFill>
                  </a:tcPr>
                </a:tc>
                <a:extLst>
                  <a:ext uri="{0D108BD9-81ED-4DB2-BD59-A6C34878D82A}">
                    <a16:rowId xmlns:a16="http://schemas.microsoft.com/office/drawing/2014/main" val="10001"/>
                  </a:ext>
                </a:extLst>
              </a:tr>
            </a:tbl>
          </a:graphicData>
        </a:graphic>
      </p:graphicFrame>
      <p:sp>
        <p:nvSpPr>
          <p:cNvPr id="70" name="片側の 2 つの角を丸めた四角形 69"/>
          <p:cNvSpPr/>
          <p:nvPr/>
        </p:nvSpPr>
        <p:spPr>
          <a:xfrm>
            <a:off x="2274934" y="2860400"/>
            <a:ext cx="3456380" cy="397420"/>
          </a:xfrm>
          <a:prstGeom prst="round2SameRect">
            <a:avLst>
              <a:gd name="adj1" fmla="val 18184"/>
              <a:gd name="adj2" fmla="val 0"/>
            </a:avLst>
          </a:prstGeom>
          <a:solidFill>
            <a:srgbClr val="BEBEBE"/>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0" bIns="10800" rtlCol="0" anchor="ctr"/>
          <a:lstStyle/>
          <a:p>
            <a:pPr algn="ctr" defTabSz="955675">
              <a:buSzPct val="120000"/>
            </a:pPr>
            <a:r>
              <a:rPr lang="ja-JP" altLang="en-US" sz="1200" dirty="0">
                <a:solidFill>
                  <a:srgbClr val="000000"/>
                </a:solidFill>
                <a:latin typeface="Arial Black" pitchFamily="34" charset="0"/>
                <a:ea typeface="HGP創英角ｺﾞｼｯｸUB" pitchFamily="50" charset="-128"/>
              </a:rPr>
              <a:t>カテゴリー別に必要な書類</a:t>
            </a:r>
            <a:endParaRPr lang="en-US" altLang="ko-KR" sz="1200" dirty="0">
              <a:solidFill>
                <a:srgbClr val="000000"/>
              </a:solidFill>
              <a:latin typeface="Arial Black" pitchFamily="34" charset="0"/>
              <a:ea typeface="HGP創英角ｺﾞｼｯｸUB" pitchFamily="50" charset="-128"/>
            </a:endParaRPr>
          </a:p>
        </p:txBody>
      </p:sp>
      <p:sp>
        <p:nvSpPr>
          <p:cNvPr id="71" name="テキスト ボックス 70"/>
          <p:cNvSpPr txBox="1"/>
          <p:nvPr/>
        </p:nvSpPr>
        <p:spPr>
          <a:xfrm>
            <a:off x="834767" y="6021288"/>
            <a:ext cx="7476317" cy="144016"/>
          </a:xfrm>
          <a:prstGeom prst="rect">
            <a:avLst/>
          </a:prstGeom>
          <a:noFill/>
        </p:spPr>
        <p:txBody>
          <a:bodyPr wrap="square" lIns="0" tIns="0" rIns="0" bIns="0" rtlCol="0" anchor="b" anchorCtr="0">
            <a:noAutofit/>
          </a:bodyPr>
          <a:lstStyle>
            <a:defPPr>
              <a:defRPr lang="ja-JP"/>
            </a:defPPr>
            <a:lvl1pPr>
              <a:defRPr kumimoji="0" sz="800" bmk="">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a:t>
            </a:r>
            <a:r>
              <a:rPr lang="ja-JP" altLang="en-US" dirty="0"/>
              <a:t>　類似医薬品とは、新薬の特許や独占権が切れる（または放棄される）前に、医薬品の大きさや形状等を変えることで販売が可能となる医薬品のことである</a:t>
            </a:r>
          </a:p>
          <a:p>
            <a:r>
              <a:rPr lang="en-US" altLang="ja-JP" dirty="0"/>
              <a:t>※2</a:t>
            </a:r>
            <a:r>
              <a:rPr lang="ja-JP" altLang="en-US" dirty="0"/>
              <a:t>　製造法・製品由来によるカテゴリーが「化学合成・半合成による有効成分を含有する医薬品」の場合を例として取り上げた</a:t>
            </a:r>
          </a:p>
        </p:txBody>
      </p:sp>
      <p:sp>
        <p:nvSpPr>
          <p:cNvPr id="72" name="テキスト ボックス 71"/>
          <p:cNvSpPr txBox="1"/>
          <p:nvPr/>
        </p:nvSpPr>
        <p:spPr>
          <a:xfrm>
            <a:off x="200472" y="1124744"/>
            <a:ext cx="9505056" cy="70275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の新規性（新薬、類似医薬品</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ジェネリック医薬品、など）のカテゴリーのほか、製造法・製品由来によるカテゴリー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観点により、分類される。</a:t>
            </a:r>
          </a:p>
          <a:p>
            <a:pPr marL="617538" lvl="2" indent="-160338" algn="just" fontAlgn="ctr">
              <a:lnSpc>
                <a:spcPct val="110000"/>
              </a:lnSpc>
              <a:spcAft>
                <a:spcPts val="200"/>
              </a:spcAft>
              <a:buClr>
                <a:srgbClr val="868686"/>
              </a:buClr>
              <a:buSzPct val="80000"/>
              <a:buFont typeface="Wingdings" panose="05000000000000000000" pitchFamily="2" charset="2"/>
              <a:buChar char="l"/>
            </a:pPr>
            <a:r>
              <a:rPr lang="ja-JP" altLang="en-US" sz="1200" dirty="0"/>
              <a:t>どのような製品がどの分類となるかについて、明確に示された法令や資料はない。</a:t>
            </a:r>
          </a:p>
        </p:txBody>
      </p:sp>
      <p:sp>
        <p:nvSpPr>
          <p:cNvPr id="17" name="片側の 2 つの角を丸めた四角形 16"/>
          <p:cNvSpPr/>
          <p:nvPr/>
        </p:nvSpPr>
        <p:spPr>
          <a:xfrm rot="16200000">
            <a:off x="919434" y="3178401"/>
            <a:ext cx="1271157" cy="1439842"/>
          </a:xfrm>
          <a:prstGeom prst="round2SameRect">
            <a:avLst>
              <a:gd name="adj1" fmla="val 5501"/>
              <a:gd name="adj2" fmla="val 0"/>
            </a:avLst>
          </a:prstGeom>
          <a:solidFill>
            <a:srgbClr val="5F8AC3"/>
          </a:solidFill>
          <a:ln w="1270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955675">
              <a:buClr>
                <a:schemeClr val="bg2"/>
              </a:buClr>
              <a:buSzPct val="100000"/>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新 薬</a:t>
            </a:r>
          </a:p>
        </p:txBody>
      </p:sp>
      <p:sp>
        <p:nvSpPr>
          <p:cNvPr id="18" name="片側の 2 つの角を丸めた四角形 17"/>
          <p:cNvSpPr/>
          <p:nvPr/>
        </p:nvSpPr>
        <p:spPr>
          <a:xfrm rot="16200000">
            <a:off x="898121" y="4470871"/>
            <a:ext cx="1313783" cy="1439841"/>
          </a:xfrm>
          <a:prstGeom prst="round2SameRect">
            <a:avLst>
              <a:gd name="adj1" fmla="val 4405"/>
              <a:gd name="adj2" fmla="val 0"/>
            </a:avLst>
          </a:prstGeom>
          <a:solidFill>
            <a:srgbClr val="26A287"/>
          </a:solidFill>
          <a:ln w="1270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955675">
              <a:buClr>
                <a:schemeClr val="bg2"/>
              </a:buClr>
              <a:buSzPct val="100000"/>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類似医薬品</a:t>
            </a:r>
            <a:r>
              <a:rPr kumimoji="0" lang="en-US" altLang="ja-JP" sz="1200" spc="-30" baseline="30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a:t>
            </a:r>
          </a:p>
          <a:p>
            <a:pPr algn="ctr" defTabSz="955675">
              <a:buClr>
                <a:schemeClr val="bg2"/>
              </a:buClr>
              <a:buSzPct val="100000"/>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0" lang="en-US" altLang="ja-JP"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defTabSz="955675">
              <a:buClr>
                <a:schemeClr val="bg2"/>
              </a:buClr>
              <a:buSzPct val="100000"/>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ジェネリック医薬品</a:t>
            </a:r>
            <a:endParaRPr kumimoji="0" lang="en-US" altLang="ja-JP"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5" name="表 14"/>
          <p:cNvGraphicFramePr>
            <a:graphicFrameLocks noGrp="1"/>
          </p:cNvGraphicFramePr>
          <p:nvPr>
            <p:extLst>
              <p:ext uri="{D42A27DB-BD31-4B8C-83A1-F6EECF244321}">
                <p14:modId xmlns:p14="http://schemas.microsoft.com/office/powerpoint/2010/main" val="3521713796"/>
              </p:ext>
            </p:extLst>
          </p:nvPr>
        </p:nvGraphicFramePr>
        <p:xfrm>
          <a:off x="5817417" y="3212976"/>
          <a:ext cx="3096023" cy="2635032"/>
        </p:xfrm>
        <a:graphic>
          <a:graphicData uri="http://schemas.openxmlformats.org/drawingml/2006/table">
            <a:tbl>
              <a:tblPr firstRow="1" bandRow="1">
                <a:tableStyleId>{5C22544A-7EE6-4342-B048-85BDC9FD1C3A}</a:tableStyleId>
              </a:tblPr>
              <a:tblGrid>
                <a:gridCol w="3096023">
                  <a:extLst>
                    <a:ext uri="{9D8B030D-6E8A-4147-A177-3AD203B41FA5}">
                      <a16:colId xmlns:a16="http://schemas.microsoft.com/office/drawing/2014/main" val="20000"/>
                    </a:ext>
                  </a:extLst>
                </a:gridCol>
              </a:tblGrid>
              <a:tr h="2635032">
                <a:tc>
                  <a:txBody>
                    <a:bodyPr/>
                    <a:lstStyle/>
                    <a:p>
                      <a:pPr marL="171450" indent="-171450">
                        <a:lnSpc>
                          <a:spcPct val="113000"/>
                        </a:lnSpc>
                        <a:spcBef>
                          <a:spcPts val="0"/>
                        </a:spcBef>
                        <a:spcAft>
                          <a:spcPts val="300"/>
                        </a:spcAft>
                        <a:buClr>
                          <a:schemeClr val="bg1">
                            <a:lumMod val="50000"/>
                          </a:schemeClr>
                        </a:buClr>
                        <a:buSzPct val="80000"/>
                        <a:buFont typeface="Wingdings" panose="05000000000000000000" pitchFamily="2" charset="2"/>
                        <a:buChar char="l"/>
                      </a:pPr>
                      <a:r>
                        <a:rPr lang="ja-JP" altLang="en-US" sz="1200" b="0" dirty="0">
                          <a:solidFill>
                            <a:srgbClr val="000000"/>
                          </a:solidFill>
                          <a:ea typeface="ＭＳ Ｐゴシック" charset="-128"/>
                          <a:cs typeface="Arial" pitchFamily="34" charset="0"/>
                        </a:rPr>
                        <a:t>申請書</a:t>
                      </a:r>
                      <a:endParaRPr lang="en-US" altLang="ja-JP" sz="1200" b="0" dirty="0">
                        <a:solidFill>
                          <a:srgbClr val="000000"/>
                        </a:solidFill>
                        <a:ea typeface="ＭＳ Ｐゴシック" charset="-128"/>
                        <a:cs typeface="Arial" pitchFamily="34" charset="0"/>
                      </a:endParaRPr>
                    </a:p>
                    <a:p>
                      <a:pPr marL="171450" indent="-171450">
                        <a:lnSpc>
                          <a:spcPct val="113000"/>
                        </a:lnSpc>
                        <a:spcBef>
                          <a:spcPts val="0"/>
                        </a:spcBef>
                        <a:spcAft>
                          <a:spcPts val="300"/>
                        </a:spcAft>
                        <a:buClr>
                          <a:schemeClr val="bg1">
                            <a:lumMod val="50000"/>
                          </a:schemeClr>
                        </a:buClr>
                        <a:buSzPct val="80000"/>
                        <a:buFont typeface="Wingdings" panose="05000000000000000000" pitchFamily="2" charset="2"/>
                        <a:buChar char="l"/>
                      </a:pPr>
                      <a:r>
                        <a:rPr lang="ja-JP" altLang="en-US" sz="1200" b="0" dirty="0">
                          <a:solidFill>
                            <a:srgbClr val="000000"/>
                          </a:solidFill>
                          <a:ea typeface="ＭＳ Ｐゴシック" charset="-128"/>
                          <a:cs typeface="Arial" pitchFamily="34" charset="0"/>
                        </a:rPr>
                        <a:t>連邦徴収通知書の支払い証明</a:t>
                      </a:r>
                      <a:endParaRPr lang="en-US" altLang="ja-JP" sz="1200" b="0" dirty="0">
                        <a:solidFill>
                          <a:srgbClr val="000000"/>
                        </a:solidFill>
                        <a:ea typeface="ＭＳ Ｐゴシック" charset="-128"/>
                        <a:cs typeface="Arial" pitchFamily="34" charset="0"/>
                      </a:endParaRPr>
                    </a:p>
                    <a:p>
                      <a:pPr marL="171450" indent="-171450">
                        <a:lnSpc>
                          <a:spcPct val="113000"/>
                        </a:lnSpc>
                        <a:spcBef>
                          <a:spcPts val="0"/>
                        </a:spcBef>
                        <a:spcAft>
                          <a:spcPts val="300"/>
                        </a:spcAft>
                        <a:buClr>
                          <a:schemeClr val="bg1">
                            <a:lumMod val="50000"/>
                          </a:schemeClr>
                        </a:buClr>
                        <a:buSzPct val="80000"/>
                        <a:buFont typeface="Wingdings" panose="05000000000000000000" pitchFamily="2" charset="2"/>
                        <a:buChar char="l"/>
                      </a:pPr>
                      <a:r>
                        <a:rPr lang="ja-JP" altLang="en-US" sz="1200" b="0" dirty="0">
                          <a:solidFill>
                            <a:srgbClr val="000000"/>
                          </a:solidFill>
                          <a:ea typeface="ＭＳ Ｐゴシック" charset="-128"/>
                          <a:cs typeface="Arial" pitchFamily="34" charset="0"/>
                        </a:rPr>
                        <a:t>使用説明書のモデル</a:t>
                      </a:r>
                      <a:endParaRPr lang="en-US" altLang="ja-JP" sz="1200" b="0" dirty="0">
                        <a:solidFill>
                          <a:srgbClr val="000000"/>
                        </a:solidFill>
                        <a:ea typeface="ＭＳ Ｐゴシック" charset="-128"/>
                        <a:cs typeface="Arial" pitchFamily="34" charset="0"/>
                      </a:endParaRPr>
                    </a:p>
                    <a:p>
                      <a:pPr marL="171450" indent="-171450">
                        <a:lnSpc>
                          <a:spcPct val="113000"/>
                        </a:lnSpc>
                        <a:spcBef>
                          <a:spcPts val="0"/>
                        </a:spcBef>
                        <a:spcAft>
                          <a:spcPts val="300"/>
                        </a:spcAft>
                        <a:buClr>
                          <a:schemeClr val="bg1">
                            <a:lumMod val="50000"/>
                          </a:schemeClr>
                        </a:buClr>
                        <a:buSzPct val="80000"/>
                        <a:buFont typeface="Wingdings" panose="05000000000000000000" pitchFamily="2" charset="2"/>
                        <a:buChar char="l"/>
                      </a:pPr>
                      <a:r>
                        <a:rPr lang="ja-JP" altLang="en-US" sz="1200" b="0" dirty="0">
                          <a:solidFill>
                            <a:srgbClr val="000000"/>
                          </a:solidFill>
                          <a:ea typeface="ＭＳ Ｐゴシック" charset="-128"/>
                          <a:cs typeface="Arial" pitchFamily="34" charset="0"/>
                        </a:rPr>
                        <a:t>包装レイアウト</a:t>
                      </a:r>
                      <a:endParaRPr lang="en-US" altLang="ja-JP" sz="1200" b="0" dirty="0">
                        <a:solidFill>
                          <a:srgbClr val="000000"/>
                        </a:solidFill>
                        <a:ea typeface="ＭＳ Ｐゴシック" charset="-128"/>
                        <a:cs typeface="Arial" pitchFamily="34" charset="0"/>
                      </a:endParaRPr>
                    </a:p>
                    <a:p>
                      <a:pPr marL="171450" indent="-171450">
                        <a:lnSpc>
                          <a:spcPct val="113000"/>
                        </a:lnSpc>
                        <a:spcBef>
                          <a:spcPts val="0"/>
                        </a:spcBef>
                        <a:spcAft>
                          <a:spcPts val="300"/>
                        </a:spcAft>
                        <a:buClr>
                          <a:schemeClr val="bg1">
                            <a:lumMod val="50000"/>
                          </a:schemeClr>
                        </a:buClr>
                        <a:buSzPct val="80000"/>
                        <a:buFont typeface="Wingdings" panose="05000000000000000000" pitchFamily="2" charset="2"/>
                        <a:buChar char="l"/>
                      </a:pPr>
                      <a:r>
                        <a:rPr lang="ja-JP" altLang="en-US" sz="1200" b="0" dirty="0">
                          <a:solidFill>
                            <a:srgbClr val="000000"/>
                          </a:solidFill>
                          <a:ea typeface="ＭＳ Ｐゴシック" charset="-128"/>
                          <a:cs typeface="Arial" pitchFamily="34" charset="0"/>
                        </a:rPr>
                        <a:t>製品品質に関する技術書類</a:t>
                      </a:r>
                      <a:br>
                        <a:rPr lang="en-US" altLang="ja-JP" sz="1200" b="0" dirty="0">
                          <a:solidFill>
                            <a:srgbClr val="000000"/>
                          </a:solidFill>
                          <a:ea typeface="ＭＳ Ｐゴシック" charset="-128"/>
                          <a:cs typeface="Arial" pitchFamily="34" charset="0"/>
                        </a:rPr>
                      </a:br>
                      <a:r>
                        <a:rPr lang="ja-JP" altLang="en-US" sz="1200" b="0" dirty="0">
                          <a:solidFill>
                            <a:srgbClr val="000000"/>
                          </a:solidFill>
                          <a:ea typeface="ＭＳ Ｐゴシック" charset="-128"/>
                          <a:cs typeface="Arial" pitchFamily="34" charset="0"/>
                        </a:rPr>
                        <a:t>（有効成分に関する書類など、計</a:t>
                      </a:r>
                      <a:r>
                        <a:rPr lang="en-US" altLang="ja-JP" sz="1200" b="0" dirty="0">
                          <a:solidFill>
                            <a:srgbClr val="000000"/>
                          </a:solidFill>
                          <a:ea typeface="ＭＳ Ｐゴシック" charset="-128"/>
                          <a:cs typeface="Arial" pitchFamily="34" charset="0"/>
                        </a:rPr>
                        <a:t>10</a:t>
                      </a:r>
                      <a:r>
                        <a:rPr lang="ja-JP" altLang="en-US" sz="1200" b="0" dirty="0">
                          <a:solidFill>
                            <a:srgbClr val="000000"/>
                          </a:solidFill>
                          <a:ea typeface="ＭＳ Ｐゴシック" charset="-128"/>
                          <a:cs typeface="Arial" pitchFamily="34" charset="0"/>
                        </a:rPr>
                        <a:t>種）</a:t>
                      </a:r>
                    </a:p>
                  </a:txBody>
                  <a:tcPr marL="144000" marR="14400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B w="952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bl>
          </a:graphicData>
        </a:graphic>
      </p:graphicFrame>
      <p:sp>
        <p:nvSpPr>
          <p:cNvPr id="69" name="片側の 2 つの角を丸めた四角形 68"/>
          <p:cNvSpPr/>
          <p:nvPr/>
        </p:nvSpPr>
        <p:spPr>
          <a:xfrm>
            <a:off x="5803319" y="2860400"/>
            <a:ext cx="3110121" cy="397420"/>
          </a:xfrm>
          <a:prstGeom prst="round2SameRect">
            <a:avLst>
              <a:gd name="adj1" fmla="val 16190"/>
              <a:gd name="adj2" fmla="val 0"/>
            </a:avLst>
          </a:prstGeom>
          <a:solidFill>
            <a:srgbClr val="BEBEBE"/>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tIns="0" bIns="10800" rtlCol="0" anchor="ctr"/>
          <a:lstStyle/>
          <a:p>
            <a:pPr algn="ctr" defTabSz="955675">
              <a:buSzPct val="120000"/>
            </a:pPr>
            <a:r>
              <a:rPr lang="ja-JP" altLang="en-US" sz="1200" dirty="0">
                <a:solidFill>
                  <a:srgbClr val="000000"/>
                </a:solidFill>
                <a:latin typeface="Arial Black" pitchFamily="34" charset="0"/>
                <a:ea typeface="HGP創英角ｺﾞｼｯｸUB" pitchFamily="50" charset="-128"/>
              </a:rPr>
              <a:t>共通で必要な書類</a:t>
            </a:r>
            <a:endParaRPr lang="en-US" altLang="ko-KR" sz="12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7470186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9"/>
          <p:cNvSpPr>
            <a:spLocks noChangeArrowheads="1"/>
          </p:cNvSpPr>
          <p:nvPr/>
        </p:nvSpPr>
        <p:spPr bwMode="auto">
          <a:xfrm>
            <a:off x="2144688" y="2204864"/>
            <a:ext cx="5613971" cy="4248472"/>
          </a:xfrm>
          <a:prstGeom prst="roundRect">
            <a:avLst>
              <a:gd name="adj" fmla="val 1901"/>
            </a:avLst>
          </a:prstGeom>
          <a:solidFill>
            <a:srgbClr val="CCDAEC"/>
          </a:solidFill>
          <a:ln w="9525" cap="flat" cmpd="sng" algn="ctr">
            <a:noFill/>
            <a:prstDash val="solid"/>
            <a:miter lim="800000"/>
            <a:headEnd type="none" w="med" len="med"/>
            <a:tailEnd type="none" w="med" len="med"/>
          </a:ln>
          <a:effectLst/>
        </p:spPr>
        <p:txBody>
          <a:bodyPr wrap="none" lIns="144000" tIns="0" rIns="288000" bIns="216000" anchor="b" anchorCtr="0"/>
          <a:lstStyle/>
          <a:p>
            <a:pPr algn="r" defTabSz="987425" fontAlgn="ctr">
              <a:lnSpc>
                <a:spcPct val="150000"/>
              </a:lnSpc>
            </a:pPr>
            <a:endParaRPr lang="ja-JP" altLang="en-US" sz="16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テキスト ボックス 55"/>
          <p:cNvSpPr txBox="1"/>
          <p:nvPr/>
        </p:nvSpPr>
        <p:spPr>
          <a:xfrm>
            <a:off x="2854622" y="4592173"/>
            <a:ext cx="4194102" cy="720080"/>
          </a:xfrm>
          <a:prstGeom prst="ellipse">
            <a:avLst/>
          </a:prstGeom>
          <a:gradFill flip="none" rotWithShape="1">
            <a:gsLst>
              <a:gs pos="0">
                <a:srgbClr val="FCAE91"/>
              </a:gs>
              <a:gs pos="100000">
                <a:srgbClr val="CCDAEC"/>
              </a:gs>
            </a:gsLst>
            <a:path path="shape">
              <a:fillToRect l="50000" t="50000" r="50000" b="50000"/>
            </a:path>
            <a:tileRect/>
          </a:gradFill>
        </p:spPr>
        <p:txBody>
          <a:bodyPr wrap="none" lIns="0" tIns="36000" rIns="0" bIns="36000" rtlCol="0" anchor="ctr" anchorCtr="0">
            <a:noAutofit/>
          </a:bodyPr>
          <a:lstStyle/>
          <a:p>
            <a:pPr algn="ctr"/>
            <a:r>
              <a:rPr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rPr>
              <a:t>基本的には治験は必要ない</a:t>
            </a:r>
          </a:p>
        </p:txBody>
      </p:sp>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12" name="テキスト ボックス 11"/>
          <p:cNvSpPr txBox="1"/>
          <p:nvPr/>
        </p:nvSpPr>
        <p:spPr>
          <a:xfrm>
            <a:off x="200472" y="6525344"/>
            <a:ext cx="5616624"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角丸四角形 13"/>
          <p:cNvSpPr/>
          <p:nvPr/>
        </p:nvSpPr>
        <p:spPr>
          <a:xfrm>
            <a:off x="2366651" y="2591367"/>
            <a:ext cx="5170044" cy="1629721"/>
          </a:xfrm>
          <a:prstGeom prst="roundRect">
            <a:avLst>
              <a:gd name="adj" fmla="val 3995"/>
            </a:avLst>
          </a:prstGeom>
          <a:solidFill>
            <a:srgbClr val="FFFFFF"/>
          </a:solidFill>
        </p:spPr>
        <p:txBody>
          <a:bodyPr wrap="square" tIns="216000" rtlCol="0" anchor="t" anchorCtr="0">
            <a:noAutofit/>
          </a:bodyPr>
          <a:lstStyle/>
          <a:p>
            <a:pPr algn="ctr">
              <a:lnSpc>
                <a:spcPct val="113000"/>
              </a:lnSpc>
            </a:pP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機器に関しては、書面によって製品の</a:t>
            </a:r>
            <a:b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有効性・安全性を証明できない場合に限り</a:t>
            </a:r>
            <a:endParaRPr lang="ja-JP" altLang="en-US" sz="1200" dirty="0"/>
          </a:p>
        </p:txBody>
      </p:sp>
      <p:grpSp>
        <p:nvGrpSpPr>
          <p:cNvPr id="4" name="グループ化 3"/>
          <p:cNvGrpSpPr/>
          <p:nvPr/>
        </p:nvGrpSpPr>
        <p:grpSpPr>
          <a:xfrm>
            <a:off x="7023987" y="2348880"/>
            <a:ext cx="593309" cy="696920"/>
            <a:chOff x="5933823" y="4221341"/>
            <a:chExt cx="1839077" cy="2160240"/>
          </a:xfrm>
        </p:grpSpPr>
        <p:sp>
          <p:nvSpPr>
            <p:cNvPr id="71" name="正方形/長方形 70"/>
            <p:cNvSpPr/>
            <p:nvPr/>
          </p:nvSpPr>
          <p:spPr>
            <a:xfrm rot="767249">
              <a:off x="5977221" y="4221341"/>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2" name="直線コネクタ 71"/>
            <p:cNvCxnSpPr/>
            <p:nvPr/>
          </p:nvCxnSpPr>
          <p:spPr>
            <a:xfrm rot="767249">
              <a:off x="6236643" y="43823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rot="767249">
              <a:off x="6220705" y="445254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4" name="直線コネクタ 73"/>
            <p:cNvCxnSpPr/>
            <p:nvPr/>
          </p:nvCxnSpPr>
          <p:spPr>
            <a:xfrm rot="767249">
              <a:off x="6204767" y="45227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5" name="直線コネクタ 74"/>
            <p:cNvCxnSpPr/>
            <p:nvPr/>
          </p:nvCxnSpPr>
          <p:spPr>
            <a:xfrm rot="767249">
              <a:off x="6188830" y="459299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6" name="直線コネクタ 75"/>
            <p:cNvCxnSpPr/>
            <p:nvPr/>
          </p:nvCxnSpPr>
          <p:spPr>
            <a:xfrm rot="767249">
              <a:off x="6172892" y="46632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7" name="直線コネクタ 76"/>
            <p:cNvCxnSpPr/>
            <p:nvPr/>
          </p:nvCxnSpPr>
          <p:spPr>
            <a:xfrm rot="767249">
              <a:off x="6156954" y="473343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8" name="直線コネクタ 77"/>
            <p:cNvCxnSpPr/>
            <p:nvPr/>
          </p:nvCxnSpPr>
          <p:spPr>
            <a:xfrm rot="767249">
              <a:off x="6141016" y="48036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p:cNvCxnSpPr/>
            <p:nvPr/>
          </p:nvCxnSpPr>
          <p:spPr>
            <a:xfrm rot="767249">
              <a:off x="6125078" y="487387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p:cNvCxnSpPr/>
            <p:nvPr/>
          </p:nvCxnSpPr>
          <p:spPr>
            <a:xfrm rot="767249">
              <a:off x="6109140" y="494410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1" name="直線コネクタ 80"/>
            <p:cNvCxnSpPr/>
            <p:nvPr/>
          </p:nvCxnSpPr>
          <p:spPr>
            <a:xfrm rot="767249">
              <a:off x="6093202" y="501432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2" name="直線コネクタ 81"/>
            <p:cNvCxnSpPr/>
            <p:nvPr/>
          </p:nvCxnSpPr>
          <p:spPr>
            <a:xfrm rot="767249">
              <a:off x="6077264" y="50845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3" name="直線コネクタ 82"/>
            <p:cNvCxnSpPr/>
            <p:nvPr/>
          </p:nvCxnSpPr>
          <p:spPr>
            <a:xfrm rot="767249">
              <a:off x="6061326" y="515476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rot="767249">
              <a:off x="6045388" y="52249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a:xfrm rot="767249">
              <a:off x="6029450" y="529521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6" name="直線コネクタ 85"/>
            <p:cNvCxnSpPr/>
            <p:nvPr/>
          </p:nvCxnSpPr>
          <p:spPr>
            <a:xfrm rot="767249">
              <a:off x="6013512" y="53654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rot="767249">
              <a:off x="5997574" y="543565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8" name="直線コネクタ 87"/>
            <p:cNvCxnSpPr/>
            <p:nvPr/>
          </p:nvCxnSpPr>
          <p:spPr>
            <a:xfrm rot="767249">
              <a:off x="5981636" y="550587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9" name="直線コネクタ 88"/>
            <p:cNvCxnSpPr/>
            <p:nvPr/>
          </p:nvCxnSpPr>
          <p:spPr>
            <a:xfrm rot="767249">
              <a:off x="5965699" y="557609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p:nvPr/>
          </p:nvCxnSpPr>
          <p:spPr>
            <a:xfrm rot="767249">
              <a:off x="5949761" y="56463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p:nvPr/>
          </p:nvCxnSpPr>
          <p:spPr>
            <a:xfrm rot="767249">
              <a:off x="5933823" y="571654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sp>
          <p:nvSpPr>
            <p:cNvPr id="93" name="正方形/長方形 92"/>
            <p:cNvSpPr/>
            <p:nvPr/>
          </p:nvSpPr>
          <p:spPr>
            <a:xfrm rot="767249">
              <a:off x="6505366" y="4725397"/>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94" name="直線コネクタ 93"/>
            <p:cNvCxnSpPr/>
            <p:nvPr/>
          </p:nvCxnSpPr>
          <p:spPr>
            <a:xfrm rot="767249">
              <a:off x="6764788" y="48863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5" name="直線コネクタ 94"/>
            <p:cNvCxnSpPr/>
            <p:nvPr/>
          </p:nvCxnSpPr>
          <p:spPr>
            <a:xfrm rot="767249">
              <a:off x="6748850" y="495660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6" name="直線コネクタ 95"/>
            <p:cNvCxnSpPr/>
            <p:nvPr/>
          </p:nvCxnSpPr>
          <p:spPr>
            <a:xfrm rot="767249">
              <a:off x="6732912" y="50268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7" name="直線コネクタ 96"/>
            <p:cNvCxnSpPr/>
            <p:nvPr/>
          </p:nvCxnSpPr>
          <p:spPr>
            <a:xfrm rot="767249">
              <a:off x="6716975" y="509704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8" name="直線コネクタ 97"/>
            <p:cNvCxnSpPr/>
            <p:nvPr/>
          </p:nvCxnSpPr>
          <p:spPr>
            <a:xfrm rot="767249">
              <a:off x="6701037" y="51672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9" name="直線コネクタ 98"/>
            <p:cNvCxnSpPr/>
            <p:nvPr/>
          </p:nvCxnSpPr>
          <p:spPr>
            <a:xfrm rot="767249">
              <a:off x="6685099" y="523749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0" name="直線コネクタ 99"/>
            <p:cNvCxnSpPr/>
            <p:nvPr/>
          </p:nvCxnSpPr>
          <p:spPr>
            <a:xfrm rot="767249">
              <a:off x="6669161" y="53077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1" name="直線コネクタ 100"/>
            <p:cNvCxnSpPr/>
            <p:nvPr/>
          </p:nvCxnSpPr>
          <p:spPr>
            <a:xfrm rot="767249">
              <a:off x="6653223" y="537793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2" name="直線コネクタ 101"/>
            <p:cNvCxnSpPr/>
            <p:nvPr/>
          </p:nvCxnSpPr>
          <p:spPr>
            <a:xfrm rot="767249">
              <a:off x="6637285" y="54481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3" name="直線コネクタ 102"/>
            <p:cNvCxnSpPr/>
            <p:nvPr/>
          </p:nvCxnSpPr>
          <p:spPr>
            <a:xfrm rot="767249">
              <a:off x="6621347" y="551837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4" name="直線コネクタ 103"/>
            <p:cNvCxnSpPr/>
            <p:nvPr/>
          </p:nvCxnSpPr>
          <p:spPr>
            <a:xfrm rot="767249">
              <a:off x="6605409" y="558860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5" name="直線コネクタ 104"/>
            <p:cNvCxnSpPr/>
            <p:nvPr/>
          </p:nvCxnSpPr>
          <p:spPr>
            <a:xfrm rot="767249">
              <a:off x="6589471" y="565882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6" name="直線コネクタ 105"/>
            <p:cNvCxnSpPr/>
            <p:nvPr/>
          </p:nvCxnSpPr>
          <p:spPr>
            <a:xfrm rot="767249">
              <a:off x="6573533" y="57290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7" name="直線コネクタ 106"/>
            <p:cNvCxnSpPr/>
            <p:nvPr/>
          </p:nvCxnSpPr>
          <p:spPr>
            <a:xfrm rot="767249">
              <a:off x="6557595" y="579926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8" name="直線コネクタ 107"/>
            <p:cNvCxnSpPr/>
            <p:nvPr/>
          </p:nvCxnSpPr>
          <p:spPr>
            <a:xfrm rot="767249">
              <a:off x="6541657" y="58694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9" name="直線コネクタ 108"/>
            <p:cNvCxnSpPr/>
            <p:nvPr/>
          </p:nvCxnSpPr>
          <p:spPr>
            <a:xfrm rot="767249">
              <a:off x="6525719" y="593971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10" name="直線コネクタ 109"/>
            <p:cNvCxnSpPr/>
            <p:nvPr/>
          </p:nvCxnSpPr>
          <p:spPr>
            <a:xfrm rot="767249">
              <a:off x="6509781" y="60099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11" name="直線コネクタ 110"/>
            <p:cNvCxnSpPr/>
            <p:nvPr/>
          </p:nvCxnSpPr>
          <p:spPr>
            <a:xfrm rot="767249">
              <a:off x="6493844" y="608015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12" name="直線コネクタ 111"/>
            <p:cNvCxnSpPr/>
            <p:nvPr/>
          </p:nvCxnSpPr>
          <p:spPr>
            <a:xfrm rot="767249">
              <a:off x="6477906" y="615037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13" name="直線コネクタ 112"/>
            <p:cNvCxnSpPr/>
            <p:nvPr/>
          </p:nvCxnSpPr>
          <p:spPr>
            <a:xfrm rot="767249">
              <a:off x="6461968" y="622059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9" name="角丸四角形 8"/>
          <p:cNvSpPr/>
          <p:nvPr/>
        </p:nvSpPr>
        <p:spPr>
          <a:xfrm>
            <a:off x="2692279" y="3501008"/>
            <a:ext cx="4518788" cy="525350"/>
          </a:xfrm>
          <a:prstGeom prst="roundRect">
            <a:avLst>
              <a:gd name="adj" fmla="val 9988"/>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lstStyle/>
          <a:p>
            <a:pPr algn="ctr" fontAlgn="ctr"/>
            <a:r>
              <a:rPr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国家衛生監督庁から </a:t>
            </a:r>
            <a:r>
              <a:rPr lang="ja-JP" altLang="en-US"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治験を要求される</a:t>
            </a:r>
            <a:endParaRPr lang="ja-JP" altLang="en-US" sz="2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7" name="二等辺三角形 6"/>
          <p:cNvSpPr/>
          <p:nvPr/>
        </p:nvSpPr>
        <p:spPr>
          <a:xfrm rot="10800000">
            <a:off x="4087578" y="4258259"/>
            <a:ext cx="1728192" cy="411377"/>
          </a:xfrm>
          <a:prstGeom prst="triangle">
            <a:avLst/>
          </a:prstGeom>
          <a:gradFill flip="none" rotWithShape="1">
            <a:gsLst>
              <a:gs pos="0">
                <a:srgbClr val="5F8AC3"/>
              </a:gs>
              <a:gs pos="100000">
                <a:srgbClr val="DDE6F3">
                  <a:alpha val="0"/>
                </a:srgbClr>
              </a:gs>
            </a:gsLst>
            <a:lin ang="5400000" scaled="1"/>
            <a:tileRect/>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p:nvPr/>
        </p:nvSpPr>
        <p:spPr>
          <a:xfrm>
            <a:off x="4375609" y="4258260"/>
            <a:ext cx="1152128" cy="307777"/>
          </a:xfrm>
          <a:prstGeom prst="rect">
            <a:avLst/>
          </a:prstGeom>
          <a:noFill/>
        </p:spPr>
        <p:txBody>
          <a:bodyPr wrap="square" rtlCol="0">
            <a:spAutoFit/>
          </a:bodyPr>
          <a:lstStyle/>
          <a:p>
            <a:pPr 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したがって</a:t>
            </a:r>
            <a:endPar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504727" y="5764895"/>
            <a:ext cx="5253931" cy="579261"/>
          </a:xfrm>
          <a:prstGeom prst="rect">
            <a:avLst/>
          </a:prstGeom>
          <a:noFill/>
        </p:spPr>
        <p:txBody>
          <a:bodyPr wrap="square" rtlCol="0">
            <a:spAutoFit/>
          </a:bodyPr>
          <a:lstStyle/>
          <a:p>
            <a:pPr marL="180975" indent="-180975" fontAlgn="ctr">
              <a:lnSpc>
                <a:spcPct val="113000"/>
              </a:lnSpc>
              <a:buClr>
                <a:srgbClr val="3D6AA7"/>
              </a:buClr>
              <a:buSzPct val="80000"/>
              <a:buFont typeface="Wingdings" panose="05000000000000000000" pitchFamily="2" charset="2"/>
              <a:buChar char="l"/>
            </a:pPr>
            <a:r>
              <a:rPr lang="ja-JP" altLang="en-US" sz="1400" b="1" spc="20" dirty="0">
                <a:latin typeface="Arial" panose="020B0604020202020204" pitchFamily="34" charset="0"/>
                <a:ea typeface="ＭＳ Ｐゴシック" panose="020B0600070205080204" pitchFamily="50" charset="-128"/>
                <a:cs typeface="Arial" panose="020B0604020202020204" pitchFamily="34" charset="0"/>
              </a:rPr>
              <a:t>治験に関する手続きは公開されていない。</a:t>
            </a:r>
            <a:endParaRPr lang="en-US" altLang="ja-JP" sz="1400" b="1" spc="20" dirty="0">
              <a:latin typeface="Arial" panose="020B0604020202020204" pitchFamily="34" charset="0"/>
              <a:ea typeface="ＭＳ Ｐゴシック" panose="020B0600070205080204" pitchFamily="50" charset="-128"/>
              <a:cs typeface="Arial" panose="020B0604020202020204" pitchFamily="34" charset="0"/>
            </a:endParaRPr>
          </a:p>
          <a:p>
            <a:pPr marL="180975" indent="-180975" fontAlgn="ctr">
              <a:lnSpc>
                <a:spcPct val="113000"/>
              </a:lnSpc>
              <a:buClr>
                <a:srgbClr val="3D6AA7"/>
              </a:buClr>
              <a:buSzPct val="80000"/>
              <a:buFont typeface="Wingdings" panose="05000000000000000000" pitchFamily="2" charset="2"/>
              <a:buChar char="l"/>
            </a:pPr>
            <a:r>
              <a:rPr lang="ja-JP" altLang="en-US" sz="1400" b="1" spc="20" dirty="0">
                <a:latin typeface="Arial" panose="020B0604020202020204" pitchFamily="34" charset="0"/>
                <a:ea typeface="ＭＳ Ｐゴシック" panose="020B0600070205080204" pitchFamily="50" charset="-128"/>
                <a:cs typeface="Arial" panose="020B0604020202020204" pitchFamily="34" charset="0"/>
              </a:rPr>
              <a:t>治験実施機関も治験の手続きに関する情報を持っていない。</a:t>
            </a:r>
            <a:endParaRPr kumimoji="1" lang="ja-JP" altLang="en-US" sz="1400" b="1" spc="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5" name="テキスト ボックス 1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基本的には、医療機器について治験を要求されることはない。</a:t>
            </a:r>
          </a:p>
        </p:txBody>
      </p:sp>
      <p:grpSp>
        <p:nvGrpSpPr>
          <p:cNvPr id="57" name="グループ化 56"/>
          <p:cNvGrpSpPr/>
          <p:nvPr/>
        </p:nvGrpSpPr>
        <p:grpSpPr>
          <a:xfrm>
            <a:off x="1784648" y="1772816"/>
            <a:ext cx="6336184" cy="288032"/>
            <a:chOff x="2358644" y="1988840"/>
            <a:chExt cx="4898612" cy="288032"/>
          </a:xfrm>
        </p:grpSpPr>
        <p:cxnSp>
          <p:nvCxnSpPr>
            <p:cNvPr id="58" name="直線コネクタ 57"/>
            <p:cNvCxnSpPr/>
            <p:nvPr/>
          </p:nvCxnSpPr>
          <p:spPr>
            <a:xfrm>
              <a:off x="2366932" y="2276872"/>
              <a:ext cx="48903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臨床試験に関する規制</a:t>
              </a:r>
            </a:p>
          </p:txBody>
        </p:sp>
      </p:grpSp>
      <p:sp>
        <p:nvSpPr>
          <p:cNvPr id="61" name="二等辺三角形 60"/>
          <p:cNvSpPr/>
          <p:nvPr/>
        </p:nvSpPr>
        <p:spPr>
          <a:xfrm rot="10800000">
            <a:off x="4087578" y="5304414"/>
            <a:ext cx="1728192" cy="411377"/>
          </a:xfrm>
          <a:prstGeom prst="triangle">
            <a:avLst/>
          </a:prstGeom>
          <a:gradFill flip="none" rotWithShape="1">
            <a:gsLst>
              <a:gs pos="0">
                <a:srgbClr val="5F8AC3"/>
              </a:gs>
              <a:gs pos="100000">
                <a:srgbClr val="DDE6F3">
                  <a:alpha val="0"/>
                </a:srgbClr>
              </a:gs>
            </a:gsLst>
            <a:lin ang="5400000" scaled="1"/>
            <a:tileRect/>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テキスト ボックス 61"/>
          <p:cNvSpPr txBox="1"/>
          <p:nvPr/>
        </p:nvSpPr>
        <p:spPr>
          <a:xfrm>
            <a:off x="4375609" y="5304415"/>
            <a:ext cx="1152128" cy="307777"/>
          </a:xfrm>
          <a:prstGeom prst="rect">
            <a:avLst/>
          </a:prstGeom>
          <a:noFill/>
        </p:spPr>
        <p:txBody>
          <a:bodyPr wrap="square" rtlCol="0">
            <a:spAutoFit/>
          </a:bodyPr>
          <a:lstStyle/>
          <a:p>
            <a:pPr 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そのため</a:t>
            </a:r>
          </a:p>
        </p:txBody>
      </p:sp>
    </p:spTree>
    <p:extLst>
      <p:ext uri="{BB962C8B-B14F-4D97-AF65-F5344CB8AC3E}">
        <p14:creationId xmlns:p14="http://schemas.microsoft.com/office/powerpoint/2010/main" val="12224057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398023-07C4-4DA8-8343-D53E3E71EC3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FB398023-07C4-4DA8-8343-D53E3E71EC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latin typeface="+mj-lt"/>
              <a:ea typeface="+mj-ea"/>
            </a:endParaRPr>
          </a:p>
        </p:txBody>
      </p:sp>
      <p:sp>
        <p:nvSpPr>
          <p:cNvPr id="4" name="テキスト プレースホルダー 3"/>
          <p:cNvSpPr>
            <a:spLocks noGrp="1"/>
          </p:cNvSpPr>
          <p:nvPr>
            <p:ph type="body" sz="quarter" idx="15"/>
          </p:nvPr>
        </p:nvSpPr>
        <p:spPr/>
        <p:txBody>
          <a:bodyPr vert="horz" lIns="91440" tIns="45720" rIns="91440" bIns="45720" rtlCol="0" anchor="b" anchorCtr="0">
            <a:noAutofit/>
          </a:bodyPr>
          <a:lstStyle/>
          <a:p>
            <a:r>
              <a:rPr lang="ja-JP" altLang="en-US"/>
              <a:t>目次（</a:t>
            </a:r>
            <a:r>
              <a:rPr lang="en-US" altLang="ja-JP" dirty="0"/>
              <a:t>2/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3305161021"/>
              </p:ext>
            </p:extLst>
          </p:nvPr>
        </p:nvGraphicFramePr>
        <p:xfrm>
          <a:off x="200025" y="1152000"/>
          <a:ext cx="4500000"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4123136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36195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212962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1344786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中古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299029218"/>
              </p:ext>
            </p:extLst>
          </p:nvPr>
        </p:nvGraphicFramePr>
        <p:xfrm>
          <a:off x="5205600" y="1152000"/>
          <a:ext cx="4500000" cy="556219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1052375"/>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t>オンライン診療の主要プラットフォーマー</a:t>
                      </a:r>
                      <a:endParaRPr kumimoji="1"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4129701"/>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および業界団体</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09356">
                <a:tc gridSpan="3">
                  <a:txBody>
                    <a:bodyPr/>
                    <a:lstStyle/>
                    <a:p>
                      <a:pPr lvl="0">
                        <a:lnSpc>
                          <a:spcPct val="90000"/>
                        </a:lnSpc>
                      </a:pPr>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lnL w="12700" cmpd="sng">
                      <a:noFill/>
                    </a:lnL>
                    <a:lnT w="12700" cmpd="sng">
                      <a:noFill/>
                    </a:lnT>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09356">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HGP創英角ｺﾞｼｯｸUB" panose="020B0900000000000000" pitchFamily="50" charset="-128"/>
                        </a:rPr>
                        <a:t>医療関連政策の動向</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健康長寿に関する主な取り組み</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9065299"/>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産業振興政策の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09356">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01695">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ブラジル</a:t>
                      </a:r>
                      <a:r>
                        <a:rPr lang="ja-JP" altLang="en-US" sz="1050" dirty="0">
                          <a:latin typeface="+mn-lt"/>
                        </a:rPr>
                        <a:t>保健省の協力覚書（</a:t>
                      </a:r>
                      <a:r>
                        <a:rPr lang="en-US" altLang="ja-JP" sz="1050" dirty="0">
                          <a:latin typeface="+mn-lt"/>
                        </a:rPr>
                        <a:t>MOC</a:t>
                      </a:r>
                      <a:r>
                        <a:rPr lang="ja-JP" altLang="en-US" sz="1050" dirty="0">
                          <a:latin typeface="+mn-lt"/>
                        </a:rPr>
                        <a:t>）</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7093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が関係するその他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0169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01695">
                <a:tc gridSpan="3">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cxnSp>
        <p:nvCxnSpPr>
          <p:cNvPr id="8" name="Straight Connector 7">
            <a:extLst>
              <a:ext uri="{FF2B5EF4-FFF2-40B4-BE49-F238E27FC236}">
                <a16:creationId xmlns:a16="http://schemas.microsoft.com/office/drawing/2014/main" id="{E87DE143-EC65-444C-9BDD-908FBEC88ED3}"/>
              </a:ext>
            </a:extLst>
          </p:cNvPr>
          <p:cNvCxnSpPr>
            <a:cxnSpLocks/>
          </p:cNvCxnSpPr>
          <p:nvPr/>
        </p:nvCxnSpPr>
        <p:spPr>
          <a:xfrm>
            <a:off x="4952812"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44521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416496" y="5409220"/>
            <a:ext cx="2580704" cy="1044116"/>
          </a:xfrm>
          <a:prstGeom prst="rect">
            <a:avLst/>
          </a:prstGeom>
          <a:solidFill>
            <a:srgbClr val="E8E8E8"/>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正方形/長方形 60"/>
          <p:cNvSpPr/>
          <p:nvPr/>
        </p:nvSpPr>
        <p:spPr>
          <a:xfrm>
            <a:off x="2936776" y="5409220"/>
            <a:ext cx="3471168" cy="1044116"/>
          </a:xfrm>
          <a:prstGeom prst="rect">
            <a:avLst/>
          </a:prstGeom>
          <a:solidFill>
            <a:srgbClr val="DCDCDC"/>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65"/>
          <p:cNvSpPr/>
          <p:nvPr/>
        </p:nvSpPr>
        <p:spPr>
          <a:xfrm>
            <a:off x="6354669" y="5268686"/>
            <a:ext cx="3178485" cy="1186107"/>
          </a:xfrm>
          <a:prstGeom prst="rect">
            <a:avLst/>
          </a:prstGeom>
          <a:solidFill>
            <a:srgbClr val="CFCFCF"/>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角丸四角形 64"/>
          <p:cNvSpPr/>
          <p:nvPr/>
        </p:nvSpPr>
        <p:spPr>
          <a:xfrm>
            <a:off x="6906390" y="3562050"/>
            <a:ext cx="1719018" cy="216024"/>
          </a:xfrm>
          <a:prstGeom prst="roundRect">
            <a:avLst/>
          </a:prstGeom>
          <a:gradFill flip="none" rotWithShape="1">
            <a:gsLst>
              <a:gs pos="0">
                <a:srgbClr val="CCDAEC"/>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角丸四角形 62"/>
          <p:cNvSpPr/>
          <p:nvPr/>
        </p:nvSpPr>
        <p:spPr>
          <a:xfrm>
            <a:off x="6897216" y="2758461"/>
            <a:ext cx="1719018" cy="216024"/>
          </a:xfrm>
          <a:prstGeom prst="roundRect">
            <a:avLst/>
          </a:prstGeom>
          <a:gradFill flip="none" rotWithShape="1">
            <a:gsLst>
              <a:gs pos="0">
                <a:srgbClr val="CCDAEC"/>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角丸四角形 61"/>
          <p:cNvSpPr/>
          <p:nvPr/>
        </p:nvSpPr>
        <p:spPr>
          <a:xfrm>
            <a:off x="3512399" y="4574124"/>
            <a:ext cx="1719018" cy="216024"/>
          </a:xfrm>
          <a:prstGeom prst="roundRect">
            <a:avLst/>
          </a:prstGeom>
          <a:gradFill flip="none" rotWithShape="1">
            <a:gsLst>
              <a:gs pos="0">
                <a:srgbClr val="CCDAEC"/>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角丸四角形 57"/>
          <p:cNvSpPr/>
          <p:nvPr/>
        </p:nvSpPr>
        <p:spPr>
          <a:xfrm>
            <a:off x="3497536" y="3534494"/>
            <a:ext cx="2022817" cy="216024"/>
          </a:xfrm>
          <a:prstGeom prst="roundRect">
            <a:avLst/>
          </a:prstGeom>
          <a:gradFill flip="none" rotWithShape="1">
            <a:gsLst>
              <a:gs pos="0">
                <a:srgbClr val="CCDAEC"/>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角丸四角形 55"/>
          <p:cNvSpPr/>
          <p:nvPr/>
        </p:nvSpPr>
        <p:spPr>
          <a:xfrm>
            <a:off x="3497536" y="2762250"/>
            <a:ext cx="2022817" cy="216024"/>
          </a:xfrm>
          <a:prstGeom prst="roundRect">
            <a:avLst/>
          </a:prstGeom>
          <a:gradFill flip="none" rotWithShape="1">
            <a:gsLst>
              <a:gs pos="0">
                <a:srgbClr val="CCDAEC"/>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角丸四角形 3"/>
          <p:cNvSpPr/>
          <p:nvPr/>
        </p:nvSpPr>
        <p:spPr>
          <a:xfrm>
            <a:off x="3497537" y="2323877"/>
            <a:ext cx="1214610" cy="216024"/>
          </a:xfrm>
          <a:prstGeom prst="roundRect">
            <a:avLst/>
          </a:prstGeom>
          <a:gradFill flip="none" rotWithShape="1">
            <a:gsLst>
              <a:gs pos="0">
                <a:srgbClr val="CCDAEC"/>
              </a:gs>
              <a:gs pos="100000">
                <a:schemeClr val="bg1"/>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教育水準</a:t>
            </a:r>
          </a:p>
        </p:txBody>
      </p:sp>
      <p:sp>
        <p:nvSpPr>
          <p:cNvPr id="86" name="テキスト ボックス 8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solidFill>
                  <a:srgbClr val="000000"/>
                </a:solidFill>
              </a:rPr>
              <a:t>槙絵美子・加藤麻衣「ブラジルの健康保険制度 </a:t>
            </a:r>
            <a:r>
              <a:rPr lang="en-US" altLang="ja-JP" sz="800" dirty="0">
                <a:solidFill>
                  <a:srgbClr val="000000"/>
                </a:solidFill>
              </a:rPr>
              <a:t>- </a:t>
            </a:r>
            <a:r>
              <a:rPr lang="ja-JP" altLang="en-US" sz="800" dirty="0">
                <a:solidFill>
                  <a:srgbClr val="000000"/>
                </a:solidFill>
              </a:rPr>
              <a:t>統一医療システム</a:t>
            </a:r>
            <a:r>
              <a:rPr lang="en-US" altLang="ja-JP" sz="800" dirty="0">
                <a:solidFill>
                  <a:srgbClr val="000000"/>
                </a:solidFill>
              </a:rPr>
              <a:t>SUS</a:t>
            </a:r>
            <a:r>
              <a:rPr lang="ja-JP" altLang="en-US" sz="800" dirty="0">
                <a:solidFill>
                  <a:srgbClr val="000000"/>
                </a:solidFill>
              </a:rPr>
              <a:t>と民間健康保険</a:t>
            </a:r>
            <a:r>
              <a:rPr lang="en-US" altLang="ja-JP" sz="800" dirty="0">
                <a:solidFill>
                  <a:srgbClr val="000000"/>
                </a:solidFill>
              </a:rPr>
              <a:t>SHI</a:t>
            </a:r>
            <a:r>
              <a:rPr lang="ja-JP" altLang="en-US" sz="800" dirty="0">
                <a:solidFill>
                  <a:srgbClr val="000000"/>
                </a:solidFill>
              </a:rPr>
              <a:t>」（</a:t>
            </a:r>
            <a:r>
              <a:rPr lang="en-US" altLang="ja-JP" sz="800" dirty="0">
                <a:solidFill>
                  <a:srgbClr val="000000"/>
                </a:solidFill>
              </a:rPr>
              <a:t>2015</a:t>
            </a:r>
            <a:r>
              <a:rPr lang="ja-JP" altLang="en-US" sz="800" dirty="0">
                <a:solidFill>
                  <a:srgbClr val="000000"/>
                </a:solidFill>
              </a:rPr>
              <a:t>年）、有識者ヒアリング</a:t>
            </a:r>
          </a:p>
        </p:txBody>
      </p:sp>
      <p:grpSp>
        <p:nvGrpSpPr>
          <p:cNvPr id="290" name="グループ化 289"/>
          <p:cNvGrpSpPr/>
          <p:nvPr/>
        </p:nvGrpSpPr>
        <p:grpSpPr>
          <a:xfrm>
            <a:off x="395961" y="1844824"/>
            <a:ext cx="9165551" cy="288032"/>
            <a:chOff x="2358644" y="1988840"/>
            <a:chExt cx="4898612" cy="288032"/>
          </a:xfrm>
        </p:grpSpPr>
        <p:cxnSp>
          <p:nvCxnSpPr>
            <p:cNvPr id="291" name="直線コネクタ 290"/>
            <p:cNvCxnSpPr/>
            <p:nvPr/>
          </p:nvCxnSpPr>
          <p:spPr>
            <a:xfrm>
              <a:off x="2366932" y="2276872"/>
              <a:ext cx="48903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2"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師免許／専門医のライセンス取得フロー</a:t>
              </a:r>
            </a:p>
          </p:txBody>
        </p:sp>
      </p:grpSp>
      <p:sp>
        <p:nvSpPr>
          <p:cNvPr id="59" name="テキスト ボックス 5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に医師国家試験はな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制の医学部を卒業すると、一般医として医療行為を行うことができる（歯学部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制）。</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ただし、その後に</a:t>
            </a:r>
            <a:r>
              <a:rPr lang="en-US" altLang="ja-JP" sz="1400" dirty="0" err="1"/>
              <a:t>Residência</a:t>
            </a:r>
            <a:r>
              <a:rPr lang="en-US" altLang="ja-JP" sz="1400" dirty="0"/>
              <a:t> </a:t>
            </a:r>
            <a:r>
              <a:rPr lang="en-US" altLang="ja-JP" sz="1400" dirty="0" err="1"/>
              <a:t>Médica</a:t>
            </a:r>
            <a:r>
              <a:rPr lang="ja-JP" altLang="en-US" sz="1400" dirty="0"/>
              <a:t>と呼ばれる課程があり、同課程に進むためには試験が存在す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ボックス 63"/>
          <p:cNvSpPr txBox="1"/>
          <p:nvPr/>
        </p:nvSpPr>
        <p:spPr>
          <a:xfrm>
            <a:off x="3296816" y="2299247"/>
            <a:ext cx="2952328" cy="2133020"/>
          </a:xfrm>
          <a:prstGeom prst="rect">
            <a:avLst/>
          </a:prstGeom>
          <a:noFill/>
        </p:spPr>
        <p:txBody>
          <a:bodyPr wrap="square" rtlCol="0">
            <a:spAutoFit/>
          </a:bodyPr>
          <a:lstStyle/>
          <a:p>
            <a:pPr marL="171450" indent="-171450">
              <a:lnSpc>
                <a:spcPct val="113000"/>
              </a:lnSpc>
              <a:buClr>
                <a:srgbClr val="3D6AA7"/>
              </a:buClr>
              <a:buSzPct val="80000"/>
              <a:buFont typeface="Wingdings" panose="05000000000000000000" pitchFamily="2" charset="2"/>
              <a:buChar char="l"/>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医学部卒業</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a:p>
            <a:pPr>
              <a:lnSpc>
                <a:spcPct val="113000"/>
              </a:lnSpc>
              <a:buClr>
                <a:srgbClr val="3D6AA7"/>
              </a:buClr>
              <a:buSzPct val="80000"/>
            </a:pPr>
            <a:endParaRPr lang="en-US" altLang="ja-JP" sz="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3000"/>
              </a:lnSpc>
              <a:buClr>
                <a:srgbClr val="3D6AA7"/>
              </a:buClr>
              <a:buSzPct val="80000"/>
            </a:pPr>
            <a:r>
              <a:rPr lang="ja-JP" altLang="en-US" sz="600" dirty="0">
                <a:latin typeface="Arial" panose="020B0604020202020204" pitchFamily="34" charset="0"/>
                <a:ea typeface="ＭＳ Ｐゴシック" panose="020B0600070205080204" pitchFamily="50" charset="-128"/>
                <a:cs typeface="Arial" panose="020B0604020202020204" pitchFamily="34" charset="0"/>
              </a:rPr>
              <a:t>　　</a:t>
            </a:r>
            <a:endParaRPr lang="en-US" altLang="ja-JP" sz="600" dirty="0">
              <a:latin typeface="Arial" panose="020B0604020202020204" pitchFamily="34" charset="0"/>
              <a:ea typeface="ＭＳ Ｐゴシック" panose="020B0600070205080204" pitchFamily="50" charset="-128"/>
              <a:cs typeface="Arial" panose="020B0604020202020204" pitchFamily="34" charset="0"/>
            </a:endParaRPr>
          </a:p>
          <a:p>
            <a:pPr>
              <a:lnSpc>
                <a:spcPct val="113000"/>
              </a:lnSpc>
              <a:buClr>
                <a:srgbClr val="3D6AA7"/>
              </a:buClr>
              <a:buSzPct val="80000"/>
            </a:pPr>
            <a:endParaRPr lang="en-US" altLang="ja-JP" sz="4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nSpc>
                <a:spcPct val="113000"/>
              </a:lnSpc>
              <a:buClr>
                <a:srgbClr val="3D6AA7"/>
              </a:buClr>
              <a:buSzPct val="80000"/>
              <a:buFont typeface="Wingdings" panose="05000000000000000000" pitchFamily="2" charset="2"/>
              <a:buChar char="l"/>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邦医師評議会（</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CFM</a:t>
            </a:r>
            <a:r>
              <a:rPr lang="en-US" altLang="ja-JP" sz="1100" b="1" baseline="30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に登録</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a:p>
            <a:pPr marL="361950" lvl="1" indent="-187325">
              <a:lnSpc>
                <a:spcPct val="113000"/>
              </a:lnSpc>
              <a:spcBef>
                <a:spcPts val="300"/>
              </a:spcBef>
              <a:buClr>
                <a:srgbClr val="3D6AA7"/>
              </a:buClr>
              <a:buSzPct val="80000"/>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Conselho</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Federal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Medicin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主に医療倫理や医療実務の監督を行う機関</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nSpc>
                <a:spcPct val="113000"/>
              </a:lnSpc>
              <a:buClr>
                <a:srgbClr val="3D6AA7"/>
              </a:buClr>
              <a:buSzPct val="80000"/>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nSpc>
                <a:spcPct val="113000"/>
              </a:lnSpc>
              <a:spcBef>
                <a:spcPts val="450"/>
              </a:spcBef>
              <a:buClr>
                <a:srgbClr val="3D6AA7"/>
              </a:buClr>
              <a:buSzPct val="80000"/>
              <a:buFont typeface="Wingdings" panose="05000000000000000000" pitchFamily="2" charset="2"/>
              <a:buChar char="l"/>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一般医として医療行為が可能</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a:p>
            <a:pPr marL="322263" lvl="1" indent="-11113" algn="just">
              <a:lnSpc>
                <a:spcPct val="113000"/>
              </a:lnSpc>
              <a:spcBef>
                <a:spcPts val="600"/>
              </a:spcBef>
              <a:buClr>
                <a:srgbClr val="3D6AA7"/>
              </a:buClr>
              <a:buSzPct val="80000"/>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サンパウロ州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取得の義務はないが医師試験が存在している。現在その義務化に向けた動きがあると言われている。</a:t>
            </a:r>
          </a:p>
        </p:txBody>
      </p:sp>
      <p:sp>
        <p:nvSpPr>
          <p:cNvPr id="83" name="テキスト ボックス 82"/>
          <p:cNvSpPr txBox="1"/>
          <p:nvPr/>
        </p:nvSpPr>
        <p:spPr>
          <a:xfrm>
            <a:off x="3566624" y="5759145"/>
            <a:ext cx="2331426" cy="283604"/>
          </a:xfrm>
          <a:prstGeom prst="rect">
            <a:avLst/>
          </a:prstGeom>
          <a:noFill/>
        </p:spPr>
        <p:txBody>
          <a:bodyPr wrap="square" rtlCol="0">
            <a:spAutoFit/>
          </a:bodyPr>
          <a:lstStyle/>
          <a:p>
            <a:pPr algn="ctr">
              <a:lnSpc>
                <a:spcPct val="113000"/>
              </a:lnSpc>
            </a:pPr>
            <a:r>
              <a:rPr lang="ja-JP" altLang="en-US" sz="1100" spc="-30" dirty="0">
                <a:latin typeface="Arial" panose="020B0604020202020204" pitchFamily="34" charset="0"/>
                <a:ea typeface="ＭＳ Ｐゴシック" panose="020B0600070205080204" pitchFamily="50" charset="-128"/>
                <a:cs typeface="Arial" panose="020B0604020202020204" pitchFamily="34" charset="0"/>
              </a:rPr>
              <a:t>研修医として勤務と臨床を学ぶ課程</a:t>
            </a:r>
            <a:endParaRPr kumimoji="1" lang="ja-JP" altLang="en-US" sz="1100" spc="-3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テキスト ボックス 89"/>
          <p:cNvSpPr txBox="1"/>
          <p:nvPr/>
        </p:nvSpPr>
        <p:spPr>
          <a:xfrm>
            <a:off x="3296816" y="4546958"/>
            <a:ext cx="3051179" cy="466218"/>
          </a:xfrm>
          <a:prstGeom prst="rect">
            <a:avLst/>
          </a:prstGeom>
          <a:noFill/>
        </p:spPr>
        <p:txBody>
          <a:bodyPr wrap="square" rtlCol="0">
            <a:spAutoFit/>
          </a:bodyPr>
          <a:lstStyle>
            <a:defPPr>
              <a:defRPr lang="ja-JP"/>
            </a:defPPr>
            <a:lvl1pPr marL="171450" indent="-171450">
              <a:lnSpc>
                <a:spcPct val="113000"/>
              </a:lnSpc>
              <a:buClr>
                <a:srgbClr val="3D6AA7"/>
              </a:buClr>
              <a:buSzPct val="80000"/>
              <a:buFont typeface="Wingdings" panose="05000000000000000000" pitchFamily="2" charset="2"/>
              <a:buChar char="l"/>
              <a:defRPr sz="1100" b="1">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Residência </a:t>
            </a:r>
            <a:r>
              <a:rPr lang="en-US" altLang="ja-JP" dirty="0" err="1"/>
              <a:t>Médica</a:t>
            </a:r>
            <a:r>
              <a:rPr lang="ja-JP" altLang="en-US" dirty="0"/>
              <a:t>に進むための試験</a:t>
            </a:r>
            <a:br>
              <a:rPr lang="en-US" altLang="ja-JP" dirty="0"/>
            </a:br>
            <a:r>
              <a:rPr lang="ja-JP" altLang="en-US" sz="1050" b="0" dirty="0"/>
              <a:t>（日本の医師国家試験に該当）</a:t>
            </a:r>
            <a:endParaRPr lang="ja-JP" altLang="en-US" b="0" dirty="0"/>
          </a:p>
        </p:txBody>
      </p:sp>
      <p:sp>
        <p:nvSpPr>
          <p:cNvPr id="91" name="テキスト ボックス 90"/>
          <p:cNvSpPr txBox="1"/>
          <p:nvPr/>
        </p:nvSpPr>
        <p:spPr>
          <a:xfrm>
            <a:off x="6695049" y="2731295"/>
            <a:ext cx="1972794" cy="266420"/>
          </a:xfrm>
          <a:prstGeom prst="rect">
            <a:avLst/>
          </a:prstGeom>
          <a:noFill/>
        </p:spPr>
        <p:txBody>
          <a:bodyPr wrap="square" rtlCol="0">
            <a:spAutoFit/>
          </a:bodyPr>
          <a:lstStyle>
            <a:defPPr>
              <a:defRPr lang="ja-JP"/>
            </a:defPPr>
            <a:lvl1pPr>
              <a:lnSpc>
                <a:spcPct val="113000"/>
              </a:lnSpc>
              <a:defRPr sz="1050">
                <a:latin typeface="Arial" panose="020B0604020202020204" pitchFamily="34" charset="0"/>
                <a:ea typeface="ＭＳ Ｐゴシック" panose="020B0600070205080204" pitchFamily="50" charset="-128"/>
                <a:cs typeface="Arial" panose="020B0604020202020204" pitchFamily="34" charset="0"/>
              </a:defRPr>
            </a:lvl1pPr>
          </a:lstStyle>
          <a:p>
            <a:pPr marL="171450" indent="-171450">
              <a:buClr>
                <a:srgbClr val="3D6AA7"/>
              </a:buClr>
              <a:buSzPct val="80000"/>
              <a:buFont typeface="Wingdings" panose="05000000000000000000" pitchFamily="2" charset="2"/>
              <a:buChar char="l"/>
            </a:pPr>
            <a:r>
              <a:rPr lang="en-US" altLang="ja-JP" sz="1100" b="1" dirty="0"/>
              <a:t>Residência </a:t>
            </a:r>
            <a:r>
              <a:rPr lang="en-US" altLang="ja-JP" sz="1100" b="1" dirty="0" err="1"/>
              <a:t>Médica</a:t>
            </a:r>
            <a:r>
              <a:rPr lang="en-US" altLang="ja-JP" sz="1100" b="1" dirty="0"/>
              <a:t> </a:t>
            </a:r>
            <a:r>
              <a:rPr lang="ja-JP" altLang="en-US" sz="1100" b="1" dirty="0"/>
              <a:t>修了</a:t>
            </a:r>
          </a:p>
        </p:txBody>
      </p:sp>
      <p:sp>
        <p:nvSpPr>
          <p:cNvPr id="94" name="テキスト ボックス 93"/>
          <p:cNvSpPr txBox="1"/>
          <p:nvPr/>
        </p:nvSpPr>
        <p:spPr>
          <a:xfrm>
            <a:off x="6695049" y="3523383"/>
            <a:ext cx="3024336" cy="946862"/>
          </a:xfrm>
          <a:prstGeom prst="rect">
            <a:avLst/>
          </a:prstGeom>
          <a:noFill/>
        </p:spPr>
        <p:txBody>
          <a:bodyPr wrap="square" rtlCol="0">
            <a:spAutoFit/>
          </a:bodyPr>
          <a:lstStyle>
            <a:defPPr>
              <a:defRPr lang="ja-JP"/>
            </a:defPPr>
            <a:lvl1pPr>
              <a:lnSpc>
                <a:spcPct val="113000"/>
              </a:lnSpc>
              <a:defRPr sz="1050">
                <a:latin typeface="Arial" panose="020B0604020202020204" pitchFamily="34" charset="0"/>
                <a:ea typeface="ＭＳ Ｐゴシック" panose="020B0600070205080204" pitchFamily="50" charset="-128"/>
                <a:cs typeface="Arial" panose="020B0604020202020204" pitchFamily="34" charset="0"/>
              </a:defRPr>
            </a:lvl1pPr>
          </a:lstStyle>
          <a:p>
            <a:pPr marL="171450" indent="-171450">
              <a:buClr>
                <a:srgbClr val="3D6AA7"/>
              </a:buClr>
              <a:buSzPct val="80000"/>
              <a:buFont typeface="Wingdings" panose="05000000000000000000" pitchFamily="2" charset="2"/>
              <a:buChar char="l"/>
            </a:pPr>
            <a:r>
              <a:rPr lang="ja-JP" altLang="en-US" sz="1100" b="1" dirty="0"/>
              <a:t>専門医の認定試験を受験</a:t>
            </a:r>
            <a:endParaRPr lang="en-US" altLang="ja-JP" sz="1100" b="1" dirty="0"/>
          </a:p>
          <a:p>
            <a:pPr marL="300038" lvl="2" indent="-119063">
              <a:lnSpc>
                <a:spcPct val="113000"/>
              </a:lnSpc>
              <a:spcBef>
                <a:spcPts val="600"/>
              </a:spcBef>
              <a:buClr>
                <a:schemeClr val="bg1">
                  <a:lumMod val="50000"/>
                </a:schemeClr>
              </a:buClr>
              <a:buSzPct val="80000"/>
              <a:buFont typeface="Wingdings" panose="05000000000000000000" pitchFamily="2" charset="2"/>
              <a:buChar char="l"/>
              <a:tabLst>
                <a:tab pos="804863" algn="l"/>
                <a:tab pos="1035050" algn="l"/>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合格：</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専門医として勤務が可能</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300038" lvl="2" indent="-119063">
              <a:lnSpc>
                <a:spcPct val="113000"/>
              </a:lnSpc>
              <a:spcBef>
                <a:spcPts val="300"/>
              </a:spcBef>
              <a:buClr>
                <a:schemeClr val="bg1">
                  <a:lumMod val="50000"/>
                </a:schemeClr>
              </a:buClr>
              <a:buSzPct val="80000"/>
              <a:buFont typeface="Wingdings" panose="05000000000000000000" pitchFamily="2" charset="2"/>
              <a:buChar char="l"/>
              <a:tabLst>
                <a:tab pos="804863" algn="l"/>
                <a:tab pos="1035050" algn="l"/>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不合格：</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総合診療医（</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General Practitioner</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として医療従事が可能</a:t>
            </a:r>
          </a:p>
        </p:txBody>
      </p:sp>
      <p:sp>
        <p:nvSpPr>
          <p:cNvPr id="48" name="角丸四角形 47"/>
          <p:cNvSpPr/>
          <p:nvPr/>
        </p:nvSpPr>
        <p:spPr>
          <a:xfrm>
            <a:off x="1206972" y="5509824"/>
            <a:ext cx="862636" cy="259604"/>
          </a:xfrm>
          <a:prstGeom prst="roundRect">
            <a:avLst>
              <a:gd name="adj" fmla="val 50000"/>
            </a:avLst>
          </a:prstGeom>
          <a:solidFill>
            <a:srgbClr val="CCDAEC"/>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学部</a:t>
            </a:r>
          </a:p>
        </p:txBody>
      </p:sp>
      <p:sp>
        <p:nvSpPr>
          <p:cNvPr id="50" name="角丸四角形 49"/>
          <p:cNvSpPr/>
          <p:nvPr/>
        </p:nvSpPr>
        <p:spPr>
          <a:xfrm>
            <a:off x="4012257" y="6102674"/>
            <a:ext cx="1440160" cy="259604"/>
          </a:xfrm>
          <a:prstGeom prst="roundRect">
            <a:avLst>
              <a:gd name="adj" fmla="val 50000"/>
            </a:avLst>
          </a:prstGeom>
          <a:solidFill>
            <a:srgbClr val="83A4D1"/>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一般医</a:t>
            </a:r>
          </a:p>
        </p:txBody>
      </p:sp>
      <p:sp>
        <p:nvSpPr>
          <p:cNvPr id="42" name="角丸四角形 41"/>
          <p:cNvSpPr/>
          <p:nvPr/>
        </p:nvSpPr>
        <p:spPr>
          <a:xfrm>
            <a:off x="7255460" y="5589240"/>
            <a:ext cx="1440160" cy="259604"/>
          </a:xfrm>
          <a:prstGeom prst="roundRect">
            <a:avLst>
              <a:gd name="adj" fmla="val 50000"/>
            </a:avLst>
          </a:prstGeom>
          <a:solidFill>
            <a:srgbClr val="5F8AC3"/>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lnSpc>
                <a:spcPct val="113000"/>
              </a:lnSpc>
            </a:pP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総合診療医</a:t>
            </a:r>
          </a:p>
        </p:txBody>
      </p:sp>
      <p:sp>
        <p:nvSpPr>
          <p:cNvPr id="44" name="角丸四角形 43"/>
          <p:cNvSpPr/>
          <p:nvPr/>
        </p:nvSpPr>
        <p:spPr>
          <a:xfrm>
            <a:off x="4012257" y="5509824"/>
            <a:ext cx="1440160" cy="259604"/>
          </a:xfrm>
          <a:prstGeom prst="roundRect">
            <a:avLst>
              <a:gd name="adj" fmla="val 50000"/>
            </a:avLst>
          </a:prstGeom>
          <a:solidFill>
            <a:srgbClr val="A2BBDC"/>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r>
              <a:rPr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Residência </a:t>
            </a:r>
            <a:r>
              <a:rPr lang="en-US" altLang="ja-JP" sz="1100" b="1"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Médica</a:t>
            </a:r>
            <a:endPar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円/楕円 59"/>
          <p:cNvSpPr/>
          <p:nvPr/>
        </p:nvSpPr>
        <p:spPr>
          <a:xfrm>
            <a:off x="288338" y="2438649"/>
            <a:ext cx="2573972" cy="1440160"/>
          </a:xfrm>
          <a:prstGeom prst="ellipse">
            <a:avLst/>
          </a:prstGeom>
          <a:gradFill flip="none" rotWithShape="1">
            <a:gsLst>
              <a:gs pos="0">
                <a:srgbClr val="E4BB46"/>
              </a:gs>
              <a:gs pos="100000">
                <a:srgbClr val="FFFFFF"/>
              </a:gs>
            </a:gsLst>
            <a:path path="shape">
              <a:fillToRect l="50000" t="50000" r="50000" b="50000"/>
            </a:path>
            <a:tileRect/>
          </a:gradFill>
        </p:spPr>
        <p:txBody>
          <a:bodyPr wrap="none" anchor="ctr" anchorCtr="0">
            <a:noAutofit/>
          </a:bodyPr>
          <a:lstStyle/>
          <a:p>
            <a:pPr algn="ctr" fontAlgn="ctr">
              <a:lnSpc>
                <a:spcPct val="113000"/>
              </a:lnSpc>
            </a:pPr>
            <a:r>
              <a:rPr lang="ja-JP" altLang="en-US" sz="1200" b="1" dirty="0">
                <a:latin typeface="ＭＳ Ｐゴシック" panose="020B0600070205080204" pitchFamily="50" charset="-128"/>
                <a:ea typeface="ＭＳ Ｐゴシック" panose="020B0600070205080204" pitchFamily="50" charset="-128"/>
              </a:rPr>
              <a:t>ブラジルには</a:t>
            </a:r>
            <a:br>
              <a:rPr lang="en-US" altLang="ja-JP" sz="1100" b="1" dirty="0">
                <a:latin typeface="ＭＳ Ｐゴシック" panose="020B0600070205080204" pitchFamily="50" charset="-128"/>
                <a:ea typeface="ＭＳ Ｐゴシック" panose="020B0600070205080204" pitchFamily="50" charset="-128"/>
              </a:rPr>
            </a:br>
            <a:r>
              <a:rPr lang="ja-JP" altLang="en-US" sz="1600" dirty="0">
                <a:solidFill>
                  <a:srgbClr val="000000"/>
                </a:solidFill>
                <a:latin typeface="Arial Black" pitchFamily="34" charset="0"/>
                <a:ea typeface="HGP創英角ｺﾞｼｯｸUB" pitchFamily="50" charset="-128"/>
              </a:rPr>
              <a:t>医師国家試験は無い</a:t>
            </a:r>
          </a:p>
        </p:txBody>
      </p:sp>
      <p:sp>
        <p:nvSpPr>
          <p:cNvPr id="51" name="角丸四角形 50"/>
          <p:cNvSpPr/>
          <p:nvPr/>
        </p:nvSpPr>
        <p:spPr>
          <a:xfrm>
            <a:off x="7255460" y="5992363"/>
            <a:ext cx="1440160" cy="259604"/>
          </a:xfrm>
          <a:prstGeom prst="roundRect">
            <a:avLst>
              <a:gd name="adj" fmla="val 5000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r>
              <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専門医</a:t>
            </a:r>
          </a:p>
        </p:txBody>
      </p:sp>
      <p:sp>
        <p:nvSpPr>
          <p:cNvPr id="9" name="二等辺三角形 8"/>
          <p:cNvSpPr/>
          <p:nvPr/>
        </p:nvSpPr>
        <p:spPr>
          <a:xfrm rot="10800000">
            <a:off x="3504131" y="2587279"/>
            <a:ext cx="440757" cy="130400"/>
          </a:xfrm>
          <a:prstGeom prst="triangle">
            <a:avLst/>
          </a:prstGeom>
          <a:gradFill flip="none" rotWithShape="1">
            <a:gsLst>
              <a:gs pos="10000">
                <a:srgbClr val="A2BBDC"/>
              </a:gs>
              <a:gs pos="100000">
                <a:schemeClr val="bg1"/>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ホームベース 5"/>
          <p:cNvSpPr/>
          <p:nvPr/>
        </p:nvSpPr>
        <p:spPr>
          <a:xfrm>
            <a:off x="416496" y="5098851"/>
            <a:ext cx="9116658" cy="332704"/>
          </a:xfrm>
          <a:prstGeom prst="homePlate">
            <a:avLst>
              <a:gd name="adj" fmla="val 60020"/>
            </a:avLst>
          </a:prstGeom>
          <a:gradFill flip="none" rotWithShape="1">
            <a:gsLst>
              <a:gs pos="32000">
                <a:srgbClr val="FCAE91"/>
              </a:gs>
              <a:gs pos="0">
                <a:srgbClr val="FFEEE7"/>
              </a:gs>
            </a:gsLst>
            <a:lin ang="0" scaled="1"/>
            <a:tileRect/>
          </a:gradFill>
          <a:ln w="2857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二等辺三角形 51"/>
          <p:cNvSpPr/>
          <p:nvPr/>
        </p:nvSpPr>
        <p:spPr>
          <a:xfrm rot="10800000">
            <a:off x="3504131" y="3364519"/>
            <a:ext cx="440757" cy="130400"/>
          </a:xfrm>
          <a:prstGeom prst="triangle">
            <a:avLst/>
          </a:prstGeom>
          <a:gradFill flip="none" rotWithShape="1">
            <a:gsLst>
              <a:gs pos="10000">
                <a:srgbClr val="A2BBDC"/>
              </a:gs>
              <a:gs pos="100000">
                <a:schemeClr val="bg1"/>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角丸四角形 44"/>
          <p:cNvSpPr/>
          <p:nvPr/>
        </p:nvSpPr>
        <p:spPr>
          <a:xfrm>
            <a:off x="3798137" y="5121187"/>
            <a:ext cx="1868400" cy="288032"/>
          </a:xfrm>
          <a:prstGeom prst="round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CAE91"/>
                </a:solidFill>
              </a14:hiddenFill>
            </a:ext>
            <a:ext uri="{91240B29-F687-4F45-9708-019B960494DF}">
              <a14:hiddenLine xmlns:a14="http://schemas.microsoft.com/office/drawing/2010/main" w="9525" cap="flat" cmpd="sng" algn="ctr">
                <a:solidFill>
                  <a:srgbClr val="558525"/>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fontAlgn="ctr"/>
            <a:r>
              <a:rPr lang="en-US" altLang="ja-JP"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lang="ja-JP" altLang="en-US"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目</a:t>
            </a:r>
          </a:p>
        </p:txBody>
      </p:sp>
      <p:sp>
        <p:nvSpPr>
          <p:cNvPr id="46" name="角丸四角形 45"/>
          <p:cNvSpPr/>
          <p:nvPr/>
        </p:nvSpPr>
        <p:spPr>
          <a:xfrm>
            <a:off x="704528" y="5121187"/>
            <a:ext cx="1867524" cy="288032"/>
          </a:xfrm>
          <a:prstGeom prst="round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CAE91"/>
                </a:solidFill>
              </a14:hiddenFill>
            </a:ext>
            <a:ext uri="{91240B29-F687-4F45-9708-019B960494DF}">
              <a14:hiddenLine xmlns:a14="http://schemas.microsoft.com/office/drawing/2010/main" w="9525" cap="flat" cmpd="sng" algn="ctr">
                <a:solidFill>
                  <a:srgbClr val="558525"/>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r>
              <a:rPr lang="en-US" altLang="ja-JP"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制（歯学部は</a:t>
            </a:r>
            <a:r>
              <a:rPr lang="en-US" altLang="ja-JP"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制）</a:t>
            </a:r>
          </a:p>
        </p:txBody>
      </p:sp>
      <p:sp>
        <p:nvSpPr>
          <p:cNvPr id="47" name="角丸四角形 46"/>
          <p:cNvSpPr/>
          <p:nvPr/>
        </p:nvSpPr>
        <p:spPr>
          <a:xfrm>
            <a:off x="7117048" y="5121187"/>
            <a:ext cx="1868400" cy="288032"/>
          </a:xfrm>
          <a:prstGeom prst="round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CAE91"/>
                </a:solidFill>
              </a14:hiddenFill>
            </a:ext>
            <a:ext uri="{91240B29-F687-4F45-9708-019B960494DF}">
              <a14:hiddenLine xmlns:a14="http://schemas.microsoft.com/office/drawing/2010/main" w="9525" cap="flat" cmpd="sng" algn="ctr">
                <a:solidFill>
                  <a:srgbClr val="558525"/>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ctr"/>
            <a:r>
              <a:rPr lang="en-US" altLang="ja-JP"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lang="ja-JP" altLang="en-US"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目～</a:t>
            </a:r>
          </a:p>
        </p:txBody>
      </p:sp>
      <p:sp>
        <p:nvSpPr>
          <p:cNvPr id="43" name="正方形/長方形 225"/>
          <p:cNvSpPr/>
          <p:nvPr/>
        </p:nvSpPr>
        <p:spPr>
          <a:xfrm flipH="1">
            <a:off x="2936776" y="2450305"/>
            <a:ext cx="442218" cy="2983843"/>
          </a:xfrm>
          <a:custGeom>
            <a:avLst/>
            <a:gdLst>
              <a:gd name="connsiteX0" fmla="*/ 0 w 1368152"/>
              <a:gd name="connsiteY0" fmla="*/ 0 h 1368152"/>
              <a:gd name="connsiteX1" fmla="*/ 1368152 w 1368152"/>
              <a:gd name="connsiteY1" fmla="*/ 0 h 1368152"/>
              <a:gd name="connsiteX2" fmla="*/ 1368152 w 1368152"/>
              <a:gd name="connsiteY2" fmla="*/ 1368152 h 1368152"/>
              <a:gd name="connsiteX3" fmla="*/ 0 w 1368152"/>
              <a:gd name="connsiteY3" fmla="*/ 1368152 h 1368152"/>
              <a:gd name="connsiteX4" fmla="*/ 0 w 1368152"/>
              <a:gd name="connsiteY4" fmla="*/ 0 h 1368152"/>
              <a:gd name="connsiteX0" fmla="*/ 0 w 1368152"/>
              <a:gd name="connsiteY0" fmla="*/ 1368152 h 1459592"/>
              <a:gd name="connsiteX1" fmla="*/ 0 w 1368152"/>
              <a:gd name="connsiteY1" fmla="*/ 0 h 1459592"/>
              <a:gd name="connsiteX2" fmla="*/ 1368152 w 1368152"/>
              <a:gd name="connsiteY2" fmla="*/ 0 h 1459592"/>
              <a:gd name="connsiteX3" fmla="*/ 1368152 w 1368152"/>
              <a:gd name="connsiteY3" fmla="*/ 1368152 h 1459592"/>
              <a:gd name="connsiteX4" fmla="*/ 91440 w 1368152"/>
              <a:gd name="connsiteY4" fmla="*/ 1459592 h 1459592"/>
              <a:gd name="connsiteX0" fmla="*/ 0 w 1368152"/>
              <a:gd name="connsiteY0" fmla="*/ 1368152 h 1368152"/>
              <a:gd name="connsiteX1" fmla="*/ 0 w 1368152"/>
              <a:gd name="connsiteY1" fmla="*/ 0 h 1368152"/>
              <a:gd name="connsiteX2" fmla="*/ 1368152 w 1368152"/>
              <a:gd name="connsiteY2" fmla="*/ 0 h 1368152"/>
              <a:gd name="connsiteX3" fmla="*/ 1368152 w 1368152"/>
              <a:gd name="connsiteY3" fmla="*/ 1368152 h 1368152"/>
              <a:gd name="connsiteX0" fmla="*/ 0 w 1368152"/>
              <a:gd name="connsiteY0" fmla="*/ 0 h 1368152"/>
              <a:gd name="connsiteX1" fmla="*/ 1368152 w 1368152"/>
              <a:gd name="connsiteY1" fmla="*/ 0 h 1368152"/>
              <a:gd name="connsiteX2" fmla="*/ 1368152 w 1368152"/>
              <a:gd name="connsiteY2" fmla="*/ 1368152 h 1368152"/>
            </a:gdLst>
            <a:ahLst/>
            <a:cxnLst>
              <a:cxn ang="0">
                <a:pos x="connsiteX0" y="connsiteY0"/>
              </a:cxn>
              <a:cxn ang="0">
                <a:pos x="connsiteX1" y="connsiteY1"/>
              </a:cxn>
              <a:cxn ang="0">
                <a:pos x="connsiteX2" y="connsiteY2"/>
              </a:cxn>
            </a:cxnLst>
            <a:rect l="l" t="t" r="r" b="b"/>
            <a:pathLst>
              <a:path w="1368152" h="1368152">
                <a:moveTo>
                  <a:pt x="0" y="0"/>
                </a:moveTo>
                <a:lnTo>
                  <a:pt x="1368152" y="0"/>
                </a:lnTo>
                <a:lnTo>
                  <a:pt x="1368152" y="1368152"/>
                </a:lnTo>
              </a:path>
            </a:pathLst>
          </a:custGeom>
          <a:ln w="19050">
            <a:solidFill>
              <a:srgbClr val="6A6A6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6" name="正方形/長方形 225"/>
          <p:cNvSpPr/>
          <p:nvPr/>
        </p:nvSpPr>
        <p:spPr>
          <a:xfrm flipH="1">
            <a:off x="3140073" y="4695826"/>
            <a:ext cx="228749" cy="493394"/>
          </a:xfrm>
          <a:custGeom>
            <a:avLst/>
            <a:gdLst>
              <a:gd name="connsiteX0" fmla="*/ 0 w 1368152"/>
              <a:gd name="connsiteY0" fmla="*/ 0 h 1368152"/>
              <a:gd name="connsiteX1" fmla="*/ 1368152 w 1368152"/>
              <a:gd name="connsiteY1" fmla="*/ 0 h 1368152"/>
              <a:gd name="connsiteX2" fmla="*/ 1368152 w 1368152"/>
              <a:gd name="connsiteY2" fmla="*/ 1368152 h 1368152"/>
              <a:gd name="connsiteX3" fmla="*/ 0 w 1368152"/>
              <a:gd name="connsiteY3" fmla="*/ 1368152 h 1368152"/>
              <a:gd name="connsiteX4" fmla="*/ 0 w 1368152"/>
              <a:gd name="connsiteY4" fmla="*/ 0 h 1368152"/>
              <a:gd name="connsiteX0" fmla="*/ 0 w 1368152"/>
              <a:gd name="connsiteY0" fmla="*/ 1368152 h 1459592"/>
              <a:gd name="connsiteX1" fmla="*/ 0 w 1368152"/>
              <a:gd name="connsiteY1" fmla="*/ 0 h 1459592"/>
              <a:gd name="connsiteX2" fmla="*/ 1368152 w 1368152"/>
              <a:gd name="connsiteY2" fmla="*/ 0 h 1459592"/>
              <a:gd name="connsiteX3" fmla="*/ 1368152 w 1368152"/>
              <a:gd name="connsiteY3" fmla="*/ 1368152 h 1459592"/>
              <a:gd name="connsiteX4" fmla="*/ 91440 w 1368152"/>
              <a:gd name="connsiteY4" fmla="*/ 1459592 h 1459592"/>
              <a:gd name="connsiteX0" fmla="*/ 0 w 1368152"/>
              <a:gd name="connsiteY0" fmla="*/ 1368152 h 1368152"/>
              <a:gd name="connsiteX1" fmla="*/ 0 w 1368152"/>
              <a:gd name="connsiteY1" fmla="*/ 0 h 1368152"/>
              <a:gd name="connsiteX2" fmla="*/ 1368152 w 1368152"/>
              <a:gd name="connsiteY2" fmla="*/ 0 h 1368152"/>
              <a:gd name="connsiteX3" fmla="*/ 1368152 w 1368152"/>
              <a:gd name="connsiteY3" fmla="*/ 1368152 h 1368152"/>
              <a:gd name="connsiteX0" fmla="*/ 0 w 1368152"/>
              <a:gd name="connsiteY0" fmla="*/ 0 h 1368152"/>
              <a:gd name="connsiteX1" fmla="*/ 1368152 w 1368152"/>
              <a:gd name="connsiteY1" fmla="*/ 0 h 1368152"/>
              <a:gd name="connsiteX2" fmla="*/ 1368152 w 1368152"/>
              <a:gd name="connsiteY2" fmla="*/ 1368152 h 1368152"/>
            </a:gdLst>
            <a:ahLst/>
            <a:cxnLst>
              <a:cxn ang="0">
                <a:pos x="connsiteX0" y="connsiteY0"/>
              </a:cxn>
              <a:cxn ang="0">
                <a:pos x="connsiteX1" y="connsiteY1"/>
              </a:cxn>
              <a:cxn ang="0">
                <a:pos x="connsiteX2" y="connsiteY2"/>
              </a:cxn>
            </a:cxnLst>
            <a:rect l="l" t="t" r="r" b="b"/>
            <a:pathLst>
              <a:path w="1368152" h="1368152">
                <a:moveTo>
                  <a:pt x="0" y="0"/>
                </a:moveTo>
                <a:lnTo>
                  <a:pt x="1368152" y="0"/>
                </a:lnTo>
                <a:lnTo>
                  <a:pt x="1368152" y="1368152"/>
                </a:lnTo>
              </a:path>
            </a:pathLst>
          </a:custGeom>
          <a:ln w="19050">
            <a:solidFill>
              <a:srgbClr val="6A6A6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225"/>
          <p:cNvSpPr/>
          <p:nvPr/>
        </p:nvSpPr>
        <p:spPr>
          <a:xfrm flipH="1">
            <a:off x="6353134" y="2875309"/>
            <a:ext cx="400061" cy="2558839"/>
          </a:xfrm>
          <a:custGeom>
            <a:avLst/>
            <a:gdLst>
              <a:gd name="connsiteX0" fmla="*/ 0 w 1368152"/>
              <a:gd name="connsiteY0" fmla="*/ 0 h 1368152"/>
              <a:gd name="connsiteX1" fmla="*/ 1368152 w 1368152"/>
              <a:gd name="connsiteY1" fmla="*/ 0 h 1368152"/>
              <a:gd name="connsiteX2" fmla="*/ 1368152 w 1368152"/>
              <a:gd name="connsiteY2" fmla="*/ 1368152 h 1368152"/>
              <a:gd name="connsiteX3" fmla="*/ 0 w 1368152"/>
              <a:gd name="connsiteY3" fmla="*/ 1368152 h 1368152"/>
              <a:gd name="connsiteX4" fmla="*/ 0 w 1368152"/>
              <a:gd name="connsiteY4" fmla="*/ 0 h 1368152"/>
              <a:gd name="connsiteX0" fmla="*/ 0 w 1368152"/>
              <a:gd name="connsiteY0" fmla="*/ 1368152 h 1459592"/>
              <a:gd name="connsiteX1" fmla="*/ 0 w 1368152"/>
              <a:gd name="connsiteY1" fmla="*/ 0 h 1459592"/>
              <a:gd name="connsiteX2" fmla="*/ 1368152 w 1368152"/>
              <a:gd name="connsiteY2" fmla="*/ 0 h 1459592"/>
              <a:gd name="connsiteX3" fmla="*/ 1368152 w 1368152"/>
              <a:gd name="connsiteY3" fmla="*/ 1368152 h 1459592"/>
              <a:gd name="connsiteX4" fmla="*/ 91440 w 1368152"/>
              <a:gd name="connsiteY4" fmla="*/ 1459592 h 1459592"/>
              <a:gd name="connsiteX0" fmla="*/ 0 w 1368152"/>
              <a:gd name="connsiteY0" fmla="*/ 1368152 h 1368152"/>
              <a:gd name="connsiteX1" fmla="*/ 0 w 1368152"/>
              <a:gd name="connsiteY1" fmla="*/ 0 h 1368152"/>
              <a:gd name="connsiteX2" fmla="*/ 1368152 w 1368152"/>
              <a:gd name="connsiteY2" fmla="*/ 0 h 1368152"/>
              <a:gd name="connsiteX3" fmla="*/ 1368152 w 1368152"/>
              <a:gd name="connsiteY3" fmla="*/ 1368152 h 1368152"/>
              <a:gd name="connsiteX0" fmla="*/ 0 w 1368152"/>
              <a:gd name="connsiteY0" fmla="*/ 0 h 1368152"/>
              <a:gd name="connsiteX1" fmla="*/ 1368152 w 1368152"/>
              <a:gd name="connsiteY1" fmla="*/ 0 h 1368152"/>
              <a:gd name="connsiteX2" fmla="*/ 1368152 w 1368152"/>
              <a:gd name="connsiteY2" fmla="*/ 1368152 h 1368152"/>
            </a:gdLst>
            <a:ahLst/>
            <a:cxnLst>
              <a:cxn ang="0">
                <a:pos x="connsiteX0" y="connsiteY0"/>
              </a:cxn>
              <a:cxn ang="0">
                <a:pos x="connsiteX1" y="connsiteY1"/>
              </a:cxn>
              <a:cxn ang="0">
                <a:pos x="connsiteX2" y="connsiteY2"/>
              </a:cxn>
            </a:cxnLst>
            <a:rect l="l" t="t" r="r" b="b"/>
            <a:pathLst>
              <a:path w="1368152" h="1368152">
                <a:moveTo>
                  <a:pt x="0" y="0"/>
                </a:moveTo>
                <a:lnTo>
                  <a:pt x="1368152" y="0"/>
                </a:lnTo>
                <a:lnTo>
                  <a:pt x="1368152" y="1368152"/>
                </a:lnTo>
              </a:path>
            </a:pathLst>
          </a:custGeom>
          <a:ln w="19050">
            <a:solidFill>
              <a:srgbClr val="6A6A6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225"/>
          <p:cNvSpPr/>
          <p:nvPr/>
        </p:nvSpPr>
        <p:spPr>
          <a:xfrm flipH="1">
            <a:off x="6550818" y="3667398"/>
            <a:ext cx="200230" cy="1514201"/>
          </a:xfrm>
          <a:custGeom>
            <a:avLst/>
            <a:gdLst>
              <a:gd name="connsiteX0" fmla="*/ 0 w 1368152"/>
              <a:gd name="connsiteY0" fmla="*/ 0 h 1368152"/>
              <a:gd name="connsiteX1" fmla="*/ 1368152 w 1368152"/>
              <a:gd name="connsiteY1" fmla="*/ 0 h 1368152"/>
              <a:gd name="connsiteX2" fmla="*/ 1368152 w 1368152"/>
              <a:gd name="connsiteY2" fmla="*/ 1368152 h 1368152"/>
              <a:gd name="connsiteX3" fmla="*/ 0 w 1368152"/>
              <a:gd name="connsiteY3" fmla="*/ 1368152 h 1368152"/>
              <a:gd name="connsiteX4" fmla="*/ 0 w 1368152"/>
              <a:gd name="connsiteY4" fmla="*/ 0 h 1368152"/>
              <a:gd name="connsiteX0" fmla="*/ 0 w 1368152"/>
              <a:gd name="connsiteY0" fmla="*/ 1368152 h 1459592"/>
              <a:gd name="connsiteX1" fmla="*/ 0 w 1368152"/>
              <a:gd name="connsiteY1" fmla="*/ 0 h 1459592"/>
              <a:gd name="connsiteX2" fmla="*/ 1368152 w 1368152"/>
              <a:gd name="connsiteY2" fmla="*/ 0 h 1459592"/>
              <a:gd name="connsiteX3" fmla="*/ 1368152 w 1368152"/>
              <a:gd name="connsiteY3" fmla="*/ 1368152 h 1459592"/>
              <a:gd name="connsiteX4" fmla="*/ 91440 w 1368152"/>
              <a:gd name="connsiteY4" fmla="*/ 1459592 h 1459592"/>
              <a:gd name="connsiteX0" fmla="*/ 0 w 1368152"/>
              <a:gd name="connsiteY0" fmla="*/ 1368152 h 1368152"/>
              <a:gd name="connsiteX1" fmla="*/ 0 w 1368152"/>
              <a:gd name="connsiteY1" fmla="*/ 0 h 1368152"/>
              <a:gd name="connsiteX2" fmla="*/ 1368152 w 1368152"/>
              <a:gd name="connsiteY2" fmla="*/ 0 h 1368152"/>
              <a:gd name="connsiteX3" fmla="*/ 1368152 w 1368152"/>
              <a:gd name="connsiteY3" fmla="*/ 1368152 h 1368152"/>
              <a:gd name="connsiteX0" fmla="*/ 0 w 1368152"/>
              <a:gd name="connsiteY0" fmla="*/ 0 h 1368152"/>
              <a:gd name="connsiteX1" fmla="*/ 1368152 w 1368152"/>
              <a:gd name="connsiteY1" fmla="*/ 0 h 1368152"/>
              <a:gd name="connsiteX2" fmla="*/ 1368152 w 1368152"/>
              <a:gd name="connsiteY2" fmla="*/ 1368152 h 1368152"/>
            </a:gdLst>
            <a:ahLst/>
            <a:cxnLst>
              <a:cxn ang="0">
                <a:pos x="connsiteX0" y="connsiteY0"/>
              </a:cxn>
              <a:cxn ang="0">
                <a:pos x="connsiteX1" y="connsiteY1"/>
              </a:cxn>
              <a:cxn ang="0">
                <a:pos x="connsiteX2" y="connsiteY2"/>
              </a:cxn>
            </a:cxnLst>
            <a:rect l="l" t="t" r="r" b="b"/>
            <a:pathLst>
              <a:path w="1368152" h="1368152">
                <a:moveTo>
                  <a:pt x="0" y="0"/>
                </a:moveTo>
                <a:lnTo>
                  <a:pt x="1368152" y="0"/>
                </a:lnTo>
                <a:lnTo>
                  <a:pt x="1368152" y="1368152"/>
                </a:lnTo>
              </a:path>
            </a:pathLst>
          </a:custGeom>
          <a:ln w="19050">
            <a:solidFill>
              <a:srgbClr val="6A6A6A"/>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円/楕円 72"/>
          <p:cNvSpPr/>
          <p:nvPr/>
        </p:nvSpPr>
        <p:spPr>
          <a:xfrm>
            <a:off x="3066784" y="5194947"/>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円/楕円 76"/>
          <p:cNvSpPr/>
          <p:nvPr/>
        </p:nvSpPr>
        <p:spPr>
          <a:xfrm>
            <a:off x="6480544" y="5194947"/>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円/楕円 69"/>
          <p:cNvSpPr/>
          <p:nvPr/>
        </p:nvSpPr>
        <p:spPr>
          <a:xfrm>
            <a:off x="2861128" y="5194947"/>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円/楕円 74"/>
          <p:cNvSpPr/>
          <p:nvPr/>
        </p:nvSpPr>
        <p:spPr>
          <a:xfrm>
            <a:off x="6278063" y="5194947"/>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868763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片側の 2 つの角を丸めた四角形 62"/>
          <p:cNvSpPr/>
          <p:nvPr/>
        </p:nvSpPr>
        <p:spPr>
          <a:xfrm rot="16200000">
            <a:off x="2762930" y="1020749"/>
            <a:ext cx="3168353" cy="6914922"/>
          </a:xfrm>
          <a:prstGeom prst="round2SameRect">
            <a:avLst>
              <a:gd name="adj1" fmla="val 3405"/>
              <a:gd name="adj2" fmla="val 0"/>
            </a:avLst>
          </a:prstGeom>
          <a:gradFill flip="none" rotWithShape="1">
            <a:gsLst>
              <a:gs pos="15000">
                <a:srgbClr val="A2BBDC"/>
              </a:gs>
              <a:gs pos="0">
                <a:srgbClr val="A2BBDC"/>
              </a:gs>
              <a:gs pos="73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nchorCtr="0"/>
          <a:lstStyle/>
          <a:p>
            <a:pPr marL="216000" indent="-171450" algn="just" fontAlgn="ctr">
              <a:lnSpc>
                <a:spcPct val="113000"/>
              </a:lnSpc>
              <a:spcBef>
                <a:spcPts val="1200"/>
              </a:spcBef>
              <a:spcAft>
                <a:spcPts val="600"/>
              </a:spcAft>
              <a:buClr>
                <a:srgbClr val="5F8AC3"/>
              </a:buClr>
              <a:buSzPct val="80000"/>
              <a:buFont typeface="Wingdings" panose="05000000000000000000" pitchFamily="2" charset="2"/>
              <a:buChar char="l"/>
            </a:pPr>
            <a:endParaRPr lang="ja-JP" altLang="en-US" sz="1400" b="1" dirty="0">
              <a:solidFill>
                <a:schemeClr val="tx1"/>
              </a:solidFill>
            </a:endParaRPr>
          </a:p>
        </p:txBody>
      </p:sp>
      <p:sp>
        <p:nvSpPr>
          <p:cNvPr id="8" name="角丸四角形 7"/>
          <p:cNvSpPr/>
          <p:nvPr/>
        </p:nvSpPr>
        <p:spPr>
          <a:xfrm>
            <a:off x="4305300" y="3141663"/>
            <a:ext cx="4751388" cy="2663825"/>
          </a:xfrm>
          <a:prstGeom prst="roundRect">
            <a:avLst>
              <a:gd name="adj" fmla="val 3452"/>
            </a:avLst>
          </a:prstGeom>
          <a:solidFill>
            <a:srgbClr val="FFFFFF"/>
          </a:solidFill>
          <a:ln w="19050" cap="flat" cmpd="sng" algn="ctr">
            <a:solidFill>
              <a:srgbClr val="3D6AA7"/>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Rectangle 6"/>
          <p:cNvSpPr>
            <a:spLocks noChangeArrowheads="1"/>
          </p:cNvSpPr>
          <p:nvPr/>
        </p:nvSpPr>
        <p:spPr bwMode="auto">
          <a:xfrm>
            <a:off x="651970" y="1943904"/>
            <a:ext cx="806489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医者に対する信頼度</a:t>
            </a:r>
          </a:p>
        </p:txBody>
      </p:sp>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師の社会的地位</a:t>
            </a:r>
          </a:p>
        </p:txBody>
      </p:sp>
      <p:sp>
        <p:nvSpPr>
          <p:cNvPr id="22" name="テキスト ボックス 21"/>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有識者ヒアリング</a:t>
            </a:r>
          </a:p>
        </p:txBody>
      </p:sp>
      <p:cxnSp>
        <p:nvCxnSpPr>
          <p:cNvPr id="28" name="直線コネクタ 27"/>
          <p:cNvCxnSpPr/>
          <p:nvPr/>
        </p:nvCxnSpPr>
        <p:spPr>
          <a:xfrm>
            <a:off x="647492" y="2204864"/>
            <a:ext cx="859556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5" name="テキスト ボックス 74"/>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は社会格差が大きいため、各社会階層によって利用する病院のレベルも異なり、それぞれで医者に対する信頼度も異なると考えられる。</a:t>
            </a:r>
          </a:p>
        </p:txBody>
      </p:sp>
      <p:sp>
        <p:nvSpPr>
          <p:cNvPr id="83" name="角丸四角形 82"/>
          <p:cNvSpPr/>
          <p:nvPr/>
        </p:nvSpPr>
        <p:spPr>
          <a:xfrm>
            <a:off x="4520953" y="3355668"/>
            <a:ext cx="2016372" cy="1225460"/>
          </a:xfrm>
          <a:prstGeom prst="roundRect">
            <a:avLst>
              <a:gd name="adj" fmla="val 6418"/>
            </a:avLst>
          </a:prstGeom>
          <a:solidFill>
            <a:srgbClr val="F1DB9D"/>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144000" tIns="72000" rIns="144000" bIns="144000" rtlCol="0" anchor="b" anchorCtr="0"/>
          <a:lstStyle/>
          <a:p>
            <a:pPr algn="ctr">
              <a:lnSpc>
                <a:spcPct val="113000"/>
              </a:lnSpc>
            </a:pP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世界レベルの技術の医師</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a:t>
            </a: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世界レベルの臨床数</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持つ病院</a:t>
            </a:r>
          </a:p>
        </p:txBody>
      </p:sp>
      <p:sp>
        <p:nvSpPr>
          <p:cNvPr id="173" name="角丸四角形 172"/>
          <p:cNvSpPr/>
          <p:nvPr/>
        </p:nvSpPr>
        <p:spPr>
          <a:xfrm>
            <a:off x="6825432" y="3355668"/>
            <a:ext cx="2016000" cy="1225460"/>
          </a:xfrm>
          <a:prstGeom prst="roundRect">
            <a:avLst>
              <a:gd name="adj" fmla="val 5322"/>
            </a:avLst>
          </a:prstGeom>
          <a:solidFill>
            <a:srgbClr val="DADAD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144000" rtlCol="0" anchor="b" anchorCtr="0"/>
          <a:lstStyle/>
          <a:p>
            <a:pPr algn="ctr">
              <a:lnSpc>
                <a:spcPct val="113000"/>
              </a:lnSpc>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資材も</a:t>
            </a: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十分になく、</a:t>
            </a:r>
            <a:b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診療を受けるまでに</a:t>
            </a:r>
            <a:b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数時間並ぶ</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ような公立病院</a:t>
            </a:r>
          </a:p>
        </p:txBody>
      </p:sp>
      <p:grpSp>
        <p:nvGrpSpPr>
          <p:cNvPr id="54" name="グループ化 53"/>
          <p:cNvGrpSpPr/>
          <p:nvPr/>
        </p:nvGrpSpPr>
        <p:grpSpPr>
          <a:xfrm>
            <a:off x="4978042" y="2852936"/>
            <a:ext cx="1102195" cy="801597"/>
            <a:chOff x="4232920" y="1124744"/>
            <a:chExt cx="1584176" cy="1152128"/>
          </a:xfrm>
        </p:grpSpPr>
        <p:sp>
          <p:nvSpPr>
            <p:cNvPr id="55"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C89E28"/>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56" name="正方形/長方形 55"/>
            <p:cNvSpPr/>
            <p:nvPr/>
          </p:nvSpPr>
          <p:spPr>
            <a:xfrm>
              <a:off x="4304928" y="1529408"/>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4304928" y="1673424"/>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4304928" y="1817440"/>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正方形/長方形 58"/>
            <p:cNvSpPr/>
            <p:nvPr/>
          </p:nvSpPr>
          <p:spPr>
            <a:xfrm>
              <a:off x="4304928" y="1961456"/>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正方形/長方形 59"/>
            <p:cNvSpPr/>
            <p:nvPr/>
          </p:nvSpPr>
          <p:spPr>
            <a:xfrm>
              <a:off x="4304928" y="2105472"/>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正方形/長方形 60"/>
            <p:cNvSpPr/>
            <p:nvPr/>
          </p:nvSpPr>
          <p:spPr>
            <a:xfrm>
              <a:off x="5241032" y="1529408"/>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正方形/長方形 61"/>
            <p:cNvSpPr/>
            <p:nvPr/>
          </p:nvSpPr>
          <p:spPr>
            <a:xfrm>
              <a:off x="5241032" y="1673424"/>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正方形/長方形 63"/>
            <p:cNvSpPr/>
            <p:nvPr/>
          </p:nvSpPr>
          <p:spPr>
            <a:xfrm>
              <a:off x="5241032" y="1817440"/>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5241032" y="1961456"/>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65"/>
            <p:cNvSpPr/>
            <p:nvPr/>
          </p:nvSpPr>
          <p:spPr>
            <a:xfrm>
              <a:off x="5241032" y="2105472"/>
              <a:ext cx="504056" cy="72008"/>
            </a:xfrm>
            <a:prstGeom prst="rect">
              <a:avLst/>
            </a:prstGeom>
            <a:solidFill>
              <a:srgbClr val="AA862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68" name="グループ化 67"/>
          <p:cNvGrpSpPr/>
          <p:nvPr/>
        </p:nvGrpSpPr>
        <p:grpSpPr>
          <a:xfrm>
            <a:off x="7435641" y="3049675"/>
            <a:ext cx="795583" cy="550786"/>
            <a:chOff x="3080792" y="1628800"/>
            <a:chExt cx="936104" cy="648072"/>
          </a:xfrm>
        </p:grpSpPr>
        <p:sp>
          <p:nvSpPr>
            <p:cNvPr id="69" name="正方形/長方形 68"/>
            <p:cNvSpPr/>
            <p:nvPr/>
          </p:nvSpPr>
          <p:spPr>
            <a:xfrm>
              <a:off x="3080792" y="1628800"/>
              <a:ext cx="936104" cy="648072"/>
            </a:xfrm>
            <a:prstGeom prst="rect">
              <a:avLst/>
            </a:prstGeom>
            <a:solidFill>
              <a:srgbClr val="A2A2A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70" name="正方形/長方形 69"/>
            <p:cNvSpPr/>
            <p:nvPr/>
          </p:nvSpPr>
          <p:spPr>
            <a:xfrm>
              <a:off x="3152800" y="1988841"/>
              <a:ext cx="177250" cy="282872"/>
            </a:xfrm>
            <a:prstGeom prst="rect">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正方形/長方形 70"/>
            <p:cNvSpPr/>
            <p:nvPr/>
          </p:nvSpPr>
          <p:spPr>
            <a:xfrm>
              <a:off x="3357746" y="1988841"/>
              <a:ext cx="177250" cy="282872"/>
            </a:xfrm>
            <a:prstGeom prst="rect">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正方形/長方形 71"/>
            <p:cNvSpPr/>
            <p:nvPr/>
          </p:nvSpPr>
          <p:spPr>
            <a:xfrm>
              <a:off x="3562692" y="1988841"/>
              <a:ext cx="177250" cy="282872"/>
            </a:xfrm>
            <a:prstGeom prst="rect">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3767638" y="1988841"/>
              <a:ext cx="177250" cy="282872"/>
            </a:xfrm>
            <a:prstGeom prst="rect">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Freeform 2692"/>
            <p:cNvSpPr>
              <a:spLocks noChangeAspect="1"/>
            </p:cNvSpPr>
            <p:nvPr/>
          </p:nvSpPr>
          <p:spPr bwMode="auto">
            <a:xfrm>
              <a:off x="3440831" y="1681299"/>
              <a:ext cx="219747" cy="21602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42" name="角丸四角形 41"/>
          <p:cNvSpPr/>
          <p:nvPr/>
        </p:nvSpPr>
        <p:spPr>
          <a:xfrm>
            <a:off x="4520953" y="4869160"/>
            <a:ext cx="4323993" cy="720675"/>
          </a:xfrm>
          <a:prstGeom prst="roundRect">
            <a:avLst>
              <a:gd name="adj" fmla="val 6765"/>
            </a:avLst>
          </a:prstGeom>
          <a:solidFill>
            <a:srgbClr val="A2BBDC"/>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3D6AA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72000" rIns="144000" bIns="36000" rtlCol="0" anchor="b" anchorCtr="0"/>
          <a:lstStyle/>
          <a:p>
            <a:pPr marL="112712" algn="r">
              <a:lnSpc>
                <a:spcPct val="115000"/>
              </a:lnSpc>
              <a:spcBef>
                <a:spcPts val="600"/>
              </a:spcBef>
              <a:spcAft>
                <a:spcPts val="200"/>
              </a:spcAft>
              <a:buClr>
                <a:schemeClr val="bg1"/>
              </a:buClr>
              <a:buSzPct val="80000"/>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もそれぞれ異なると考えられる</a:t>
            </a:r>
            <a:endParaRPr lang="en-US" altLang="ja-JP"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8" name="角丸四角形 77"/>
          <p:cNvSpPr/>
          <p:nvPr/>
        </p:nvSpPr>
        <p:spPr>
          <a:xfrm>
            <a:off x="4664968" y="5013176"/>
            <a:ext cx="1320929" cy="301231"/>
          </a:xfrm>
          <a:prstGeom prst="roundRect">
            <a:avLst/>
          </a:prstGeom>
          <a:solidFill>
            <a:srgbClr val="FFFFFF"/>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lnSpc>
                <a:spcPct val="115000"/>
              </a:lnSpc>
              <a:spcBef>
                <a:spcPts val="1200"/>
              </a:spcBef>
              <a:spcAft>
                <a:spcPts val="200"/>
              </a:spcAft>
              <a:buClr>
                <a:schemeClr val="bg1"/>
              </a:buClr>
              <a:buSzPct val="80000"/>
            </a:pP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サービスのレベル</a:t>
            </a:r>
            <a:endParaRPr lang="en-US" altLang="ja-JP"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6" name="左右矢印 5"/>
          <p:cNvSpPr/>
          <p:nvPr/>
        </p:nvSpPr>
        <p:spPr>
          <a:xfrm>
            <a:off x="6412211" y="3851523"/>
            <a:ext cx="540346" cy="238523"/>
          </a:xfrm>
          <a:prstGeom prst="leftRightArrow">
            <a:avLst>
              <a:gd name="adj1" fmla="val 48297"/>
              <a:gd name="adj2" fmla="val 7697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fontAlgn="ctr"/>
            <a:endParaRPr kumimoji="1" lang="ja-JP" altLang="en-US" sz="9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角丸四角形 84"/>
          <p:cNvSpPr/>
          <p:nvPr/>
        </p:nvSpPr>
        <p:spPr>
          <a:xfrm>
            <a:off x="6121003" y="5013176"/>
            <a:ext cx="1432457" cy="301231"/>
          </a:xfrm>
          <a:prstGeom prst="roundRect">
            <a:avLst/>
          </a:prstGeom>
          <a:solidFill>
            <a:srgbClr val="FFFFFF"/>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lnSpc>
                <a:spcPct val="115000"/>
              </a:lnSpc>
              <a:spcBef>
                <a:spcPts val="1200"/>
              </a:spcBef>
              <a:spcAft>
                <a:spcPts val="200"/>
              </a:spcAft>
              <a:buClr>
                <a:schemeClr val="bg1"/>
              </a:buClr>
              <a:buSzPct val="80000"/>
            </a:pP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診者が持つ印象</a:t>
            </a:r>
          </a:p>
        </p:txBody>
      </p:sp>
      <p:sp>
        <p:nvSpPr>
          <p:cNvPr id="86" name="角丸四角形 85"/>
          <p:cNvSpPr/>
          <p:nvPr/>
        </p:nvSpPr>
        <p:spPr>
          <a:xfrm>
            <a:off x="7687110" y="5013176"/>
            <a:ext cx="1010306" cy="301231"/>
          </a:xfrm>
          <a:prstGeom prst="roundRect">
            <a:avLst/>
          </a:prstGeom>
          <a:solidFill>
            <a:srgbClr val="FFFFFF"/>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lnSpc>
                <a:spcPct val="115000"/>
              </a:lnSpc>
              <a:spcBef>
                <a:spcPts val="1200"/>
              </a:spcBef>
              <a:spcAft>
                <a:spcPts val="200"/>
              </a:spcAft>
              <a:buClr>
                <a:schemeClr val="bg1"/>
              </a:buClr>
              <a:buSzPct val="80000"/>
            </a:pP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信 頼 度</a:t>
            </a:r>
          </a:p>
        </p:txBody>
      </p:sp>
      <p:sp>
        <p:nvSpPr>
          <p:cNvPr id="88" name="二等辺三角形 87"/>
          <p:cNvSpPr/>
          <p:nvPr/>
        </p:nvSpPr>
        <p:spPr>
          <a:xfrm rot="10800000">
            <a:off x="5817091" y="4581128"/>
            <a:ext cx="1740061" cy="276939"/>
          </a:xfrm>
          <a:prstGeom prst="triangle">
            <a:avLst/>
          </a:prstGeom>
          <a:gradFill flip="none" rotWithShape="1">
            <a:gsLst>
              <a:gs pos="0">
                <a:srgbClr val="5F8AC3"/>
              </a:gs>
              <a:gs pos="100000">
                <a:srgbClr val="DDE6F3">
                  <a:alpha val="0"/>
                </a:srgbClr>
              </a:gs>
            </a:gsLst>
            <a:lin ang="5400000" scaled="1"/>
            <a:tileRect/>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角丸四角形 48"/>
          <p:cNvSpPr/>
          <p:nvPr/>
        </p:nvSpPr>
        <p:spPr>
          <a:xfrm>
            <a:off x="1136576" y="3134482"/>
            <a:ext cx="2880321" cy="2671006"/>
          </a:xfrm>
          <a:prstGeom prst="roundRect">
            <a:avLst>
              <a:gd name="adj" fmla="val 3492"/>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chorCtr="0"/>
          <a:lstStyle/>
          <a:p>
            <a:pPr marL="216000" indent="-171450" algn="just" fontAlgn="ctr">
              <a:lnSpc>
                <a:spcPct val="113000"/>
              </a:lnSpc>
              <a:spcBef>
                <a:spcPts val="1200"/>
              </a:spcBef>
              <a:spcAft>
                <a:spcPts val="600"/>
              </a:spcAft>
              <a:buClr>
                <a:srgbClr val="5F8AC3"/>
              </a:buClr>
              <a:buSzPct val="80000"/>
              <a:buFont typeface="Wingdings" panose="05000000000000000000" pitchFamily="2" charset="2"/>
              <a:buChar char="l"/>
            </a:pPr>
            <a:r>
              <a:rPr lang="ja-JP" altLang="en-US" sz="1400" b="1" dirty="0">
                <a:solidFill>
                  <a:schemeClr val="tx1"/>
                </a:solidFill>
              </a:rPr>
              <a:t>ブラジルは</a:t>
            </a: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社会格差が大きい</a:t>
            </a:r>
            <a:endParaRPr lang="en-US" altLang="ja-JP" sz="1400" b="1" dirty="0">
              <a:solidFill>
                <a:schemeClr val="tx1"/>
              </a:solidFill>
            </a:endParaRPr>
          </a:p>
          <a:p>
            <a:pPr marL="216000" indent="-171450" algn="just" fontAlgn="ctr">
              <a:lnSpc>
                <a:spcPct val="113000"/>
              </a:lnSpc>
              <a:spcBef>
                <a:spcPts val="1200"/>
              </a:spcBef>
              <a:spcAft>
                <a:spcPts val="600"/>
              </a:spcAft>
              <a:buClr>
                <a:srgbClr val="5F8AC3"/>
              </a:buClr>
              <a:buSzPct val="80000"/>
              <a:buFont typeface="Wingdings" panose="05000000000000000000" pitchFamily="2" charset="2"/>
              <a:buChar char="l"/>
            </a:pPr>
            <a:r>
              <a:rPr lang="ja-JP" altLang="en-US" sz="1400" b="1" dirty="0">
                <a:solidFill>
                  <a:schemeClr val="tx1"/>
                </a:solidFill>
              </a:rPr>
              <a:t>そのため、各社会階層によって利用する</a:t>
            </a: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病院のレベルも異なる</a:t>
            </a:r>
            <a:endParaRPr lang="en-US" altLang="ja-JP"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216000" indent="-171450" algn="just" fontAlgn="ctr">
              <a:lnSpc>
                <a:spcPct val="113000"/>
              </a:lnSpc>
              <a:spcBef>
                <a:spcPts val="1200"/>
              </a:spcBef>
              <a:spcAft>
                <a:spcPts val="600"/>
              </a:spcAft>
              <a:buClr>
                <a:srgbClr val="5F8AC3"/>
              </a:buClr>
              <a:buSzPct val="80000"/>
              <a:buFont typeface="Wingdings" panose="05000000000000000000" pitchFamily="2" charset="2"/>
              <a:buChar char="l"/>
            </a:pPr>
            <a:r>
              <a:rPr lang="ja-JP" altLang="en-US" sz="1400" b="1" dirty="0">
                <a:solidFill>
                  <a:schemeClr val="tx1"/>
                </a:solidFill>
              </a:rPr>
              <a:t>よって、</a:t>
            </a: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者に対する信頼度も異なる</a:t>
            </a:r>
            <a:r>
              <a:rPr lang="ja-JP" altLang="en-US" sz="1400" b="1" dirty="0">
                <a:solidFill>
                  <a:schemeClr val="tx1"/>
                </a:solidFill>
              </a:rPr>
              <a:t>と考えられる</a:t>
            </a:r>
          </a:p>
        </p:txBody>
      </p:sp>
      <p:grpSp>
        <p:nvGrpSpPr>
          <p:cNvPr id="45" name="Group 6"/>
          <p:cNvGrpSpPr>
            <a:grpSpLocks noChangeAspect="1"/>
          </p:cNvGrpSpPr>
          <p:nvPr/>
        </p:nvGrpSpPr>
        <p:grpSpPr bwMode="auto">
          <a:xfrm>
            <a:off x="718750" y="2615452"/>
            <a:ext cx="490108" cy="812224"/>
            <a:chOff x="1261" y="1689"/>
            <a:chExt cx="318" cy="527"/>
          </a:xfrm>
        </p:grpSpPr>
        <p:sp>
          <p:nvSpPr>
            <p:cNvPr id="52" name="Oval 7"/>
            <p:cNvSpPr>
              <a:spLocks noChangeArrowheads="1"/>
            </p:cNvSpPr>
            <p:nvPr/>
          </p:nvSpPr>
          <p:spPr bwMode="auto">
            <a:xfrm>
              <a:off x="1322" y="1689"/>
              <a:ext cx="197" cy="198"/>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46" name="Group 6"/>
          <p:cNvGrpSpPr>
            <a:grpSpLocks noChangeAspect="1"/>
          </p:cNvGrpSpPr>
          <p:nvPr/>
        </p:nvGrpSpPr>
        <p:grpSpPr bwMode="auto">
          <a:xfrm>
            <a:off x="956549" y="2845536"/>
            <a:ext cx="376454" cy="623873"/>
            <a:chOff x="1261" y="1689"/>
            <a:chExt cx="318" cy="527"/>
          </a:xfrm>
        </p:grpSpPr>
        <p:sp>
          <p:nvSpPr>
            <p:cNvPr id="47"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Tree>
    <p:extLst>
      <p:ext uri="{BB962C8B-B14F-4D97-AF65-F5344CB8AC3E}">
        <p14:creationId xmlns:p14="http://schemas.microsoft.com/office/powerpoint/2010/main" val="721065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角丸四角形 3"/>
          <p:cNvSpPr/>
          <p:nvPr/>
        </p:nvSpPr>
        <p:spPr>
          <a:xfrm>
            <a:off x="2651125" y="5734084"/>
            <a:ext cx="4606131" cy="572337"/>
          </a:xfrm>
          <a:prstGeom prst="roundRect">
            <a:avLst>
              <a:gd name="adj" fmla="val 11095"/>
            </a:avLst>
          </a:prstGeom>
          <a:solidFill>
            <a:srgbClr val="FFFFFF"/>
          </a:solidFill>
          <a:ln w="9525" cap="flat" cmpd="sng" algn="ctr">
            <a:solidFill>
              <a:srgbClr val="3D6AA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224000" rtlCol="0" anchor="ctr"/>
          <a:lstStyle/>
          <a:p>
            <a:pPr marL="180975">
              <a:lnSpc>
                <a:spcPct val="114000"/>
              </a:lnSpc>
              <a:spcAft>
                <a:spcPts val="400"/>
              </a:spcAft>
              <a:buClr>
                <a:srgbClr val="868686"/>
              </a:buClr>
              <a:buSzPct val="90000"/>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基礎医学～臨床まで多岐におよぶ</a:t>
            </a:r>
          </a:p>
        </p:txBody>
      </p:sp>
      <p:sp>
        <p:nvSpPr>
          <p:cNvPr id="30" name="二等辺三角形 29"/>
          <p:cNvSpPr/>
          <p:nvPr/>
        </p:nvSpPr>
        <p:spPr>
          <a:xfrm rot="10800000">
            <a:off x="3512838" y="3592662"/>
            <a:ext cx="2880319" cy="576060"/>
          </a:xfrm>
          <a:prstGeom prst="triangle">
            <a:avLst/>
          </a:prstGeom>
          <a:gradFill flip="none" rotWithShape="1">
            <a:gsLst>
              <a:gs pos="0">
                <a:srgbClr val="CCDAEC"/>
              </a:gs>
              <a:gs pos="100000">
                <a:schemeClr val="bg1"/>
              </a:gs>
            </a:gsLst>
            <a:lin ang="5400000" scaled="0"/>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角丸四角形 62"/>
          <p:cNvSpPr/>
          <p:nvPr/>
        </p:nvSpPr>
        <p:spPr>
          <a:xfrm>
            <a:off x="2244857" y="2708920"/>
            <a:ext cx="2193210" cy="825563"/>
          </a:xfrm>
          <a:prstGeom prst="roundRect">
            <a:avLst>
              <a:gd name="adj" fmla="val 8044"/>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68000" rtlCol="0" anchor="ctr" anchorCtr="0"/>
          <a:lstStyle/>
          <a:p>
            <a:pPr algn="ctr">
              <a:lnSpc>
                <a:spcPts val="1600"/>
              </a:lnSpc>
              <a:buClr>
                <a:srgbClr val="5F8AC3"/>
              </a:buClr>
              <a:buSzPct val="100000"/>
            </a:pP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診療行為を行う場合</a:t>
            </a:r>
          </a:p>
        </p:txBody>
      </p:sp>
      <p:sp>
        <p:nvSpPr>
          <p:cNvPr id="64" name="角丸四角形 63"/>
          <p:cNvSpPr/>
          <p:nvPr/>
        </p:nvSpPr>
        <p:spPr>
          <a:xfrm>
            <a:off x="5490217" y="2708920"/>
            <a:ext cx="2703143" cy="825563"/>
          </a:xfrm>
          <a:prstGeom prst="roundRect">
            <a:avLst>
              <a:gd name="adj" fmla="val 8044"/>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nchorCtr="0"/>
          <a:lstStyle/>
          <a:p>
            <a:pPr>
              <a:lnSpc>
                <a:spcPts val="1600"/>
              </a:lnSpc>
              <a:buClr>
                <a:srgbClr val="5F8AC3"/>
              </a:buClr>
              <a:buSzPct val="100000"/>
            </a:pPr>
            <a:r>
              <a:rPr lang="ja-JP" altLang="en-US" sz="1100" b="1" dirty="0">
                <a:solidFill>
                  <a:schemeClr val="tx1"/>
                </a:solidFill>
              </a:rPr>
              <a:t>診療行為は行わずに</a:t>
            </a:r>
            <a:br>
              <a:rPr lang="en-US" altLang="ja-JP" sz="1100" b="1" dirty="0">
                <a:solidFill>
                  <a:schemeClr val="tx1"/>
                </a:solidFill>
              </a:rPr>
            </a:b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現地人医師への技術移転</a:t>
            </a:r>
            <a:br>
              <a:rPr lang="en-US" altLang="ja-JP"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100" b="1" dirty="0">
                <a:solidFill>
                  <a:schemeClr val="tx1"/>
                </a:solidFill>
              </a:rPr>
              <a:t>のみを目的とする場合</a:t>
            </a:r>
          </a:p>
        </p:txBody>
      </p:sp>
      <p:sp>
        <p:nvSpPr>
          <p:cNvPr id="2" name="タイトル 1"/>
          <p:cNvSpPr>
            <a:spLocks noGrp="1"/>
          </p:cNvSpPr>
          <p:nvPr>
            <p:ph type="title"/>
          </p:nvPr>
        </p:nvSpPr>
        <p:spPr/>
        <p:txBody>
          <a:bodyPr/>
          <a:lstStyle/>
          <a:p>
            <a:r>
              <a:rPr lang="ja-JP" altLang="en-US" dirty="0"/>
              <a:t>ブラジル／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22" name="テキスト ボックス 21"/>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ブラジル政府</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HP</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有識者ヒアリング</a:t>
            </a:r>
            <a:endParaRPr kumimoji="0" lang="ja-JP" altLang="en-US" sz="800" dirty="0" bmk=""/>
          </a:p>
        </p:txBody>
      </p:sp>
      <p:grpSp>
        <p:nvGrpSpPr>
          <p:cNvPr id="27" name="グループ化 7"/>
          <p:cNvGrpSpPr/>
          <p:nvPr/>
        </p:nvGrpSpPr>
        <p:grpSpPr>
          <a:xfrm>
            <a:off x="776536" y="2073462"/>
            <a:ext cx="8352928" cy="288032"/>
            <a:chOff x="4803500" y="2113806"/>
            <a:chExt cx="2954133" cy="288032"/>
          </a:xfrm>
        </p:grpSpPr>
        <p:cxnSp>
          <p:nvCxnSpPr>
            <p:cNvPr id="28" name="直線コネクタ 2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認定試験 </a:t>
              </a:r>
              <a:r>
                <a:rPr lang="en-US" altLang="ja-JP" sz="1400" dirty="0">
                  <a:latin typeface="Arial Black" panose="020B0A04020102020204" pitchFamily="34" charset="0"/>
                  <a:ea typeface="HGP創英角ｺﾞｼｯｸUB" pitchFamily="50" charset="-128"/>
                </a:rPr>
                <a:t>“</a:t>
              </a:r>
              <a:r>
                <a:rPr lang="en-US" altLang="ja-JP" sz="1400" dirty="0" err="1">
                  <a:latin typeface="Arial Black" panose="020B0A04020102020204" pitchFamily="34" charset="0"/>
                  <a:ea typeface="HGP創英角ｺﾞｼｯｸUB" pitchFamily="50" charset="-128"/>
                </a:rPr>
                <a:t>Revalida</a:t>
              </a:r>
              <a:r>
                <a:rPr lang="en-US" altLang="ja-JP" sz="1400" dirty="0">
                  <a:latin typeface="Arial Black" panose="020B0A04020102020204" pitchFamily="34" charset="0"/>
                  <a:ea typeface="HGP創英角ｺﾞｼｯｸUB" pitchFamily="50" charset="-128"/>
                </a:rPr>
                <a:t>” </a:t>
              </a:r>
              <a:r>
                <a:rPr lang="ja-JP" altLang="en-US" sz="1400" dirty="0">
                  <a:latin typeface="Arial Black" panose="020B0A04020102020204" pitchFamily="34" charset="0"/>
                  <a:ea typeface="HGP創英角ｺﾞｼｯｸUB" pitchFamily="50" charset="-128"/>
                </a:rPr>
                <a:t>について</a:t>
              </a:r>
            </a:p>
          </p:txBody>
        </p:sp>
      </p:grpSp>
      <p:sp>
        <p:nvSpPr>
          <p:cNvPr id="24" name="正方形/長方形 23"/>
          <p:cNvSpPr/>
          <p:nvPr/>
        </p:nvSpPr>
        <p:spPr>
          <a:xfrm>
            <a:off x="4241921" y="3046472"/>
            <a:ext cx="1431159" cy="191591"/>
          </a:xfrm>
          <a:prstGeom prst="rect">
            <a:avLst/>
          </a:prstGeom>
        </p:spPr>
        <p:txBody>
          <a:bodyPr wrap="square" lIns="0" tIns="0" rIns="0" bIns="0" anchor="t" anchorCtr="0">
            <a:spAutoFit/>
          </a:bodyPr>
          <a:lstStyle/>
          <a:p>
            <a:pPr algn="ctr">
              <a:lnSpc>
                <a:spcPct val="113000"/>
              </a:lnSpc>
            </a:pPr>
            <a:r>
              <a:rPr lang="en-US" altLang="ja-JP" sz="1200" b="1" dirty="0"/>
              <a:t>OR</a:t>
            </a:r>
            <a:endParaRPr lang="ja-JP" altLang="en-US" sz="1200" b="1" dirty="0"/>
          </a:p>
        </p:txBody>
      </p:sp>
      <p:sp>
        <p:nvSpPr>
          <p:cNvPr id="6" name="角丸四角形 5"/>
          <p:cNvSpPr/>
          <p:nvPr/>
        </p:nvSpPr>
        <p:spPr>
          <a:xfrm>
            <a:off x="2648744" y="4530428"/>
            <a:ext cx="4608512" cy="861320"/>
          </a:xfrm>
          <a:prstGeom prst="roundRect">
            <a:avLst>
              <a:gd name="adj" fmla="val 8495"/>
            </a:avLst>
          </a:prstGeom>
          <a:solidFill>
            <a:srgbClr val="A2BBDC"/>
          </a:solidFill>
        </p:spPr>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algn="ctr" fontAlgn="ctr">
              <a:lnSpc>
                <a:spcPct val="113000"/>
              </a:lnSpc>
            </a:pP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認定試験 “</a:t>
            </a:r>
            <a:r>
              <a:rPr lang="en-US" altLang="ja-JP" dirty="0" err="1">
                <a:latin typeface="Arial Black" panose="020B0A04020102020204" pitchFamily="34" charset="0"/>
                <a:ea typeface="HGP創英角ｺﾞｼｯｸUB" panose="020B0900000000000000" pitchFamily="50" charset="-128"/>
                <a:cs typeface="Arial" panose="020B0604020202020204" pitchFamily="34" charset="0"/>
              </a:rPr>
              <a:t>Revalida</a:t>
            </a: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 </a:t>
            </a:r>
            <a:br>
              <a:rPr lang="en-US" altLang="ja-JP" sz="1600" dirty="0">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を受ける必要がある</a:t>
            </a:r>
          </a:p>
        </p:txBody>
      </p:sp>
      <p:sp>
        <p:nvSpPr>
          <p:cNvPr id="31" name="正方形/長方形 30"/>
          <p:cNvSpPr/>
          <p:nvPr/>
        </p:nvSpPr>
        <p:spPr>
          <a:xfrm>
            <a:off x="4241921" y="3743132"/>
            <a:ext cx="1431159" cy="189924"/>
          </a:xfrm>
          <a:prstGeom prst="rect">
            <a:avLst/>
          </a:prstGeom>
        </p:spPr>
        <p:txBody>
          <a:bodyPr wrap="square" lIns="0" tIns="0" rIns="0" bIns="0" anchor="t" anchorCtr="0">
            <a:spAutoFit/>
          </a:bodyPr>
          <a:lstStyle/>
          <a:p>
            <a:pPr algn="ctr">
              <a:lnSpc>
                <a:spcPct val="113000"/>
              </a:lnSpc>
            </a:pPr>
            <a:r>
              <a:rPr lang="ja-JP" altLang="en-US" sz="1200" b="1" dirty="0"/>
              <a:t>いずれにおいても</a:t>
            </a:r>
          </a:p>
        </p:txBody>
      </p:sp>
      <p:sp>
        <p:nvSpPr>
          <p:cNvPr id="32" name="テキスト ボックス 31"/>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医師がブラジルにおいて医療行為に従事する場合、“</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Revalida</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呼ばれる認定試験を受ける必要がある。</a:t>
            </a:r>
          </a:p>
        </p:txBody>
      </p:sp>
      <p:grpSp>
        <p:nvGrpSpPr>
          <p:cNvPr id="33" name="Group 6"/>
          <p:cNvGrpSpPr>
            <a:grpSpLocks noChangeAspect="1"/>
          </p:cNvGrpSpPr>
          <p:nvPr/>
        </p:nvGrpSpPr>
        <p:grpSpPr bwMode="auto">
          <a:xfrm>
            <a:off x="2389141" y="2819062"/>
            <a:ext cx="365233" cy="605277"/>
            <a:chOff x="1261" y="1689"/>
            <a:chExt cx="318" cy="527"/>
          </a:xfrm>
        </p:grpSpPr>
        <p:sp>
          <p:nvSpPr>
            <p:cNvPr id="34"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65" name="Freeform 9"/>
          <p:cNvSpPr>
            <a:spLocks/>
          </p:cNvSpPr>
          <p:nvPr/>
        </p:nvSpPr>
        <p:spPr bwMode="auto">
          <a:xfrm rot="16200000">
            <a:off x="5809474" y="3090608"/>
            <a:ext cx="615386" cy="72294"/>
          </a:xfrm>
          <a:custGeom>
            <a:avLst/>
            <a:gdLst>
              <a:gd name="T0" fmla="*/ 984 w 1001"/>
              <a:gd name="T1" fmla="*/ 0 h 74"/>
              <a:gd name="T2" fmla="*/ 656 w 1001"/>
              <a:gd name="T3" fmla="*/ 0 h 74"/>
              <a:gd name="T4" fmla="*/ 650 w 1001"/>
              <a:gd name="T5" fmla="*/ 7 h 74"/>
              <a:gd name="T6" fmla="*/ 599 w 1001"/>
              <a:gd name="T7" fmla="*/ 7 h 74"/>
              <a:gd name="T8" fmla="*/ 582 w 1001"/>
              <a:gd name="T9" fmla="*/ 0 h 74"/>
              <a:gd name="T10" fmla="*/ 24 w 1001"/>
              <a:gd name="T11" fmla="*/ 0 h 74"/>
              <a:gd name="T12" fmla="*/ 0 w 1001"/>
              <a:gd name="T13" fmla="*/ 24 h 74"/>
              <a:gd name="T14" fmla="*/ 24 w 1001"/>
              <a:gd name="T15" fmla="*/ 48 h 74"/>
              <a:gd name="T16" fmla="*/ 582 w 1001"/>
              <a:gd name="T17" fmla="*/ 48 h 74"/>
              <a:gd name="T18" fmla="*/ 596 w 1001"/>
              <a:gd name="T19" fmla="*/ 43 h 74"/>
              <a:gd name="T20" fmla="*/ 656 w 1001"/>
              <a:gd name="T21" fmla="*/ 43 h 74"/>
              <a:gd name="T22" fmla="*/ 790 w 1001"/>
              <a:gd name="T23" fmla="*/ 74 h 74"/>
              <a:gd name="T24" fmla="*/ 992 w 1001"/>
              <a:gd name="T25" fmla="*/ 18 h 74"/>
              <a:gd name="T26" fmla="*/ 984 w 1001"/>
              <a:gd name="T2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1" h="74">
                <a:moveTo>
                  <a:pt x="984" y="0"/>
                </a:moveTo>
                <a:cubicBezTo>
                  <a:pt x="947" y="0"/>
                  <a:pt x="656" y="0"/>
                  <a:pt x="656" y="0"/>
                </a:cubicBezTo>
                <a:cubicBezTo>
                  <a:pt x="650" y="7"/>
                  <a:pt x="650" y="7"/>
                  <a:pt x="650" y="7"/>
                </a:cubicBezTo>
                <a:cubicBezTo>
                  <a:pt x="599" y="7"/>
                  <a:pt x="599" y="7"/>
                  <a:pt x="599" y="7"/>
                </a:cubicBezTo>
                <a:cubicBezTo>
                  <a:pt x="595" y="2"/>
                  <a:pt x="588" y="0"/>
                  <a:pt x="582" y="0"/>
                </a:cubicBezTo>
                <a:cubicBezTo>
                  <a:pt x="24" y="0"/>
                  <a:pt x="24" y="0"/>
                  <a:pt x="24" y="0"/>
                </a:cubicBezTo>
                <a:cubicBezTo>
                  <a:pt x="11" y="0"/>
                  <a:pt x="0" y="10"/>
                  <a:pt x="0" y="24"/>
                </a:cubicBezTo>
                <a:cubicBezTo>
                  <a:pt x="0" y="37"/>
                  <a:pt x="11" y="48"/>
                  <a:pt x="24" y="48"/>
                </a:cubicBezTo>
                <a:cubicBezTo>
                  <a:pt x="582" y="48"/>
                  <a:pt x="582" y="48"/>
                  <a:pt x="582" y="48"/>
                </a:cubicBezTo>
                <a:cubicBezTo>
                  <a:pt x="587" y="48"/>
                  <a:pt x="592" y="46"/>
                  <a:pt x="596" y="43"/>
                </a:cubicBezTo>
                <a:cubicBezTo>
                  <a:pt x="656" y="43"/>
                  <a:pt x="656" y="43"/>
                  <a:pt x="656" y="43"/>
                </a:cubicBezTo>
                <a:cubicBezTo>
                  <a:pt x="656" y="43"/>
                  <a:pt x="675" y="74"/>
                  <a:pt x="790" y="74"/>
                </a:cubicBezTo>
                <a:cubicBezTo>
                  <a:pt x="874" y="74"/>
                  <a:pt x="974" y="39"/>
                  <a:pt x="992" y="18"/>
                </a:cubicBezTo>
                <a:cubicBezTo>
                  <a:pt x="1001" y="6"/>
                  <a:pt x="996" y="0"/>
                  <a:pt x="984" y="0"/>
                </a:cubicBez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66" name="Group 16"/>
          <p:cNvGrpSpPr>
            <a:grpSpLocks noChangeAspect="1"/>
          </p:cNvGrpSpPr>
          <p:nvPr/>
        </p:nvGrpSpPr>
        <p:grpSpPr bwMode="auto">
          <a:xfrm>
            <a:off x="5632498" y="2819062"/>
            <a:ext cx="368884" cy="617316"/>
            <a:chOff x="3317" y="2341"/>
            <a:chExt cx="588" cy="984"/>
          </a:xfrm>
        </p:grpSpPr>
        <p:sp>
          <p:nvSpPr>
            <p:cNvPr id="67" name="Freeform 17"/>
            <p:cNvSpPr>
              <a:spLocks noEditPoints="1"/>
            </p:cNvSpPr>
            <p:nvPr/>
          </p:nvSpPr>
          <p:spPr bwMode="auto">
            <a:xfrm>
              <a:off x="3317" y="2341"/>
              <a:ext cx="472" cy="984"/>
            </a:xfrm>
            <a:custGeom>
              <a:avLst/>
              <a:gdLst>
                <a:gd name="T0" fmla="*/ 59 w 571"/>
                <a:gd name="T1" fmla="*/ 907 h 1191"/>
                <a:gd name="T2" fmla="*/ 116 w 571"/>
                <a:gd name="T3" fmla="*/ 1171 h 1191"/>
                <a:gd name="T4" fmla="*/ 225 w 571"/>
                <a:gd name="T5" fmla="*/ 1110 h 1191"/>
                <a:gd name="T6" fmla="*/ 364 w 571"/>
                <a:gd name="T7" fmla="*/ 743 h 1191"/>
                <a:gd name="T8" fmla="*/ 569 w 571"/>
                <a:gd name="T9" fmla="*/ 39 h 1191"/>
                <a:gd name="T10" fmla="*/ 567 w 571"/>
                <a:gd name="T11" fmla="*/ 19 h 1191"/>
                <a:gd name="T12" fmla="*/ 547 w 571"/>
                <a:gd name="T13" fmla="*/ 0 h 1191"/>
                <a:gd name="T14" fmla="*/ 275 w 571"/>
                <a:gd name="T15" fmla="*/ 729 h 1191"/>
                <a:gd name="T16" fmla="*/ 59 w 571"/>
                <a:gd name="T17" fmla="*/ 907 h 1191"/>
                <a:gd name="T18" fmla="*/ 84 w 571"/>
                <a:gd name="T19" fmla="*/ 916 h 1191"/>
                <a:gd name="T20" fmla="*/ 284 w 571"/>
                <a:gd name="T21" fmla="*/ 775 h 1191"/>
                <a:gd name="T22" fmla="*/ 305 w 571"/>
                <a:gd name="T23" fmla="*/ 832 h 1191"/>
                <a:gd name="T24" fmla="*/ 210 w 571"/>
                <a:gd name="T25" fmla="*/ 1081 h 1191"/>
                <a:gd name="T26" fmla="*/ 124 w 571"/>
                <a:gd name="T27" fmla="*/ 1134 h 1191"/>
                <a:gd name="T28" fmla="*/ 84 w 571"/>
                <a:gd name="T29" fmla="*/ 916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1" h="1191">
                  <a:moveTo>
                    <a:pt x="59" y="907"/>
                  </a:moveTo>
                  <a:cubicBezTo>
                    <a:pt x="0" y="1061"/>
                    <a:pt x="63" y="1151"/>
                    <a:pt x="116" y="1171"/>
                  </a:cubicBezTo>
                  <a:cubicBezTo>
                    <a:pt x="168" y="1191"/>
                    <a:pt x="205" y="1162"/>
                    <a:pt x="225" y="1110"/>
                  </a:cubicBezTo>
                  <a:cubicBezTo>
                    <a:pt x="245" y="1057"/>
                    <a:pt x="364" y="743"/>
                    <a:pt x="364" y="743"/>
                  </a:cubicBezTo>
                  <a:cubicBezTo>
                    <a:pt x="364" y="743"/>
                    <a:pt x="566" y="48"/>
                    <a:pt x="569" y="39"/>
                  </a:cubicBezTo>
                  <a:cubicBezTo>
                    <a:pt x="571" y="30"/>
                    <a:pt x="571" y="24"/>
                    <a:pt x="567" y="19"/>
                  </a:cubicBezTo>
                  <a:cubicBezTo>
                    <a:pt x="563" y="14"/>
                    <a:pt x="547" y="0"/>
                    <a:pt x="547" y="0"/>
                  </a:cubicBezTo>
                  <a:cubicBezTo>
                    <a:pt x="547" y="0"/>
                    <a:pt x="331" y="582"/>
                    <a:pt x="275" y="729"/>
                  </a:cubicBezTo>
                  <a:cubicBezTo>
                    <a:pt x="275" y="729"/>
                    <a:pt x="118" y="752"/>
                    <a:pt x="59" y="907"/>
                  </a:cubicBezTo>
                  <a:close/>
                  <a:moveTo>
                    <a:pt x="84" y="916"/>
                  </a:moveTo>
                  <a:cubicBezTo>
                    <a:pt x="133" y="789"/>
                    <a:pt x="244" y="762"/>
                    <a:pt x="284" y="775"/>
                  </a:cubicBezTo>
                  <a:cubicBezTo>
                    <a:pt x="297" y="780"/>
                    <a:pt x="317" y="799"/>
                    <a:pt x="305" y="832"/>
                  </a:cubicBezTo>
                  <a:cubicBezTo>
                    <a:pt x="292" y="864"/>
                    <a:pt x="219" y="1059"/>
                    <a:pt x="210" y="1081"/>
                  </a:cubicBezTo>
                  <a:cubicBezTo>
                    <a:pt x="186" y="1138"/>
                    <a:pt x="151" y="1144"/>
                    <a:pt x="124" y="1134"/>
                  </a:cubicBezTo>
                  <a:cubicBezTo>
                    <a:pt x="97" y="1123"/>
                    <a:pt x="36" y="1043"/>
                    <a:pt x="84" y="916"/>
                  </a:cubicBez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 name="Freeform 18"/>
            <p:cNvSpPr>
              <a:spLocks noEditPoints="1"/>
            </p:cNvSpPr>
            <p:nvPr/>
          </p:nvSpPr>
          <p:spPr bwMode="auto">
            <a:xfrm>
              <a:off x="3433" y="2341"/>
              <a:ext cx="472" cy="984"/>
            </a:xfrm>
            <a:custGeom>
              <a:avLst/>
              <a:gdLst>
                <a:gd name="T0" fmla="*/ 296 w 571"/>
                <a:gd name="T1" fmla="*/ 729 h 1191"/>
                <a:gd name="T2" fmla="*/ 24 w 571"/>
                <a:gd name="T3" fmla="*/ 0 h 1191"/>
                <a:gd name="T4" fmla="*/ 5 w 571"/>
                <a:gd name="T5" fmla="*/ 19 h 1191"/>
                <a:gd name="T6" fmla="*/ 3 w 571"/>
                <a:gd name="T7" fmla="*/ 39 h 1191"/>
                <a:gd name="T8" fmla="*/ 207 w 571"/>
                <a:gd name="T9" fmla="*/ 743 h 1191"/>
                <a:gd name="T10" fmla="*/ 347 w 571"/>
                <a:gd name="T11" fmla="*/ 1110 h 1191"/>
                <a:gd name="T12" fmla="*/ 456 w 571"/>
                <a:gd name="T13" fmla="*/ 1171 h 1191"/>
                <a:gd name="T14" fmla="*/ 512 w 571"/>
                <a:gd name="T15" fmla="*/ 907 h 1191"/>
                <a:gd name="T16" fmla="*/ 296 w 571"/>
                <a:gd name="T17" fmla="*/ 729 h 1191"/>
                <a:gd name="T18" fmla="*/ 447 w 571"/>
                <a:gd name="T19" fmla="*/ 1134 h 1191"/>
                <a:gd name="T20" fmla="*/ 362 w 571"/>
                <a:gd name="T21" fmla="*/ 1081 h 1191"/>
                <a:gd name="T22" fmla="*/ 267 w 571"/>
                <a:gd name="T23" fmla="*/ 832 h 1191"/>
                <a:gd name="T24" fmla="*/ 288 w 571"/>
                <a:gd name="T25" fmla="*/ 775 h 1191"/>
                <a:gd name="T26" fmla="*/ 487 w 571"/>
                <a:gd name="T27" fmla="*/ 916 h 1191"/>
                <a:gd name="T28" fmla="*/ 447 w 571"/>
                <a:gd name="T29" fmla="*/ 1134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1" h="1191">
                  <a:moveTo>
                    <a:pt x="296" y="729"/>
                  </a:moveTo>
                  <a:cubicBezTo>
                    <a:pt x="240" y="582"/>
                    <a:pt x="24" y="0"/>
                    <a:pt x="24" y="0"/>
                  </a:cubicBezTo>
                  <a:cubicBezTo>
                    <a:pt x="24" y="0"/>
                    <a:pt x="8" y="14"/>
                    <a:pt x="5" y="19"/>
                  </a:cubicBezTo>
                  <a:cubicBezTo>
                    <a:pt x="1" y="24"/>
                    <a:pt x="0" y="30"/>
                    <a:pt x="3" y="39"/>
                  </a:cubicBezTo>
                  <a:cubicBezTo>
                    <a:pt x="5" y="48"/>
                    <a:pt x="207" y="743"/>
                    <a:pt x="207" y="743"/>
                  </a:cubicBezTo>
                  <a:cubicBezTo>
                    <a:pt x="207" y="743"/>
                    <a:pt x="327" y="1057"/>
                    <a:pt x="347" y="1110"/>
                  </a:cubicBezTo>
                  <a:cubicBezTo>
                    <a:pt x="367" y="1162"/>
                    <a:pt x="403" y="1191"/>
                    <a:pt x="456" y="1171"/>
                  </a:cubicBezTo>
                  <a:cubicBezTo>
                    <a:pt x="508" y="1151"/>
                    <a:pt x="571" y="1061"/>
                    <a:pt x="512" y="907"/>
                  </a:cubicBezTo>
                  <a:cubicBezTo>
                    <a:pt x="453" y="752"/>
                    <a:pt x="296" y="729"/>
                    <a:pt x="296" y="729"/>
                  </a:cubicBezTo>
                  <a:close/>
                  <a:moveTo>
                    <a:pt x="447" y="1134"/>
                  </a:moveTo>
                  <a:cubicBezTo>
                    <a:pt x="420" y="1144"/>
                    <a:pt x="385" y="1138"/>
                    <a:pt x="362" y="1081"/>
                  </a:cubicBezTo>
                  <a:cubicBezTo>
                    <a:pt x="352" y="1059"/>
                    <a:pt x="279" y="864"/>
                    <a:pt x="267" y="832"/>
                  </a:cubicBezTo>
                  <a:cubicBezTo>
                    <a:pt x="254" y="799"/>
                    <a:pt x="275" y="780"/>
                    <a:pt x="288" y="775"/>
                  </a:cubicBezTo>
                  <a:cubicBezTo>
                    <a:pt x="328" y="762"/>
                    <a:pt x="439" y="789"/>
                    <a:pt x="487" y="916"/>
                  </a:cubicBezTo>
                  <a:cubicBezTo>
                    <a:pt x="536" y="1043"/>
                    <a:pt x="475" y="1123"/>
                    <a:pt x="447" y="1134"/>
                  </a:cubicBez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74" name="グループ化 73"/>
          <p:cNvGrpSpPr/>
          <p:nvPr/>
        </p:nvGrpSpPr>
        <p:grpSpPr>
          <a:xfrm>
            <a:off x="2958052" y="5643157"/>
            <a:ext cx="842820" cy="726546"/>
            <a:chOff x="4376936" y="2348880"/>
            <a:chExt cx="991479" cy="854695"/>
          </a:xfrm>
        </p:grpSpPr>
        <p:sp>
          <p:nvSpPr>
            <p:cNvPr id="75"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6"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7"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78" name="グループ化 77"/>
            <p:cNvGrpSpPr/>
            <p:nvPr/>
          </p:nvGrpSpPr>
          <p:grpSpPr>
            <a:xfrm>
              <a:off x="4517548" y="2455845"/>
              <a:ext cx="693478" cy="571401"/>
              <a:chOff x="4508023" y="2462195"/>
              <a:chExt cx="693478" cy="571401"/>
            </a:xfrm>
          </p:grpSpPr>
          <p:grpSp>
            <p:nvGrpSpPr>
              <p:cNvPr id="79" name="グループ化 78"/>
              <p:cNvGrpSpPr/>
              <p:nvPr/>
            </p:nvGrpSpPr>
            <p:grpSpPr>
              <a:xfrm>
                <a:off x="4520723" y="2462195"/>
                <a:ext cx="680778" cy="555526"/>
                <a:chOff x="4586456" y="2455845"/>
                <a:chExt cx="680778" cy="555526"/>
              </a:xfrm>
            </p:grpSpPr>
            <p:sp>
              <p:nvSpPr>
                <p:cNvPr id="91" name="フリーフォーム 90"/>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2" name="フリーフォーム 91"/>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3" name="フリーフォーム 92"/>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4" name="フリーフォーム 93"/>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5" name="フリーフォーム 94"/>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6" name="フリーフォーム 95"/>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7" name="フリーフォーム 96"/>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8" name="フリーフォーム 97"/>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9" name="フリーフォーム 98"/>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0" name="フリーフォーム 99"/>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80" name="グループ化 79"/>
              <p:cNvGrpSpPr/>
              <p:nvPr/>
            </p:nvGrpSpPr>
            <p:grpSpPr>
              <a:xfrm>
                <a:off x="4508023" y="2478070"/>
                <a:ext cx="680778" cy="555526"/>
                <a:chOff x="4586456" y="2455845"/>
                <a:chExt cx="680778" cy="555526"/>
              </a:xfrm>
            </p:grpSpPr>
            <p:sp>
              <p:nvSpPr>
                <p:cNvPr id="81" name="フリーフォーム 80"/>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7" name="フリーフォーム 86"/>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8" name="フリーフォーム 87"/>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9" name="フリーフォーム 88"/>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0" name="フリーフォーム 89"/>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129" name="角丸四角形 128"/>
          <p:cNvSpPr/>
          <p:nvPr/>
        </p:nvSpPr>
        <p:spPr>
          <a:xfrm>
            <a:off x="3086534" y="5880912"/>
            <a:ext cx="541735" cy="216024"/>
          </a:xfrm>
          <a:prstGeom prst="roundRect">
            <a:avLst>
              <a:gd name="adj" fmla="val 50000"/>
            </a:avLst>
          </a:prstGeom>
          <a:solidFill>
            <a:srgbClr val="FFFFFF"/>
          </a:solidFill>
          <a:ln w="9525" cap="flat" cmpd="sng" algn="ctr">
            <a:noFill/>
            <a:prstDash val="solid"/>
          </a:ln>
          <a:effectLst>
            <a:glow rad="190500">
              <a:schemeClr val="bg1">
                <a:alpha val="60000"/>
              </a:schemeClr>
            </a:glo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72000" rIns="72000" rtlCol="0" anchor="ctr"/>
          <a:lstStyle/>
          <a:p>
            <a:pPr 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試験の内容</a:t>
            </a:r>
          </a:p>
        </p:txBody>
      </p:sp>
      <p:sp>
        <p:nvSpPr>
          <p:cNvPr id="5" name="片側の 2 つの角を丸めた四角形 4"/>
          <p:cNvSpPr/>
          <p:nvPr/>
        </p:nvSpPr>
        <p:spPr>
          <a:xfrm>
            <a:off x="2648744" y="4261462"/>
            <a:ext cx="4608512" cy="394077"/>
          </a:xfrm>
          <a:prstGeom prst="round2SameRect">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r>
              <a:rPr lang="ja-JP" altLang="en-US" sz="1300" b="1" dirty="0"/>
              <a:t>外国人医師がブラジルにおいて医療行為に従事する場合</a:t>
            </a:r>
          </a:p>
        </p:txBody>
      </p:sp>
    </p:spTree>
    <p:extLst>
      <p:ext uri="{BB962C8B-B14F-4D97-AF65-F5344CB8AC3E}">
        <p14:creationId xmlns:p14="http://schemas.microsoft.com/office/powerpoint/2010/main" val="34336261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2"/>
            </p:custDataLst>
            <p:extLst>
              <p:ext uri="{D42A27DB-BD31-4B8C-83A1-F6EECF244321}">
                <p14:modId xmlns:p14="http://schemas.microsoft.com/office/powerpoint/2010/main" val="4003197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ブラジル／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p:spPr>
        <p:txBody>
          <a:bodyPr>
            <a:spAutoFit/>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284302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8</a:t>
            </a:r>
            <a:r>
              <a:rPr lang="ja-JP" altLang="en-US" sz="1400" dirty="0"/>
              <a:t>年に個人情報保護法（</a:t>
            </a:r>
            <a:r>
              <a:rPr lang="en-US" altLang="ja-JP" sz="1400" dirty="0"/>
              <a:t>Lei </a:t>
            </a:r>
            <a:r>
              <a:rPr lang="en-US" altLang="ja-JP" sz="1400" dirty="0" err="1"/>
              <a:t>Geral</a:t>
            </a:r>
            <a:r>
              <a:rPr lang="en-US" altLang="ja-JP" sz="1400" dirty="0"/>
              <a:t> de </a:t>
            </a:r>
            <a:r>
              <a:rPr lang="en-US" altLang="ja-JP" sz="1400" dirty="0" err="1"/>
              <a:t>Proteção</a:t>
            </a:r>
            <a:r>
              <a:rPr lang="en-US" altLang="ja-JP" sz="1400" dirty="0"/>
              <a:t> de Dados </a:t>
            </a:r>
            <a:r>
              <a:rPr lang="en-US" altLang="ja-JP" sz="1400" dirty="0" err="1"/>
              <a:t>Pessoais</a:t>
            </a:r>
            <a:r>
              <a:rPr lang="ja-JP" altLang="en-US" sz="1400" dirty="0"/>
              <a:t>、</a:t>
            </a:r>
            <a:r>
              <a:rPr lang="en-US" altLang="ja-JP" sz="1400" dirty="0"/>
              <a:t>2018</a:t>
            </a:r>
            <a:r>
              <a:rPr lang="ja-JP" altLang="en-US" sz="1400" dirty="0"/>
              <a:t>年法</a:t>
            </a:r>
            <a:r>
              <a:rPr lang="en-US" altLang="ja-JP" sz="1400" dirty="0"/>
              <a:t>13709</a:t>
            </a:r>
            <a:r>
              <a:rPr lang="ja-JP" altLang="en-US" sz="1400" dirty="0"/>
              <a:t>号。以下「</a:t>
            </a:r>
            <a:r>
              <a:rPr lang="en-US" altLang="ja-JP" sz="1400" dirty="0"/>
              <a:t>LGPD</a:t>
            </a:r>
            <a:r>
              <a:rPr lang="ja-JP" altLang="en-US" sz="1400" dirty="0"/>
              <a:t>」）が成立。</a:t>
            </a: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1</a:t>
            </a:r>
            <a:r>
              <a:rPr lang="ja-JP" altLang="en-US" sz="1400" dirty="0"/>
              <a:t>年</a:t>
            </a:r>
            <a:r>
              <a:rPr lang="en-US" altLang="ja-JP" sz="1400" dirty="0"/>
              <a:t>12</a:t>
            </a:r>
            <a:r>
              <a:rPr lang="ja-JP" altLang="en-US" sz="1400" dirty="0"/>
              <a:t>月時点ではデータサーバーの置き場に関して規制している法律やガイドラインを確認できなかった。</a:t>
            </a: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ブラジル議会が個人情報保護法案を可決</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総合法律事務所「個人情報保護法の施行（ブラジル特報</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号掲載）」</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1">
            <a:extLst>
              <a:ext uri="{FF2B5EF4-FFF2-40B4-BE49-F238E27FC236}">
                <a16:creationId xmlns:a16="http://schemas.microsoft.com/office/drawing/2014/main" id="{D9C88CDB-49F3-415F-BD95-D890028134C8}"/>
              </a:ext>
            </a:extLst>
          </p:cNvPr>
          <p:cNvGraphicFramePr>
            <a:graphicFrameLocks noGrp="1"/>
          </p:cNvGraphicFramePr>
          <p:nvPr>
            <p:extLst>
              <p:ext uri="{D42A27DB-BD31-4B8C-83A1-F6EECF244321}">
                <p14:modId xmlns:p14="http://schemas.microsoft.com/office/powerpoint/2010/main" val="4113531500"/>
              </p:ext>
            </p:extLst>
          </p:nvPr>
        </p:nvGraphicFramePr>
        <p:xfrm>
          <a:off x="199577" y="1695184"/>
          <a:ext cx="9505055" cy="1498042"/>
        </p:xfrm>
        <a:graphic>
          <a:graphicData uri="http://schemas.openxmlformats.org/drawingml/2006/table">
            <a:tbl>
              <a:tblPr firstRow="1" bandRow="1">
                <a:tableStyleId>{5C22544A-7EE6-4342-B048-85BDC9FD1C3A}</a:tableStyleId>
              </a:tblPr>
              <a:tblGrid>
                <a:gridCol w="2305151">
                  <a:extLst>
                    <a:ext uri="{9D8B030D-6E8A-4147-A177-3AD203B41FA5}">
                      <a16:colId xmlns:a16="http://schemas.microsoft.com/office/drawing/2014/main" val="939025904"/>
                    </a:ext>
                  </a:extLst>
                </a:gridCol>
                <a:gridCol w="1799976">
                  <a:extLst>
                    <a:ext uri="{9D8B030D-6E8A-4147-A177-3AD203B41FA5}">
                      <a16:colId xmlns:a16="http://schemas.microsoft.com/office/drawing/2014/main" val="20003"/>
                    </a:ext>
                  </a:extLst>
                </a:gridCol>
                <a:gridCol w="1799976">
                  <a:extLst>
                    <a:ext uri="{9D8B030D-6E8A-4147-A177-3AD203B41FA5}">
                      <a16:colId xmlns:a16="http://schemas.microsoft.com/office/drawing/2014/main" val="2983194019"/>
                    </a:ext>
                  </a:extLst>
                </a:gridCol>
                <a:gridCol w="1799976">
                  <a:extLst>
                    <a:ext uri="{9D8B030D-6E8A-4147-A177-3AD203B41FA5}">
                      <a16:colId xmlns:a16="http://schemas.microsoft.com/office/drawing/2014/main" val="961265890"/>
                    </a:ext>
                  </a:extLst>
                </a:gridCol>
                <a:gridCol w="1799976">
                  <a:extLst>
                    <a:ext uri="{9D8B030D-6E8A-4147-A177-3AD203B41FA5}">
                      <a16:colId xmlns:a16="http://schemas.microsoft.com/office/drawing/2014/main" val="3607179843"/>
                    </a:ext>
                  </a:extLst>
                </a:gridCol>
              </a:tblGrid>
              <a:tr h="296158">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罰則対象</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罰則対象の例外</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hangingPunct="0"/>
                      <a:endPar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違反時の</a:t>
                      </a:r>
                      <a:br>
                        <a:rPr kumimoji="1" lang="en-US" altLang="ja-JP"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ペナルティ</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6370">
                <a:tc>
                  <a:txBody>
                    <a:bodyPr/>
                    <a:lstStyle/>
                    <a:p>
                      <a:pPr marL="171450" indent="-171450" algn="l" defTabSz="914400" rtl="0" eaLnBrk="1" fontAlgn="ctr" latinLnBrk="0" hangingPunct="1">
                        <a:buFont typeface="Arial" panose="020B0604020202020204" pitchFamily="34" charset="0"/>
                        <a:buChar char="•"/>
                        <a:tabLst>
                          <a:tab pos="1195388" algn="r"/>
                        </a:tabLst>
                      </a:pPr>
                      <a:r>
                        <a:rPr lang="ja-JP" altLang="en-US" sz="1000" dirty="0"/>
                        <a:t>企業や公的機関がブラジル人の個人情報を収集するに当たり、明示的に本人の同意を得ることや、収集した個人情報に関して当人がアクセスする権利、修正や削除を要請する権利を規定。</a:t>
                      </a:r>
                      <a:endParaRPr lang="en-US" altLang="ja-JP" sz="1000" dirty="0"/>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t>個人情報保護の状況を監督するための新たな行政組織を設置。</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tabLst>
                          <a:tab pos="1195388" algn="r"/>
                        </a:tabLst>
                      </a:pPr>
                      <a:r>
                        <a:rPr kumimoji="1" lang="en-US" altLang="ja-JP" sz="1000" kern="1200" dirty="0">
                          <a:solidFill>
                            <a:schemeClr val="dk1"/>
                          </a:solidFill>
                          <a:latin typeface="+mn-lt"/>
                          <a:ea typeface="+mn-ea"/>
                          <a:cs typeface="+mn-cs"/>
                        </a:rPr>
                        <a:t>	</a:t>
                      </a:r>
                      <a:r>
                        <a:rPr lang="ja-JP" altLang="en-US" sz="1000" dirty="0"/>
                        <a:t>より高い保護水準を定めた「機微データ」というカテゴリーを設け、人種、民族、思想信条、宗教観、健康状態などに関する情報について、本人の明示的な同意がない上で、商用に用いること。</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1">
                        <a:buFont typeface="Arial" panose="020B0604020202020204" pitchFamily="34" charset="0"/>
                        <a:buNone/>
                        <a:tabLst>
                          <a:tab pos="1195388" algn="r"/>
                        </a:tabLst>
                      </a:pPr>
                      <a:r>
                        <a:rPr lang="en-US" altLang="ja-JP" sz="1000" dirty="0"/>
                        <a:t>SNS</a:t>
                      </a:r>
                      <a:r>
                        <a:rPr lang="ja-JP" altLang="en-US" sz="1000" dirty="0"/>
                        <a:t>などの事業者がブラジル人の個人情報を国外に転送する場合には、転送先の国が同等レベルの個人情報保護法制を有しているか、事業者が同等レベルの保護を保障</a:t>
                      </a:r>
                      <a:r>
                        <a:rPr lang="ja-JP" altLang="en-US" sz="1000"/>
                        <a:t>する場合。</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r>
                        <a:rPr lang="ja-JP" altLang="en-US" sz="1000" dirty="0"/>
                        <a:t>ブラジル人の生命・健康の保護上で必要な場合、その他法令上の要請がある場合など正当な目的がある場合に限り、個人データの転用が認められる、等。</a:t>
                      </a:r>
                      <a:endParaRPr lang="en-US" dirty="0"/>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tabLst>
                          <a:tab pos="1195388" algn="r"/>
                        </a:tabLst>
                      </a:pPr>
                      <a:r>
                        <a:rPr lang="ja-JP" altLang="en-US" sz="1000" dirty="0"/>
                        <a:t>企業の年間売上高の</a:t>
                      </a:r>
                      <a:r>
                        <a:rPr lang="en-US" altLang="ja-JP" sz="1000" dirty="0"/>
                        <a:t>2</a:t>
                      </a:r>
                      <a:r>
                        <a:rPr lang="ja-JP" altLang="en-US" sz="1000" dirty="0"/>
                        <a:t>％、または</a:t>
                      </a:r>
                      <a:r>
                        <a:rPr lang="en-US" altLang="ja-JP" sz="1000" dirty="0"/>
                        <a:t>5,000</a:t>
                      </a:r>
                      <a:r>
                        <a:rPr lang="ja-JP" altLang="en-US" sz="1000" dirty="0"/>
                        <a:t>万レアル（約</a:t>
                      </a:r>
                      <a:r>
                        <a:rPr lang="en-US" altLang="ja-JP" sz="1000" dirty="0"/>
                        <a:t>14</a:t>
                      </a:r>
                      <a:r>
                        <a:rPr lang="ja-JP" altLang="en-US" sz="1000" dirty="0"/>
                        <a:t>億</a:t>
                      </a:r>
                      <a:r>
                        <a:rPr lang="en-US" altLang="ja-JP" sz="1000" dirty="0"/>
                        <a:t>5,000</a:t>
                      </a:r>
                      <a:r>
                        <a:rPr lang="ja-JP" altLang="en-US" sz="1000" dirty="0"/>
                        <a:t>万円、</a:t>
                      </a:r>
                      <a:r>
                        <a:rPr lang="en-US" altLang="ja-JP" sz="1000" dirty="0"/>
                        <a:t>1</a:t>
                      </a:r>
                      <a:r>
                        <a:rPr lang="ja-JP" altLang="en-US" sz="1000" dirty="0"/>
                        <a:t>レアル＝約</a:t>
                      </a:r>
                      <a:r>
                        <a:rPr lang="en-US" altLang="ja-JP" sz="1000" dirty="0"/>
                        <a:t>29</a:t>
                      </a:r>
                      <a:r>
                        <a:rPr lang="ja-JP" altLang="en-US" sz="1000" dirty="0"/>
                        <a:t>円）のいずれか低い方の課徴金や、関連するデータベースの破棄、等。</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572234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extLst>
              <p:ext uri="{D42A27DB-BD31-4B8C-83A1-F6EECF244321}">
                <p14:modId xmlns:p14="http://schemas.microsoft.com/office/powerpoint/2010/main" val="3736830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ブラジ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ポルトガル語、一部医師は英語を使用</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外務省「世界の医療事情」</a:t>
            </a:r>
          </a:p>
        </p:txBody>
      </p:sp>
    </p:spTree>
    <p:extLst>
      <p:ext uri="{BB962C8B-B14F-4D97-AF65-F5344CB8AC3E}">
        <p14:creationId xmlns:p14="http://schemas.microsoft.com/office/powerpoint/2010/main" val="16442202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2446489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52" imgW="360" imgH="360" progId="TCLayout.ActiveDocument.1">
                  <p:embed/>
                </p:oleObj>
              </mc:Choice>
              <mc:Fallback>
                <p:oleObj name="think-cell Slide" r:id="rId52" imgW="360" imgH="360" progId="TCLayout.ActiveDocument.1">
                  <p:embed/>
                  <p:pic>
                    <p:nvPicPr>
                      <p:cNvPr id="11" name="Object 10" hidden="1"/>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ブラジル／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テキスト ボックス 14"/>
          <p:cNvSpPr txBox="1"/>
          <p:nvPr/>
        </p:nvSpPr>
        <p:spPr>
          <a:xfrm>
            <a:off x="220515" y="6358473"/>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graphicFrame>
        <p:nvGraphicFramePr>
          <p:cNvPr id="80" name="Chart 79">
            <a:extLst>
              <a:ext uri="{FF2B5EF4-FFF2-40B4-BE49-F238E27FC236}">
                <a16:creationId xmlns:a16="http://schemas.microsoft.com/office/drawing/2014/main" id="{D7462E0A-EB66-4277-A977-5F4BC3A2BB26}"/>
              </a:ext>
            </a:extLst>
          </p:cNvPr>
          <p:cNvGraphicFramePr/>
          <p:nvPr>
            <p:custDataLst>
              <p:tags r:id="rId4"/>
            </p:custDataLst>
            <p:extLst>
              <p:ext uri="{D42A27DB-BD31-4B8C-83A1-F6EECF244321}">
                <p14:modId xmlns:p14="http://schemas.microsoft.com/office/powerpoint/2010/main" val="1547974774"/>
              </p:ext>
            </p:extLst>
          </p:nvPr>
        </p:nvGraphicFramePr>
        <p:xfrm>
          <a:off x="1071563" y="2457450"/>
          <a:ext cx="8285162" cy="3378200"/>
        </p:xfrm>
        <a:graphic>
          <a:graphicData uri="http://schemas.openxmlformats.org/drawingml/2006/chart">
            <c:chart xmlns:c="http://schemas.openxmlformats.org/drawingml/2006/chart" xmlns:r="http://schemas.openxmlformats.org/officeDocument/2006/relationships" r:id="rId54"/>
          </a:graphicData>
        </a:graphic>
      </p:graphicFrame>
      <p:sp>
        <p:nvSpPr>
          <p:cNvPr id="78" name="テキスト プレースホルダ 9">
            <a:extLst>
              <a:ext uri="{FF2B5EF4-FFF2-40B4-BE49-F238E27FC236}">
                <a16:creationId xmlns:a16="http://schemas.microsoft.com/office/drawing/2014/main" id="{E0034147-5357-4AB5-9EF9-ABCD3B82D225}"/>
              </a:ext>
            </a:extLst>
          </p:cNvPr>
          <p:cNvSpPr>
            <a:spLocks noGrp="1"/>
          </p:cNvSpPr>
          <p:nvPr>
            <p:custDataLst>
              <p:tags r:id="rId5"/>
            </p:custDataLst>
          </p:nvPr>
        </p:nvSpPr>
        <p:spPr bwMode="gray">
          <a:xfrm>
            <a:off x="711200" y="24638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E62958E-962C-499C-96F1-734CB410602C}" type="datetime'''''''''''''''''''''''''''''''''''2'''''''''',0''''''00'''">
              <a:rPr lang="ja-JP" altLang="en-US" sz="1000" smtClean="0">
                <a:effectLst/>
                <a:sym typeface="+mn-lt"/>
              </a:rPr>
              <a:pPr marL="0" indent="0" algn="r">
                <a:spcBef>
                  <a:spcPct val="0"/>
                </a:spcBef>
                <a:buNone/>
              </a:pPr>
              <a:t>2,000</a:t>
            </a:fld>
            <a:endParaRPr lang="ja-JP" altLang="en-US" sz="1000" dirty="0">
              <a:sym typeface="+mn-lt"/>
            </a:endParaRPr>
          </a:p>
        </p:txBody>
      </p:sp>
      <p:sp>
        <p:nvSpPr>
          <p:cNvPr id="75" name="テキスト プレースホルダ 9">
            <a:extLst>
              <a:ext uri="{FF2B5EF4-FFF2-40B4-BE49-F238E27FC236}">
                <a16:creationId xmlns:a16="http://schemas.microsoft.com/office/drawing/2014/main" id="{EF700839-3356-4730-AC15-539665DB7C37}"/>
              </a:ext>
            </a:extLst>
          </p:cNvPr>
          <p:cNvSpPr>
            <a:spLocks noGrp="1"/>
          </p:cNvSpPr>
          <p:nvPr>
            <p:custDataLst>
              <p:tags r:id="rId6"/>
            </p:custDataLst>
          </p:nvPr>
        </p:nvSpPr>
        <p:spPr bwMode="gray">
          <a:xfrm>
            <a:off x="815975" y="48736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25B154B-6E43-49D5-A11E-E54E556DA386}" type="datetime'''''''''5''''''''''''''''''''''''''''''''''''0''''''''0'''''">
              <a:rPr lang="ja-JP" altLang="en-US" sz="1000" smtClean="0">
                <a:effectLst/>
                <a:sym typeface="+mn-lt"/>
              </a:rPr>
              <a:pPr marL="0" indent="0" algn="r">
                <a:spcBef>
                  <a:spcPct val="0"/>
                </a:spcBef>
                <a:buNone/>
              </a:pPr>
              <a:t>500</a:t>
            </a:fld>
            <a:endParaRPr lang="ja-JP" altLang="en-US" sz="1000" dirty="0">
              <a:sym typeface="+mn-lt"/>
            </a:endParaRPr>
          </a:p>
        </p:txBody>
      </p:sp>
      <p:sp>
        <p:nvSpPr>
          <p:cNvPr id="77" name="テキスト プレースホルダ 9">
            <a:extLst>
              <a:ext uri="{FF2B5EF4-FFF2-40B4-BE49-F238E27FC236}">
                <a16:creationId xmlns:a16="http://schemas.microsoft.com/office/drawing/2014/main" id="{8C54544D-BEBE-40A6-9C0A-B0101CB08566}"/>
              </a:ext>
            </a:extLst>
          </p:cNvPr>
          <p:cNvSpPr>
            <a:spLocks noGrp="1"/>
          </p:cNvSpPr>
          <p:nvPr>
            <p:custDataLst>
              <p:tags r:id="rId7"/>
            </p:custDataLst>
          </p:nvPr>
        </p:nvSpPr>
        <p:spPr bwMode="gray">
          <a:xfrm>
            <a:off x="711200" y="32670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E13FDDA-4692-4A0D-AC6C-625330BD408B}" type="datetime'''''''''''''''''1'''''''''''''',''''''''''5''0''''0'''">
              <a:rPr lang="ja-JP" altLang="en-US" sz="1000" smtClean="0">
                <a:effectLst/>
                <a:sym typeface="+mn-lt"/>
              </a:rPr>
              <a:pPr marL="0" indent="0" algn="r">
                <a:spcBef>
                  <a:spcPct val="0"/>
                </a:spcBef>
                <a:buNone/>
              </a:pPr>
              <a:t>1,500</a:t>
            </a:fld>
            <a:endParaRPr lang="ja-JP" altLang="en-US" sz="1000" dirty="0">
              <a:sym typeface="+mn-lt"/>
            </a:endParaRPr>
          </a:p>
        </p:txBody>
      </p:sp>
      <p:sp>
        <p:nvSpPr>
          <p:cNvPr id="76" name="テキスト プレースホルダ 9">
            <a:extLst>
              <a:ext uri="{FF2B5EF4-FFF2-40B4-BE49-F238E27FC236}">
                <a16:creationId xmlns:a16="http://schemas.microsoft.com/office/drawing/2014/main" id="{B5B249EC-72BD-47E5-9B9E-FC87C47A28BE}"/>
              </a:ext>
            </a:extLst>
          </p:cNvPr>
          <p:cNvSpPr>
            <a:spLocks noGrp="1"/>
          </p:cNvSpPr>
          <p:nvPr>
            <p:custDataLst>
              <p:tags r:id="rId8"/>
            </p:custDataLst>
          </p:nvPr>
        </p:nvSpPr>
        <p:spPr bwMode="gray">
          <a:xfrm>
            <a:off x="711200" y="40703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D12F271-C8C3-4560-897B-FA844CDAE4C8}" type="datetime'1'''''''''''''''',''''''''''''0''''''0''''''''0'''''''">
              <a:rPr lang="ja-JP" altLang="en-US" sz="1000" smtClean="0">
                <a:effectLst/>
                <a:sym typeface="+mn-lt"/>
              </a:rPr>
              <a:pPr marL="0" indent="0" algn="r">
                <a:spcBef>
                  <a:spcPct val="0"/>
                </a:spcBef>
                <a:buNone/>
              </a:pPr>
              <a:t>1,000</a:t>
            </a:fld>
            <a:endParaRPr lang="ja-JP" altLang="en-US" sz="1000" dirty="0">
              <a:sym typeface="+mn-lt"/>
            </a:endParaRPr>
          </a:p>
        </p:txBody>
      </p:sp>
      <p:sp>
        <p:nvSpPr>
          <p:cNvPr id="74" name="テキスト プレースホルダ 9">
            <a:extLst>
              <a:ext uri="{FF2B5EF4-FFF2-40B4-BE49-F238E27FC236}">
                <a16:creationId xmlns:a16="http://schemas.microsoft.com/office/drawing/2014/main" id="{42EFE71A-5094-4814-B0A3-CDBE40E35AC5}"/>
              </a:ext>
            </a:extLst>
          </p:cNvPr>
          <p:cNvSpPr>
            <a:spLocks noGrp="1"/>
          </p:cNvSpPr>
          <p:nvPr>
            <p:custDataLst>
              <p:tags r:id="rId9"/>
            </p:custDataLst>
          </p:nvPr>
        </p:nvSpPr>
        <p:spPr bwMode="gray">
          <a:xfrm>
            <a:off x="955675"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1929EDE-422C-4B76-9B89-A0B87EBACC8D}"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42" name="テキスト プレースホルダ 9"/>
          <p:cNvSpPr>
            <a:spLocks noGrp="1"/>
          </p:cNvSpPr>
          <p:nvPr>
            <p:custDataLst>
              <p:tags r:id="rId10"/>
            </p:custDataLst>
          </p:nvPr>
        </p:nvSpPr>
        <p:spPr bwMode="auto">
          <a:xfrm>
            <a:off x="37163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1000" dirty="0">
              <a:sym typeface="+mn-lt"/>
            </a:endParaRPr>
          </a:p>
        </p:txBody>
      </p:sp>
      <p:sp>
        <p:nvSpPr>
          <p:cNvPr id="54" name="テキスト プレースホルダ 9">
            <a:extLst>
              <a:ext uri="{FF2B5EF4-FFF2-40B4-BE49-F238E27FC236}">
                <a16:creationId xmlns:a16="http://schemas.microsoft.com/office/drawing/2014/main" id="{6C8D1D00-1574-4C7F-B0D8-1F96015CA3EE}"/>
              </a:ext>
            </a:extLst>
          </p:cNvPr>
          <p:cNvSpPr>
            <a:spLocks noGrp="1"/>
          </p:cNvSpPr>
          <p:nvPr>
            <p:custDataLst>
              <p:tags r:id="rId11"/>
            </p:custDataLst>
          </p:nvPr>
        </p:nvSpPr>
        <p:spPr bwMode="gray">
          <a:xfrm>
            <a:off x="1589088" y="38735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441D0C-5881-4660-9975-39DF8A4FA688}" type="datetime'''''''''''''''1'''''',''''''''''0''''''''5''''''''9'''">
              <a:rPr lang="ja-JP" altLang="en-US" sz="1000" smtClean="0">
                <a:effectLst/>
                <a:sym typeface="+mn-lt"/>
              </a:rPr>
              <a:pPr marL="0" indent="0" algn="ctr">
                <a:spcBef>
                  <a:spcPct val="0"/>
                </a:spcBef>
                <a:buNone/>
              </a:pPr>
              <a:t>1,059</a:t>
            </a:fld>
            <a:endParaRPr lang="ja-JP" altLang="en-US" sz="1000" dirty="0">
              <a:sym typeface="+mn-lt"/>
            </a:endParaRPr>
          </a:p>
        </p:txBody>
      </p:sp>
      <p:sp>
        <p:nvSpPr>
          <p:cNvPr id="58" name="テキスト プレースホルダ 9">
            <a:extLst>
              <a:ext uri="{FF2B5EF4-FFF2-40B4-BE49-F238E27FC236}">
                <a16:creationId xmlns:a16="http://schemas.microsoft.com/office/drawing/2014/main" id="{6CDEF322-4ADE-4CFC-9D6D-917C7DE80A9F}"/>
              </a:ext>
            </a:extLst>
          </p:cNvPr>
          <p:cNvSpPr>
            <a:spLocks noGrp="1"/>
          </p:cNvSpPr>
          <p:nvPr>
            <p:custDataLst>
              <p:tags r:id="rId12"/>
            </p:custDataLst>
          </p:nvPr>
        </p:nvSpPr>
        <p:spPr bwMode="gray">
          <a:xfrm>
            <a:off x="2806700" y="37925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35E44E-F83A-4CD2-9670-74130741F14F}" type="datetime'''''''''''''''1'''',''1''''''''''''''''''''''''''''10'''''''''">
              <a:rPr lang="ja-JP" altLang="en-US" sz="1000" smtClean="0">
                <a:effectLst/>
                <a:sym typeface="+mn-lt"/>
              </a:rPr>
              <a:pPr marL="0" indent="0" algn="ctr">
                <a:spcBef>
                  <a:spcPct val="0"/>
                </a:spcBef>
                <a:buNone/>
              </a:pPr>
              <a:t>1,110</a:t>
            </a:fld>
            <a:endParaRPr lang="ja-JP" altLang="en-US" sz="1000" dirty="0">
              <a:sym typeface="+mn-lt"/>
            </a:endParaRPr>
          </a:p>
        </p:txBody>
      </p:sp>
      <p:sp>
        <p:nvSpPr>
          <p:cNvPr id="50" name="テキスト プレースホルダ 9"/>
          <p:cNvSpPr>
            <a:spLocks noGrp="1"/>
          </p:cNvSpPr>
          <p:nvPr>
            <p:custDataLst>
              <p:tags r:id="rId13"/>
            </p:custDataLst>
          </p:nvPr>
        </p:nvSpPr>
        <p:spPr bwMode="auto">
          <a:xfrm>
            <a:off x="20923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1000" dirty="0">
              <a:sym typeface="+mn-lt"/>
            </a:endParaRPr>
          </a:p>
        </p:txBody>
      </p:sp>
      <p:sp>
        <p:nvSpPr>
          <p:cNvPr id="46" name="テキスト プレースホルダ 9"/>
          <p:cNvSpPr>
            <a:spLocks noGrp="1"/>
          </p:cNvSpPr>
          <p:nvPr>
            <p:custDataLst>
              <p:tags r:id="rId14"/>
            </p:custDataLst>
          </p:nvPr>
        </p:nvSpPr>
        <p:spPr bwMode="auto">
          <a:xfrm>
            <a:off x="29051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1000" dirty="0">
              <a:sym typeface="+mn-lt"/>
            </a:endParaRPr>
          </a:p>
        </p:txBody>
      </p:sp>
      <p:sp>
        <p:nvSpPr>
          <p:cNvPr id="59" name="テキスト プレースホルダ 9">
            <a:extLst>
              <a:ext uri="{FF2B5EF4-FFF2-40B4-BE49-F238E27FC236}">
                <a16:creationId xmlns:a16="http://schemas.microsoft.com/office/drawing/2014/main" id="{49F14AAE-89AE-4D7D-B31D-6C81DAE85E21}"/>
              </a:ext>
            </a:extLst>
          </p:cNvPr>
          <p:cNvSpPr>
            <a:spLocks noGrp="1"/>
          </p:cNvSpPr>
          <p:nvPr>
            <p:custDataLst>
              <p:tags r:id="rId15"/>
            </p:custDataLst>
          </p:nvPr>
        </p:nvSpPr>
        <p:spPr bwMode="gray">
          <a:xfrm>
            <a:off x="3213100" y="37560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067B8C-4A04-44FA-84C0-000B1ECDBD01}" type="datetime'1'''''''',''''''''''''''''''1''''''''''''''''''''33'''''''''''">
              <a:rPr lang="ja-JP" altLang="en-US" sz="1000" smtClean="0">
                <a:effectLst/>
                <a:sym typeface="+mn-lt"/>
              </a:rPr>
              <a:pPr marL="0" indent="0" algn="ctr">
                <a:spcBef>
                  <a:spcPct val="0"/>
                </a:spcBef>
                <a:buNone/>
              </a:pPr>
              <a:t>1,133</a:t>
            </a:fld>
            <a:endParaRPr lang="ja-JP" altLang="en-US" sz="1000" dirty="0">
              <a:sym typeface="+mn-lt"/>
            </a:endParaRPr>
          </a:p>
        </p:txBody>
      </p:sp>
      <p:sp>
        <p:nvSpPr>
          <p:cNvPr id="48" name="テキスト プレースホルダ 9"/>
          <p:cNvSpPr>
            <a:spLocks noGrp="1"/>
          </p:cNvSpPr>
          <p:nvPr>
            <p:custDataLst>
              <p:tags r:id="rId16"/>
            </p:custDataLst>
          </p:nvPr>
        </p:nvSpPr>
        <p:spPr bwMode="auto">
          <a:xfrm>
            <a:off x="24987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1000" dirty="0">
              <a:sym typeface="+mn-lt"/>
            </a:endParaRPr>
          </a:p>
        </p:txBody>
      </p:sp>
      <p:sp>
        <p:nvSpPr>
          <p:cNvPr id="44" name="テキスト プレースホルダ 9"/>
          <p:cNvSpPr>
            <a:spLocks noGrp="1"/>
          </p:cNvSpPr>
          <p:nvPr>
            <p:custDataLst>
              <p:tags r:id="rId17"/>
            </p:custDataLst>
          </p:nvPr>
        </p:nvSpPr>
        <p:spPr bwMode="auto">
          <a:xfrm>
            <a:off x="33115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1000" dirty="0">
              <a:sym typeface="+mn-lt"/>
            </a:endParaRPr>
          </a:p>
        </p:txBody>
      </p:sp>
      <p:sp>
        <p:nvSpPr>
          <p:cNvPr id="40" name="テキスト プレースホルダ 9"/>
          <p:cNvSpPr>
            <a:spLocks noGrp="1"/>
          </p:cNvSpPr>
          <p:nvPr>
            <p:custDataLst>
              <p:tags r:id="rId18"/>
            </p:custDataLst>
          </p:nvPr>
        </p:nvSpPr>
        <p:spPr bwMode="auto">
          <a:xfrm>
            <a:off x="41227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1000" dirty="0">
              <a:sym typeface="+mn-lt"/>
            </a:endParaRPr>
          </a:p>
        </p:txBody>
      </p:sp>
      <p:sp>
        <p:nvSpPr>
          <p:cNvPr id="38" name="テキスト プレースホルダ 9"/>
          <p:cNvSpPr>
            <a:spLocks noGrp="1"/>
          </p:cNvSpPr>
          <p:nvPr>
            <p:custDataLst>
              <p:tags r:id="rId19"/>
            </p:custDataLst>
          </p:nvPr>
        </p:nvSpPr>
        <p:spPr bwMode="auto">
          <a:xfrm>
            <a:off x="45291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1000" dirty="0">
              <a:sym typeface="+mn-lt"/>
            </a:endParaRPr>
          </a:p>
        </p:txBody>
      </p:sp>
      <p:sp>
        <p:nvSpPr>
          <p:cNvPr id="36" name="テキスト プレースホルダ 9"/>
          <p:cNvSpPr>
            <a:spLocks noGrp="1"/>
          </p:cNvSpPr>
          <p:nvPr>
            <p:custDataLst>
              <p:tags r:id="rId20"/>
            </p:custDataLst>
          </p:nvPr>
        </p:nvSpPr>
        <p:spPr bwMode="auto">
          <a:xfrm>
            <a:off x="49355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1000" dirty="0">
              <a:sym typeface="+mn-lt"/>
            </a:endParaRPr>
          </a:p>
        </p:txBody>
      </p:sp>
      <p:sp>
        <p:nvSpPr>
          <p:cNvPr id="34" name="テキスト プレースホルダ 9"/>
          <p:cNvSpPr>
            <a:spLocks noGrp="1"/>
          </p:cNvSpPr>
          <p:nvPr>
            <p:custDataLst>
              <p:tags r:id="rId21"/>
            </p:custDataLst>
          </p:nvPr>
        </p:nvSpPr>
        <p:spPr bwMode="auto">
          <a:xfrm>
            <a:off x="53403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1000" dirty="0">
              <a:sym typeface="+mn-lt"/>
            </a:endParaRPr>
          </a:p>
        </p:txBody>
      </p:sp>
      <p:sp>
        <p:nvSpPr>
          <p:cNvPr id="32" name="テキスト プレースホルダ 9"/>
          <p:cNvSpPr>
            <a:spLocks noGrp="1"/>
          </p:cNvSpPr>
          <p:nvPr>
            <p:custDataLst>
              <p:tags r:id="rId22"/>
            </p:custDataLst>
          </p:nvPr>
        </p:nvSpPr>
        <p:spPr bwMode="auto">
          <a:xfrm>
            <a:off x="57467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1000" dirty="0">
              <a:sym typeface="+mn-lt"/>
            </a:endParaRPr>
          </a:p>
        </p:txBody>
      </p:sp>
      <p:sp>
        <p:nvSpPr>
          <p:cNvPr id="30" name="テキスト プレースホルダ 9"/>
          <p:cNvSpPr>
            <a:spLocks noGrp="1"/>
          </p:cNvSpPr>
          <p:nvPr>
            <p:custDataLst>
              <p:tags r:id="rId23"/>
            </p:custDataLst>
          </p:nvPr>
        </p:nvSpPr>
        <p:spPr bwMode="auto">
          <a:xfrm>
            <a:off x="61531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1000" dirty="0">
              <a:sym typeface="+mn-lt"/>
            </a:endParaRPr>
          </a:p>
        </p:txBody>
      </p:sp>
      <p:sp>
        <p:nvSpPr>
          <p:cNvPr id="70" name="テキスト プレースホルダ 9">
            <a:extLst>
              <a:ext uri="{FF2B5EF4-FFF2-40B4-BE49-F238E27FC236}">
                <a16:creationId xmlns:a16="http://schemas.microsoft.com/office/drawing/2014/main" id="{C804D2B9-21F8-4547-85CC-F6A162E3C016}"/>
              </a:ext>
            </a:extLst>
          </p:cNvPr>
          <p:cNvSpPr>
            <a:spLocks noGrp="1"/>
          </p:cNvSpPr>
          <p:nvPr>
            <p:custDataLst>
              <p:tags r:id="rId24"/>
            </p:custDataLst>
          </p:nvPr>
        </p:nvSpPr>
        <p:spPr bwMode="gray">
          <a:xfrm>
            <a:off x="7678738" y="29305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0811FD9-A273-4055-AB79-070AD7D4C2A7}" type="datetime'1'''''''''''''''',''''''''''''''''6''''''''4''''''''''''''6'">
              <a:rPr lang="ja-JP" altLang="en-US" sz="1000" smtClean="0">
                <a:effectLst/>
                <a:sym typeface="+mn-lt"/>
              </a:rPr>
              <a:pPr marL="0" indent="0" algn="ctr">
                <a:spcBef>
                  <a:spcPct val="0"/>
                </a:spcBef>
                <a:buNone/>
              </a:pPr>
              <a:t>1,646</a:t>
            </a:fld>
            <a:endParaRPr lang="ja-JP" altLang="en-US" sz="1000" dirty="0">
              <a:sym typeface="+mn-lt"/>
            </a:endParaRPr>
          </a:p>
        </p:txBody>
      </p:sp>
      <p:sp>
        <p:nvSpPr>
          <p:cNvPr id="60" name="テキスト プレースホルダ 9">
            <a:extLst>
              <a:ext uri="{FF2B5EF4-FFF2-40B4-BE49-F238E27FC236}">
                <a16:creationId xmlns:a16="http://schemas.microsoft.com/office/drawing/2014/main" id="{6FB81DFE-686D-4914-AD5F-4B60736B5A7B}"/>
              </a:ext>
            </a:extLst>
          </p:cNvPr>
          <p:cNvSpPr>
            <a:spLocks noGrp="1"/>
          </p:cNvSpPr>
          <p:nvPr>
            <p:custDataLst>
              <p:tags r:id="rId25"/>
            </p:custDataLst>
          </p:nvPr>
        </p:nvSpPr>
        <p:spPr bwMode="gray">
          <a:xfrm>
            <a:off x="3617913" y="36337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C11DB9-714B-4F8F-A211-265EF45F02DA}" type="datetime'''''''''''''''''''''''''''''''1'''''''''''',''2''09'''''">
              <a:rPr lang="ja-JP" altLang="en-US" sz="1000" smtClean="0">
                <a:effectLst/>
                <a:sym typeface="+mn-lt"/>
              </a:rPr>
              <a:pPr marL="0" indent="0" algn="ctr">
                <a:spcBef>
                  <a:spcPct val="0"/>
                </a:spcBef>
                <a:buNone/>
              </a:pPr>
              <a:t>1,209</a:t>
            </a:fld>
            <a:endParaRPr lang="ja-JP" altLang="en-US" sz="1000" dirty="0">
              <a:sym typeface="+mn-lt"/>
            </a:endParaRPr>
          </a:p>
        </p:txBody>
      </p:sp>
      <p:sp>
        <p:nvSpPr>
          <p:cNvPr id="26" name="テキスト プレースホルダ 9"/>
          <p:cNvSpPr>
            <a:spLocks noGrp="1"/>
          </p:cNvSpPr>
          <p:nvPr>
            <p:custDataLst>
              <p:tags r:id="rId26"/>
            </p:custDataLst>
          </p:nvPr>
        </p:nvSpPr>
        <p:spPr bwMode="auto">
          <a:xfrm>
            <a:off x="69643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1000" dirty="0">
              <a:sym typeface="+mn-lt"/>
            </a:endParaRPr>
          </a:p>
        </p:txBody>
      </p:sp>
      <p:sp>
        <p:nvSpPr>
          <p:cNvPr id="24" name="テキスト プレースホルダ 9"/>
          <p:cNvSpPr>
            <a:spLocks noGrp="1"/>
          </p:cNvSpPr>
          <p:nvPr>
            <p:custDataLst>
              <p:tags r:id="rId27"/>
            </p:custDataLst>
          </p:nvPr>
        </p:nvSpPr>
        <p:spPr bwMode="auto">
          <a:xfrm>
            <a:off x="73707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1000" dirty="0">
              <a:sym typeface="+mn-lt"/>
            </a:endParaRPr>
          </a:p>
        </p:txBody>
      </p:sp>
      <p:sp>
        <p:nvSpPr>
          <p:cNvPr id="31" name="テキスト プレースホルダ 9">
            <a:extLst>
              <a:ext uri="{FF2B5EF4-FFF2-40B4-BE49-F238E27FC236}">
                <a16:creationId xmlns:a16="http://schemas.microsoft.com/office/drawing/2014/main" id="{F49047CE-920D-4605-B228-D872B5C2DD49}"/>
              </a:ext>
            </a:extLst>
          </p:cNvPr>
          <p:cNvSpPr>
            <a:spLocks noGrp="1"/>
          </p:cNvSpPr>
          <p:nvPr>
            <p:custDataLst>
              <p:tags r:id="rId28"/>
            </p:custDataLst>
          </p:nvPr>
        </p:nvSpPr>
        <p:spPr bwMode="auto">
          <a:xfrm>
            <a:off x="77771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D1ED6B-EA69-49E4-8385-C5DD3EC52C98}" type="datetime'''''''1''''6'''''''''''">
              <a:rPr kumimoji="0" lang="ja-JP" altLang="en-US" sz="1000" smtClean="0"/>
              <a:pPr/>
              <a:t>16</a:t>
            </a:fld>
            <a:endParaRPr kumimoji="0" lang="ja-JP" altLang="en-US" sz="1000" dirty="0">
              <a:sym typeface="+mn-lt"/>
            </a:endParaRPr>
          </a:p>
        </p:txBody>
      </p:sp>
      <p:sp>
        <p:nvSpPr>
          <p:cNvPr id="35" name="テキスト プレースホルダ 9">
            <a:extLst>
              <a:ext uri="{FF2B5EF4-FFF2-40B4-BE49-F238E27FC236}">
                <a16:creationId xmlns:a16="http://schemas.microsoft.com/office/drawing/2014/main" id="{4838F6A8-72B9-462F-BD5A-D0F85121FDD6}"/>
              </a:ext>
            </a:extLst>
          </p:cNvPr>
          <p:cNvSpPr>
            <a:spLocks noGrp="1"/>
          </p:cNvSpPr>
          <p:nvPr>
            <p:custDataLst>
              <p:tags r:id="rId29"/>
            </p:custDataLst>
          </p:nvPr>
        </p:nvSpPr>
        <p:spPr bwMode="auto">
          <a:xfrm>
            <a:off x="81835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44ACAF-969C-4D11-A7F5-055C46885E01}" type="datetime'''1''''''''''7'''''''''''''">
              <a:rPr kumimoji="0" lang="ja-JP" altLang="en-US" sz="1000" smtClean="0"/>
              <a:pPr/>
              <a:t>17</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87395052-F57B-4A18-A0E7-E98246CF06CC}"/>
              </a:ext>
            </a:extLst>
          </p:cNvPr>
          <p:cNvSpPr>
            <a:spLocks noGrp="1"/>
          </p:cNvSpPr>
          <p:nvPr>
            <p:custDataLst>
              <p:tags r:id="rId30"/>
            </p:custDataLst>
          </p:nvPr>
        </p:nvSpPr>
        <p:spPr bwMode="auto">
          <a:xfrm>
            <a:off x="85883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8ED6C9-B947-46FF-BA4F-FEB7D7349FB5}" type="datetime'''''''''''''''''''''''''''1''8'''''''''''''''''''''''''">
              <a:rPr kumimoji="0" lang="ja-JP" altLang="en-US" sz="1000" smtClean="0"/>
              <a:pPr/>
              <a:t>18</a:t>
            </a:fld>
            <a:endParaRPr kumimoji="0" lang="ja-JP" altLang="en-US" sz="1000" dirty="0">
              <a:sym typeface="+mn-lt"/>
            </a:endParaRPr>
          </a:p>
        </p:txBody>
      </p:sp>
      <p:sp>
        <p:nvSpPr>
          <p:cNvPr id="41" name="テキスト プレースホルダ 9">
            <a:extLst>
              <a:ext uri="{FF2B5EF4-FFF2-40B4-BE49-F238E27FC236}">
                <a16:creationId xmlns:a16="http://schemas.microsoft.com/office/drawing/2014/main" id="{1EFD486B-CE20-4FAC-A2BA-51EB7E7D7777}"/>
              </a:ext>
            </a:extLst>
          </p:cNvPr>
          <p:cNvSpPr>
            <a:spLocks noGrp="1"/>
          </p:cNvSpPr>
          <p:nvPr>
            <p:custDataLst>
              <p:tags r:id="rId31"/>
            </p:custDataLst>
          </p:nvPr>
        </p:nvSpPr>
        <p:spPr bwMode="auto">
          <a:xfrm>
            <a:off x="8890000" y="5838825"/>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4CA7F6-1281-463D-9CC7-A598C1985CB9}" type="datetime'''''''''''''''''''''''ラ''''''''''''''''''''''ベル'''''''''''''">
              <a:rPr kumimoji="0" lang="ja-JP" altLang="en-US" sz="1000" smtClean="0"/>
              <a:pPr/>
              <a:t>ラベル</a:t>
            </a:fld>
            <a:endParaRPr kumimoji="0" lang="ja-JP" altLang="en-US" sz="1000" dirty="0">
              <a:sym typeface="+mn-lt"/>
            </a:endParaRPr>
          </a:p>
        </p:txBody>
      </p:sp>
      <p:sp>
        <p:nvSpPr>
          <p:cNvPr id="52" name="テキスト プレースホルダ 9">
            <a:extLst>
              <a:ext uri="{FF2B5EF4-FFF2-40B4-BE49-F238E27FC236}">
                <a16:creationId xmlns:a16="http://schemas.microsoft.com/office/drawing/2014/main" id="{18B0FAC6-D4CF-4717-8F41-96AD323EF67C}"/>
              </a:ext>
            </a:extLst>
          </p:cNvPr>
          <p:cNvSpPr>
            <a:spLocks noGrp="1"/>
          </p:cNvSpPr>
          <p:nvPr>
            <p:custDataLst>
              <p:tags r:id="rId32"/>
            </p:custDataLst>
          </p:nvPr>
        </p:nvSpPr>
        <p:spPr bwMode="gray">
          <a:xfrm>
            <a:off x="1182688" y="39385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19FF96-D0A4-4AC0-AE49-1A411A501C09}" type="datetime'''''''''''1'''',''''0''''''''''''''''''''''''1''''''9'''''">
              <a:rPr lang="ja-JP" altLang="en-US" sz="1000" smtClean="0">
                <a:effectLst/>
                <a:sym typeface="+mn-lt"/>
              </a:rPr>
              <a:pPr marL="0" indent="0" algn="ctr">
                <a:spcBef>
                  <a:spcPct val="0"/>
                </a:spcBef>
                <a:buNone/>
              </a:pPr>
              <a:t>1,019</a:t>
            </a:fld>
            <a:endParaRPr lang="ja-JP" altLang="en-US" sz="1000" dirty="0">
              <a:sym typeface="+mn-lt"/>
            </a:endParaRPr>
          </a:p>
        </p:txBody>
      </p:sp>
      <p:sp>
        <p:nvSpPr>
          <p:cNvPr id="65" name="テキスト プレースホルダ 9">
            <a:extLst>
              <a:ext uri="{FF2B5EF4-FFF2-40B4-BE49-F238E27FC236}">
                <a16:creationId xmlns:a16="http://schemas.microsoft.com/office/drawing/2014/main" id="{3595BC33-221F-44D6-BCB9-8521E69C8B52}"/>
              </a:ext>
            </a:extLst>
          </p:cNvPr>
          <p:cNvSpPr>
            <a:spLocks noGrp="1"/>
          </p:cNvSpPr>
          <p:nvPr>
            <p:custDataLst>
              <p:tags r:id="rId33"/>
            </p:custDataLst>
          </p:nvPr>
        </p:nvSpPr>
        <p:spPr bwMode="gray">
          <a:xfrm>
            <a:off x="5648325" y="32924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C02B2D-F8D5-4210-9C34-265C3AB99091}" type="datetime'1'''''''''''''''''''''',''4''''''''''''''''''2''''''''1'''''">
              <a:rPr lang="ja-JP" altLang="en-US" sz="1000" smtClean="0">
                <a:effectLst/>
                <a:sym typeface="+mn-lt"/>
              </a:rPr>
              <a:pPr marL="0" indent="0" algn="ctr">
                <a:spcBef>
                  <a:spcPct val="0"/>
                </a:spcBef>
                <a:buNone/>
              </a:pPr>
              <a:t>1,421</a:t>
            </a:fld>
            <a:endParaRPr lang="ja-JP" altLang="en-US" sz="1000" dirty="0">
              <a:sym typeface="+mn-lt"/>
            </a:endParaRPr>
          </a:p>
        </p:txBody>
      </p:sp>
      <p:sp>
        <p:nvSpPr>
          <p:cNvPr id="56" name="テキスト プレースホルダ 9">
            <a:extLst>
              <a:ext uri="{FF2B5EF4-FFF2-40B4-BE49-F238E27FC236}">
                <a16:creationId xmlns:a16="http://schemas.microsoft.com/office/drawing/2014/main" id="{35CA5034-604D-4DB6-B4FD-0E668D3F2E57}"/>
              </a:ext>
            </a:extLst>
          </p:cNvPr>
          <p:cNvSpPr>
            <a:spLocks noGrp="1"/>
          </p:cNvSpPr>
          <p:nvPr>
            <p:custDataLst>
              <p:tags r:id="rId34"/>
            </p:custDataLst>
          </p:nvPr>
        </p:nvSpPr>
        <p:spPr bwMode="gray">
          <a:xfrm>
            <a:off x="1993900" y="37909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2EF16E-7AEC-43D6-BA1A-0968CB2776F0}" type="datetime'''''''''''''''''''''1'',''''''''''''''''''''''''11''''0'''">
              <a:rPr lang="ja-JP" altLang="en-US" sz="1000" smtClean="0">
                <a:effectLst/>
                <a:sym typeface="+mn-lt"/>
              </a:rPr>
              <a:pPr marL="0" indent="0" algn="ctr">
                <a:spcBef>
                  <a:spcPct val="0"/>
                </a:spcBef>
                <a:buNone/>
              </a:pPr>
              <a:t>1,110</a:t>
            </a:fld>
            <a:endParaRPr lang="ja-JP" altLang="en-US" sz="1000" dirty="0">
              <a:sym typeface="+mn-lt"/>
            </a:endParaRPr>
          </a:p>
        </p:txBody>
      </p:sp>
      <p:sp>
        <p:nvSpPr>
          <p:cNvPr id="57" name="テキスト プレースホルダ 9">
            <a:extLst>
              <a:ext uri="{FF2B5EF4-FFF2-40B4-BE49-F238E27FC236}">
                <a16:creationId xmlns:a16="http://schemas.microsoft.com/office/drawing/2014/main" id="{2CC0DD09-76A2-43CB-A3E2-19838FA09CC1}"/>
              </a:ext>
            </a:extLst>
          </p:cNvPr>
          <p:cNvSpPr>
            <a:spLocks noGrp="1"/>
          </p:cNvSpPr>
          <p:nvPr>
            <p:custDataLst>
              <p:tags r:id="rId35"/>
            </p:custDataLst>
          </p:nvPr>
        </p:nvSpPr>
        <p:spPr bwMode="gray">
          <a:xfrm>
            <a:off x="2400300" y="38766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0B3EE2-C7E6-45F7-8397-86862F8A6CE9}" type="datetime'''''''1'''''''',05''''''''''''''''''''''''''''''''8'''''''''''">
              <a:rPr lang="ja-JP" altLang="en-US" sz="1000" smtClean="0">
                <a:effectLst/>
                <a:sym typeface="+mn-lt"/>
              </a:rPr>
              <a:pPr marL="0" indent="0" algn="ctr">
                <a:spcBef>
                  <a:spcPct val="0"/>
                </a:spcBef>
                <a:buNone/>
              </a:pPr>
              <a:t>1,058</a:t>
            </a:fld>
            <a:endParaRPr lang="ja-JP" altLang="en-US" sz="1000" dirty="0">
              <a:sym typeface="+mn-lt"/>
            </a:endParaRPr>
          </a:p>
        </p:txBody>
      </p:sp>
      <p:sp>
        <p:nvSpPr>
          <p:cNvPr id="61" name="テキスト プレースホルダ 9">
            <a:extLst>
              <a:ext uri="{FF2B5EF4-FFF2-40B4-BE49-F238E27FC236}">
                <a16:creationId xmlns:a16="http://schemas.microsoft.com/office/drawing/2014/main" id="{96F759D9-DA79-4179-93CE-9EF879151BEE}"/>
              </a:ext>
            </a:extLst>
          </p:cNvPr>
          <p:cNvSpPr>
            <a:spLocks noGrp="1"/>
          </p:cNvSpPr>
          <p:nvPr>
            <p:custDataLst>
              <p:tags r:id="rId36"/>
            </p:custDataLst>
          </p:nvPr>
        </p:nvSpPr>
        <p:spPr bwMode="gray">
          <a:xfrm>
            <a:off x="4024313" y="35274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2B2BB9-61B9-47FF-82F3-CC76134B95A6}" type="datetime'''1,''''''''''''''''''''''''''2''''''''''7''''''''''''''5'''''">
              <a:rPr lang="ja-JP" altLang="en-US" sz="1000" smtClean="0">
                <a:effectLst/>
                <a:sym typeface="+mn-lt"/>
              </a:rPr>
              <a:pPr marL="0" indent="0" algn="ctr">
                <a:spcBef>
                  <a:spcPct val="0"/>
                </a:spcBef>
                <a:buNone/>
              </a:pPr>
              <a:t>1,275</a:t>
            </a:fld>
            <a:endParaRPr lang="ja-JP" altLang="en-US" sz="1000" dirty="0">
              <a:sym typeface="+mn-lt"/>
            </a:endParaRPr>
          </a:p>
        </p:txBody>
      </p:sp>
      <p:sp>
        <p:nvSpPr>
          <p:cNvPr id="62" name="テキスト プレースホルダ 9">
            <a:extLst>
              <a:ext uri="{FF2B5EF4-FFF2-40B4-BE49-F238E27FC236}">
                <a16:creationId xmlns:a16="http://schemas.microsoft.com/office/drawing/2014/main" id="{8534499A-5631-4600-AD86-B38FFB74662B}"/>
              </a:ext>
            </a:extLst>
          </p:cNvPr>
          <p:cNvSpPr>
            <a:spLocks noGrp="1"/>
          </p:cNvSpPr>
          <p:nvPr>
            <p:custDataLst>
              <p:tags r:id="rId37"/>
            </p:custDataLst>
          </p:nvPr>
        </p:nvSpPr>
        <p:spPr bwMode="gray">
          <a:xfrm>
            <a:off x="4430713" y="34734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6ACBA4-F070-44CF-B8C1-36186F7D3A14}" type="datetime'''''''''1'''''''',3''''''''''''''''09'">
              <a:rPr lang="ja-JP" altLang="en-US" sz="1000" smtClean="0">
                <a:effectLst/>
                <a:sym typeface="+mn-lt"/>
              </a:rPr>
              <a:pPr marL="0" indent="0" algn="ctr">
                <a:spcBef>
                  <a:spcPct val="0"/>
                </a:spcBef>
                <a:buNone/>
              </a:pPr>
              <a:t>1,309</a:t>
            </a:fld>
            <a:endParaRPr lang="ja-JP" altLang="en-US" sz="1000" dirty="0">
              <a:sym typeface="+mn-lt"/>
            </a:endParaRPr>
          </a:p>
        </p:txBody>
      </p:sp>
      <p:sp>
        <p:nvSpPr>
          <p:cNvPr id="63" name="テキスト プレースホルダ 9">
            <a:extLst>
              <a:ext uri="{FF2B5EF4-FFF2-40B4-BE49-F238E27FC236}">
                <a16:creationId xmlns:a16="http://schemas.microsoft.com/office/drawing/2014/main" id="{DA71DFD5-4A02-4F2C-9FF7-859C973A0284}"/>
              </a:ext>
            </a:extLst>
          </p:cNvPr>
          <p:cNvSpPr>
            <a:spLocks noGrp="1"/>
          </p:cNvSpPr>
          <p:nvPr>
            <p:custDataLst>
              <p:tags r:id="rId38"/>
            </p:custDataLst>
          </p:nvPr>
        </p:nvSpPr>
        <p:spPr bwMode="gray">
          <a:xfrm>
            <a:off x="4837113" y="33750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298101-3B28-4508-897D-274D0986A035}" type="datetime'''''''''1'''''''''''''''',''''''3''7''''''''0'''">
              <a:rPr lang="ja-JP" altLang="en-US" sz="1000" smtClean="0">
                <a:effectLst/>
                <a:sym typeface="+mn-lt"/>
              </a:rPr>
              <a:pPr marL="0" indent="0" algn="ctr">
                <a:spcBef>
                  <a:spcPct val="0"/>
                </a:spcBef>
                <a:buNone/>
              </a:pPr>
              <a:t>1,370</a:t>
            </a:fld>
            <a:endParaRPr lang="ja-JP" altLang="en-US" sz="1000" dirty="0">
              <a:sym typeface="+mn-lt"/>
            </a:endParaRPr>
          </a:p>
        </p:txBody>
      </p:sp>
      <p:sp>
        <p:nvSpPr>
          <p:cNvPr id="55" name="テキスト プレースホルダ 9"/>
          <p:cNvSpPr>
            <a:spLocks noGrp="1"/>
          </p:cNvSpPr>
          <p:nvPr>
            <p:custDataLst>
              <p:tags r:id="rId39"/>
            </p:custDataLst>
          </p:nvPr>
        </p:nvSpPr>
        <p:spPr bwMode="auto">
          <a:xfrm>
            <a:off x="1211263"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1000" dirty="0">
              <a:sym typeface="+mn-lt"/>
            </a:endParaRPr>
          </a:p>
        </p:txBody>
      </p:sp>
      <p:sp>
        <p:nvSpPr>
          <p:cNvPr id="71" name="テキスト プレースホルダ 9">
            <a:extLst>
              <a:ext uri="{FF2B5EF4-FFF2-40B4-BE49-F238E27FC236}">
                <a16:creationId xmlns:a16="http://schemas.microsoft.com/office/drawing/2014/main" id="{E1E53EC5-434B-4F5A-82DD-8F8FE777E7F1}"/>
              </a:ext>
            </a:extLst>
          </p:cNvPr>
          <p:cNvSpPr>
            <a:spLocks noGrp="1"/>
          </p:cNvSpPr>
          <p:nvPr>
            <p:custDataLst>
              <p:tags r:id="rId40"/>
            </p:custDataLst>
          </p:nvPr>
        </p:nvSpPr>
        <p:spPr bwMode="gray">
          <a:xfrm>
            <a:off x="8085138" y="28067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69721B-F850-417C-96C2-54D6297BD89A}" type="datetime'''''''''''''''''''''''''''''''''''''1,''''''7''''''2''''''3'''">
              <a:rPr lang="ja-JP" altLang="en-US" sz="1000" smtClean="0">
                <a:effectLst/>
                <a:sym typeface="+mn-lt"/>
              </a:rPr>
              <a:pPr marL="0" indent="0" algn="ctr">
                <a:spcBef>
                  <a:spcPct val="0"/>
                </a:spcBef>
                <a:buNone/>
              </a:pPr>
              <a:t>1,723</a:t>
            </a:fld>
            <a:endParaRPr lang="ja-JP" altLang="en-US" sz="1000" dirty="0">
              <a:sym typeface="+mn-lt"/>
            </a:endParaRPr>
          </a:p>
        </p:txBody>
      </p:sp>
      <p:sp>
        <p:nvSpPr>
          <p:cNvPr id="66" name="テキスト プレースホルダ 9">
            <a:extLst>
              <a:ext uri="{FF2B5EF4-FFF2-40B4-BE49-F238E27FC236}">
                <a16:creationId xmlns:a16="http://schemas.microsoft.com/office/drawing/2014/main" id="{56034E35-5474-4115-BDA2-FAFB0061CA34}"/>
              </a:ext>
            </a:extLst>
          </p:cNvPr>
          <p:cNvSpPr>
            <a:spLocks noGrp="1"/>
          </p:cNvSpPr>
          <p:nvPr>
            <p:custDataLst>
              <p:tags r:id="rId41"/>
            </p:custDataLst>
          </p:nvPr>
        </p:nvSpPr>
        <p:spPr bwMode="gray">
          <a:xfrm>
            <a:off x="6054725" y="32654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55647E-F8B3-41A7-B233-1FCE2061C218}" type="datetime'''''''''''1,''''''''''43''8'''''''''''''''''''''''''''''''''">
              <a:rPr lang="ja-JP" altLang="en-US" sz="1000" smtClean="0">
                <a:effectLst/>
                <a:sym typeface="+mn-lt"/>
              </a:rPr>
              <a:pPr marL="0" indent="0" algn="ctr">
                <a:spcBef>
                  <a:spcPct val="0"/>
                </a:spcBef>
                <a:buNone/>
              </a:pPr>
              <a:t>1,438</a:t>
            </a:fld>
            <a:endParaRPr lang="ja-JP" altLang="en-US" sz="1000" dirty="0">
              <a:sym typeface="+mn-lt"/>
            </a:endParaRPr>
          </a:p>
        </p:txBody>
      </p:sp>
      <p:sp>
        <p:nvSpPr>
          <p:cNvPr id="67" name="テキスト プレースホルダ 9">
            <a:extLst>
              <a:ext uri="{FF2B5EF4-FFF2-40B4-BE49-F238E27FC236}">
                <a16:creationId xmlns:a16="http://schemas.microsoft.com/office/drawing/2014/main" id="{1C351BD3-A9EA-46EF-AFC6-3B4418CFBC72}"/>
              </a:ext>
            </a:extLst>
          </p:cNvPr>
          <p:cNvSpPr>
            <a:spLocks noGrp="1"/>
          </p:cNvSpPr>
          <p:nvPr>
            <p:custDataLst>
              <p:tags r:id="rId42"/>
            </p:custDataLst>
          </p:nvPr>
        </p:nvSpPr>
        <p:spPr bwMode="gray">
          <a:xfrm>
            <a:off x="6461125" y="31210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052514-6E9D-427B-9E93-D92B459C7243}" type="datetime'''''''''''''1'''',''''''''5''''''''''''''''''''''2''''7'''">
              <a:rPr lang="ja-JP" altLang="en-US" sz="1000" smtClean="0">
                <a:effectLst/>
                <a:sym typeface="+mn-lt"/>
              </a:rPr>
              <a:pPr marL="0" indent="0" algn="ctr">
                <a:spcBef>
                  <a:spcPct val="0"/>
                </a:spcBef>
                <a:buNone/>
              </a:pPr>
              <a:t>1,527</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131B6008-884B-4CA1-88D5-8AB928EF6E24}"/>
              </a:ext>
            </a:extLst>
          </p:cNvPr>
          <p:cNvSpPr>
            <a:spLocks noGrp="1"/>
          </p:cNvSpPr>
          <p:nvPr>
            <p:custDataLst>
              <p:tags r:id="rId43"/>
            </p:custDataLst>
          </p:nvPr>
        </p:nvSpPr>
        <p:spPr bwMode="gray">
          <a:xfrm>
            <a:off x="8896350" y="26812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11A1CA-F0AC-416E-82E6-762D63E58F82}" type="datetime'''''''''1'''''',''8''''01'''''''''''''''''''''">
              <a:rPr lang="ja-JP" altLang="en-US" sz="1000" smtClean="0">
                <a:effectLst/>
                <a:sym typeface="+mn-lt"/>
              </a:rPr>
              <a:pPr marL="0" indent="0" algn="ctr">
                <a:spcBef>
                  <a:spcPct val="0"/>
                </a:spcBef>
                <a:buNone/>
              </a:pPr>
              <a:t>1,801</a:t>
            </a:fld>
            <a:endParaRPr lang="ja-JP" altLang="en-US" sz="1000" dirty="0">
              <a:sym typeface="+mn-lt"/>
            </a:endParaRPr>
          </a:p>
        </p:txBody>
      </p:sp>
      <p:sp>
        <p:nvSpPr>
          <p:cNvPr id="64" name="テキスト プレースホルダ 9">
            <a:extLst>
              <a:ext uri="{FF2B5EF4-FFF2-40B4-BE49-F238E27FC236}">
                <a16:creationId xmlns:a16="http://schemas.microsoft.com/office/drawing/2014/main" id="{F7D94822-D9E8-40E3-8E24-FB1C1B360B81}"/>
              </a:ext>
            </a:extLst>
          </p:cNvPr>
          <p:cNvSpPr>
            <a:spLocks noGrp="1"/>
          </p:cNvSpPr>
          <p:nvPr>
            <p:custDataLst>
              <p:tags r:id="rId44"/>
            </p:custDataLst>
          </p:nvPr>
        </p:nvSpPr>
        <p:spPr bwMode="gray">
          <a:xfrm>
            <a:off x="5241925" y="33353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938A2E-154B-4731-886A-A037CFA502F0}" type="datetime'''''''''''1,''''''3''''''9''''''''''''''''4'''''''''''">
              <a:rPr lang="ja-JP" altLang="en-US" sz="1000" smtClean="0">
                <a:effectLst/>
                <a:sym typeface="+mn-lt"/>
              </a:rPr>
              <a:pPr marL="0" indent="0" algn="ctr">
                <a:spcBef>
                  <a:spcPct val="0"/>
                </a:spcBef>
                <a:buNone/>
              </a:pPr>
              <a:t>1,394</a:t>
            </a:fld>
            <a:endParaRPr lang="ja-JP" altLang="en-US" sz="1000" dirty="0">
              <a:sym typeface="+mn-lt"/>
            </a:endParaRPr>
          </a:p>
        </p:txBody>
      </p:sp>
      <p:sp>
        <p:nvSpPr>
          <p:cNvPr id="28" name="テキスト プレースホルダ 9"/>
          <p:cNvSpPr>
            <a:spLocks noGrp="1"/>
          </p:cNvSpPr>
          <p:nvPr>
            <p:custDataLst>
              <p:tags r:id="rId45"/>
            </p:custDataLst>
          </p:nvPr>
        </p:nvSpPr>
        <p:spPr bwMode="auto">
          <a:xfrm>
            <a:off x="65595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1000" dirty="0">
              <a:sym typeface="+mn-lt"/>
            </a:endParaRPr>
          </a:p>
        </p:txBody>
      </p:sp>
      <p:sp>
        <p:nvSpPr>
          <p:cNvPr id="69" name="テキスト プレースホルダ 9">
            <a:extLst>
              <a:ext uri="{FF2B5EF4-FFF2-40B4-BE49-F238E27FC236}">
                <a16:creationId xmlns:a16="http://schemas.microsoft.com/office/drawing/2014/main" id="{C9C44F45-D9E9-42D7-8C37-8D0261FDC2AC}"/>
              </a:ext>
            </a:extLst>
          </p:cNvPr>
          <p:cNvSpPr>
            <a:spLocks noGrp="1"/>
          </p:cNvSpPr>
          <p:nvPr>
            <p:custDataLst>
              <p:tags r:id="rId46"/>
            </p:custDataLst>
          </p:nvPr>
        </p:nvSpPr>
        <p:spPr bwMode="gray">
          <a:xfrm>
            <a:off x="7272338" y="29178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5E46D0-1848-48AF-916A-EAB135464DA2}" type="datetime'''''''''1'''''''''''''''''''''',''6''''5''''''''''''''4'''">
              <a:rPr lang="ja-JP" altLang="en-US" sz="1000" smtClean="0">
                <a:effectLst/>
                <a:sym typeface="+mn-lt"/>
              </a:rPr>
              <a:pPr marL="0" indent="0" algn="ctr">
                <a:spcBef>
                  <a:spcPct val="0"/>
                </a:spcBef>
                <a:buNone/>
              </a:pPr>
              <a:t>1,654</a:t>
            </a:fld>
            <a:endParaRPr lang="ja-JP" altLang="en-US" sz="1000" dirty="0">
              <a:sym typeface="+mn-lt"/>
            </a:endParaRPr>
          </a:p>
        </p:txBody>
      </p:sp>
      <p:sp>
        <p:nvSpPr>
          <p:cNvPr id="72" name="テキスト プレースホルダ 9">
            <a:extLst>
              <a:ext uri="{FF2B5EF4-FFF2-40B4-BE49-F238E27FC236}">
                <a16:creationId xmlns:a16="http://schemas.microsoft.com/office/drawing/2014/main" id="{349658CB-E204-4AFD-9042-AC9DF151F773}"/>
              </a:ext>
            </a:extLst>
          </p:cNvPr>
          <p:cNvSpPr>
            <a:spLocks noGrp="1"/>
          </p:cNvSpPr>
          <p:nvPr>
            <p:custDataLst>
              <p:tags r:id="rId47"/>
            </p:custDataLst>
          </p:nvPr>
        </p:nvSpPr>
        <p:spPr bwMode="gray">
          <a:xfrm>
            <a:off x="8489950" y="27590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59E70E-DD3D-4CFB-805C-B2EB74E49535}" type="datetime'''''''''''''''''1'''',''''7''''''''''''''''''''''''''''''53'''">
              <a:rPr lang="ja-JP" altLang="en-US" sz="1000" smtClean="0">
                <a:effectLst/>
                <a:sym typeface="+mn-lt"/>
              </a:rPr>
              <a:pPr marL="0" indent="0" algn="ctr">
                <a:spcBef>
                  <a:spcPct val="0"/>
                </a:spcBef>
                <a:buNone/>
              </a:pPr>
              <a:t>1,753</a:t>
            </a:fld>
            <a:endParaRPr lang="ja-JP" altLang="en-US" sz="1000" dirty="0">
              <a:sym typeface="+mn-lt"/>
            </a:endParaRPr>
          </a:p>
        </p:txBody>
      </p:sp>
      <p:sp>
        <p:nvSpPr>
          <p:cNvPr id="53" name="テキスト プレースホルダ 9"/>
          <p:cNvSpPr>
            <a:spLocks noGrp="1"/>
          </p:cNvSpPr>
          <p:nvPr>
            <p:custDataLst>
              <p:tags r:id="rId48"/>
            </p:custDataLst>
          </p:nvPr>
        </p:nvSpPr>
        <p:spPr bwMode="auto">
          <a:xfrm>
            <a:off x="16875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1000" dirty="0">
              <a:sym typeface="+mn-lt"/>
            </a:endParaRPr>
          </a:p>
        </p:txBody>
      </p:sp>
      <p:sp>
        <p:nvSpPr>
          <p:cNvPr id="68" name="テキスト プレースホルダ 9">
            <a:extLst>
              <a:ext uri="{FF2B5EF4-FFF2-40B4-BE49-F238E27FC236}">
                <a16:creationId xmlns:a16="http://schemas.microsoft.com/office/drawing/2014/main" id="{6C6A87A1-5FD8-4FEE-BABF-5622BAC0E7F3}"/>
              </a:ext>
            </a:extLst>
          </p:cNvPr>
          <p:cNvSpPr>
            <a:spLocks noGrp="1"/>
          </p:cNvSpPr>
          <p:nvPr>
            <p:custDataLst>
              <p:tags r:id="rId49"/>
            </p:custDataLst>
          </p:nvPr>
        </p:nvSpPr>
        <p:spPr bwMode="gray">
          <a:xfrm>
            <a:off x="6865938" y="29797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7427C5-91C1-43F8-B764-DC5049AFD2E8}" type="datetime'''''''''''''''''''1,''''''''''''''''''''''''''''6''''''16'''">
              <a:rPr lang="ja-JP" altLang="en-US" sz="1000" smtClean="0">
                <a:effectLst/>
                <a:sym typeface="+mn-lt"/>
              </a:rPr>
              <a:pPr marL="0" indent="0" algn="ctr">
                <a:spcBef>
                  <a:spcPct val="0"/>
                </a:spcBef>
                <a:buNone/>
              </a:pPr>
              <a:t>1,616</a:t>
            </a:fld>
            <a:endParaRPr lang="ja-JP" altLang="en-US" sz="1000" dirty="0">
              <a:sym typeface="+mn-lt"/>
            </a:endParaRPr>
          </a:p>
        </p:txBody>
      </p:sp>
      <p:sp>
        <p:nvSpPr>
          <p:cNvPr id="33"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た。</a:t>
            </a:r>
          </a:p>
        </p:txBody>
      </p:sp>
      <p:sp>
        <p:nvSpPr>
          <p:cNvPr id="39" name="Sticky">
            <a:extLst>
              <a:ext uri="{FF2B5EF4-FFF2-40B4-BE49-F238E27FC236}">
                <a16:creationId xmlns:a16="http://schemas.microsoft.com/office/drawing/2014/main" id="{68ADC612-5DC1-4C53-8B9F-B20BAB518B9B}"/>
              </a:ext>
            </a:extLst>
          </p:cNvPr>
          <p:cNvSpPr/>
          <p:nvPr>
            <p:custDataLst>
              <p:tags r:id="rId50"/>
            </p:custDataLst>
          </p:nvPr>
        </p:nvSpPr>
        <p:spPr>
          <a:xfrm>
            <a:off x="9057455" y="0"/>
            <a:ext cx="870843" cy="411899"/>
          </a:xfrm>
          <a:prstGeom prst="foldedCorner">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63500" tIns="64943" rIns="63500" bIns="63500" rtlCol="0" anchor="t">
            <a:spAutoFit/>
          </a:bodyPr>
          <a:lstStyle/>
          <a:p>
            <a:r>
              <a:rPr lang="ja-JP" altLang="en-US"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更新済み</a:t>
            </a:r>
            <a:endParaRPr kumimoji="1" lang="ja-JP" altLang="en-US"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5249927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1782478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39" imgW="360" imgH="360" progId="TCLayout.ActiveDocument.1">
                  <p:embed/>
                </p:oleObj>
              </mc:Choice>
              <mc:Fallback>
                <p:oleObj name="think-cell Slide" r:id="rId39" imgW="360" imgH="360" progId="TCLayout.ActiveDocument.1">
                  <p:embed/>
                  <p:pic>
                    <p:nvPicPr>
                      <p:cNvPr id="4" name="Object 3" hidden="1"/>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74" name="Chart 73">
            <a:extLst>
              <a:ext uri="{FF2B5EF4-FFF2-40B4-BE49-F238E27FC236}">
                <a16:creationId xmlns:a16="http://schemas.microsoft.com/office/drawing/2014/main" id="{39FCE740-98E7-4C42-80BE-B872536CD39B}"/>
              </a:ext>
            </a:extLst>
          </p:cNvPr>
          <p:cNvGraphicFramePr/>
          <p:nvPr>
            <p:custDataLst>
              <p:tags r:id="rId4"/>
            </p:custDataLst>
          </p:nvPr>
        </p:nvGraphicFramePr>
        <p:xfrm>
          <a:off x="693738" y="2698750"/>
          <a:ext cx="5494337" cy="3260725"/>
        </p:xfrm>
        <a:graphic>
          <a:graphicData uri="http://schemas.openxmlformats.org/drawingml/2006/chart">
            <c:chart xmlns:c="http://schemas.openxmlformats.org/drawingml/2006/chart" xmlns:r="http://schemas.openxmlformats.org/officeDocument/2006/relationships" r:id="rId41"/>
          </a:graphicData>
        </a:graphic>
      </p:graphicFrame>
      <p:sp>
        <p:nvSpPr>
          <p:cNvPr id="71" name="テキスト プレースホルダ 9">
            <a:extLst>
              <a:ext uri="{FF2B5EF4-FFF2-40B4-BE49-F238E27FC236}">
                <a16:creationId xmlns:a16="http://schemas.microsoft.com/office/drawing/2014/main" id="{053A43F3-1410-4D4E-947D-8D7F13DC4A05}"/>
              </a:ext>
            </a:extLst>
          </p:cNvPr>
          <p:cNvSpPr>
            <a:spLocks noGrp="1"/>
          </p:cNvSpPr>
          <p:nvPr>
            <p:custDataLst>
              <p:tags r:id="rId5"/>
            </p:custDataLst>
          </p:nvPr>
        </p:nvSpPr>
        <p:spPr bwMode="gray">
          <a:xfrm>
            <a:off x="508000" y="2705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ADB1FBE-98C7-43BE-9C9E-6A2506073A51}" type="datetime'''''''''''''''3''''''''''''''''''''''''0'''''''''''''''''">
              <a:rPr lang="en-US" altLang="en-US" sz="1000" smtClean="0"/>
              <a:pPr/>
              <a:t>30</a:t>
            </a:fld>
            <a:endParaRPr lang="ja-JP" altLang="en-US" sz="1000" dirty="0">
              <a:sym typeface="+mn-lt"/>
            </a:endParaRPr>
          </a:p>
        </p:txBody>
      </p:sp>
      <p:sp>
        <p:nvSpPr>
          <p:cNvPr id="155" name="テキスト プレースホルダ 9">
            <a:extLst>
              <a:ext uri="{FF2B5EF4-FFF2-40B4-BE49-F238E27FC236}">
                <a16:creationId xmlns:a16="http://schemas.microsoft.com/office/drawing/2014/main" id="{88D7E003-3326-4888-9548-5071EA54519F}"/>
              </a:ext>
            </a:extLst>
          </p:cNvPr>
          <p:cNvSpPr>
            <a:spLocks noGrp="1"/>
          </p:cNvSpPr>
          <p:nvPr>
            <p:custDataLst>
              <p:tags r:id="rId6"/>
            </p:custDataLst>
          </p:nvPr>
        </p:nvSpPr>
        <p:spPr bwMode="gray">
          <a:xfrm>
            <a:off x="577850"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802A7B6-25C9-4370-92F1-B2DE39C13B14}" type="datetime'''''''''''''''''''''0'''''''''''''''''''''''''''''">
              <a:rPr lang="en-US" altLang="en-US" sz="1000" smtClean="0"/>
              <a:pPr/>
              <a:t>0</a:t>
            </a:fld>
            <a:endParaRPr lang="ja-JP" altLang="en-US" sz="1000" dirty="0">
              <a:sym typeface="+mn-lt"/>
            </a:endParaRPr>
          </a:p>
        </p:txBody>
      </p:sp>
      <p:sp>
        <p:nvSpPr>
          <p:cNvPr id="160" name="テキスト プレースホルダ 9">
            <a:extLst>
              <a:ext uri="{FF2B5EF4-FFF2-40B4-BE49-F238E27FC236}">
                <a16:creationId xmlns:a16="http://schemas.microsoft.com/office/drawing/2014/main" id="{D51C2711-35C7-4874-B360-2CD5E5913BDC}"/>
              </a:ext>
            </a:extLst>
          </p:cNvPr>
          <p:cNvSpPr>
            <a:spLocks noGrp="1"/>
          </p:cNvSpPr>
          <p:nvPr>
            <p:custDataLst>
              <p:tags r:id="rId7"/>
            </p:custDataLst>
          </p:nvPr>
        </p:nvSpPr>
        <p:spPr bwMode="gray">
          <a:xfrm>
            <a:off x="508000" y="47688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49E3639-60F4-463D-9B18-35A2425CFD22}" type="datetime'''''''''''''1''''''0'''''''''''''''''''''''''''''''">
              <a:rPr lang="en-US" altLang="en-US" sz="1000" smtClean="0"/>
              <a:pPr/>
              <a:t>10</a:t>
            </a:fld>
            <a:endParaRPr lang="ja-JP" altLang="en-US" sz="1000" dirty="0">
              <a:sym typeface="+mn-lt"/>
            </a:endParaRPr>
          </a:p>
        </p:txBody>
      </p:sp>
      <p:sp>
        <p:nvSpPr>
          <p:cNvPr id="165" name="テキスト プレースホルダ 9">
            <a:extLst>
              <a:ext uri="{FF2B5EF4-FFF2-40B4-BE49-F238E27FC236}">
                <a16:creationId xmlns:a16="http://schemas.microsoft.com/office/drawing/2014/main" id="{38CAEFA1-92CD-4982-8B2B-E92FF7B60120}"/>
              </a:ext>
            </a:extLst>
          </p:cNvPr>
          <p:cNvSpPr>
            <a:spLocks noGrp="1"/>
          </p:cNvSpPr>
          <p:nvPr>
            <p:custDataLst>
              <p:tags r:id="rId8"/>
            </p:custDataLst>
          </p:nvPr>
        </p:nvSpPr>
        <p:spPr bwMode="gray">
          <a:xfrm>
            <a:off x="508000" y="37369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E0D1757-B076-43D3-B3F1-E0247278E77C}" type="datetime'''''''''''''''''''''''''''''''''''''''''''''''''''''''2''0'''">
              <a:rPr lang="en-US" altLang="en-US" sz="1000" smtClean="0"/>
              <a:pPr/>
              <a:t>20</a:t>
            </a:fld>
            <a:endParaRPr lang="ja-JP" altLang="en-US" sz="1000" dirty="0">
              <a:sym typeface="+mn-lt"/>
            </a:endParaRPr>
          </a:p>
        </p:txBody>
      </p:sp>
      <p:sp>
        <p:nvSpPr>
          <p:cNvPr id="67" name="テキスト プレースホルダ 9">
            <a:extLst>
              <a:ext uri="{FF2B5EF4-FFF2-40B4-BE49-F238E27FC236}">
                <a16:creationId xmlns:a16="http://schemas.microsoft.com/office/drawing/2014/main" id="{B33E3668-0867-4AA2-A429-8C188338ACE3}"/>
              </a:ext>
            </a:extLst>
          </p:cNvPr>
          <p:cNvSpPr>
            <a:spLocks noGrp="1"/>
          </p:cNvSpPr>
          <p:nvPr>
            <p:custDataLst>
              <p:tags r:id="rId9"/>
            </p:custDataLst>
          </p:nvPr>
        </p:nvSpPr>
        <p:spPr bwMode="gray">
          <a:xfrm>
            <a:off x="508000" y="42529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BDB2D6C-D93D-407A-AB51-5761E163376D}" type="datetime'1''''''''''''''''5'''''''''''''''''''''''''''''''''''''''">
              <a:rPr lang="en-US" altLang="en-US" sz="1000" smtClean="0"/>
              <a:pPr/>
              <a:t>15</a:t>
            </a:fld>
            <a:endParaRPr lang="ja-JP" altLang="en-US" sz="1000" dirty="0">
              <a:sym typeface="+mn-lt"/>
            </a:endParaRPr>
          </a:p>
        </p:txBody>
      </p:sp>
      <p:sp>
        <p:nvSpPr>
          <p:cNvPr id="65" name="テキスト プレースホルダ 9">
            <a:extLst>
              <a:ext uri="{FF2B5EF4-FFF2-40B4-BE49-F238E27FC236}">
                <a16:creationId xmlns:a16="http://schemas.microsoft.com/office/drawing/2014/main" id="{2138719E-06B0-408A-9588-4CD0EFB9B408}"/>
              </a:ext>
            </a:extLst>
          </p:cNvPr>
          <p:cNvSpPr>
            <a:spLocks noGrp="1"/>
          </p:cNvSpPr>
          <p:nvPr>
            <p:custDataLst>
              <p:tags r:id="rId10"/>
            </p:custDataLst>
          </p:nvPr>
        </p:nvSpPr>
        <p:spPr bwMode="gray">
          <a:xfrm>
            <a:off x="577850" y="52847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661F037-156B-4D89-AE67-FA7CD763CAE3}" type="datetime'''5'''''''''''''''''''''''''''''''''''''''''">
              <a:rPr lang="en-US" altLang="en-US" sz="1000" smtClean="0"/>
              <a:pPr/>
              <a:t>5</a:t>
            </a:fld>
            <a:endParaRPr lang="ja-JP" altLang="en-US" sz="1000" dirty="0">
              <a:sym typeface="+mn-lt"/>
            </a:endParaRPr>
          </a:p>
        </p:txBody>
      </p:sp>
      <p:sp>
        <p:nvSpPr>
          <p:cNvPr id="68" name="テキスト プレースホルダ 9">
            <a:extLst>
              <a:ext uri="{FF2B5EF4-FFF2-40B4-BE49-F238E27FC236}">
                <a16:creationId xmlns:a16="http://schemas.microsoft.com/office/drawing/2014/main" id="{7D6E1A86-24A8-40DA-9F47-A74D91575F28}"/>
              </a:ext>
            </a:extLst>
          </p:cNvPr>
          <p:cNvSpPr>
            <a:spLocks noGrp="1"/>
          </p:cNvSpPr>
          <p:nvPr>
            <p:custDataLst>
              <p:tags r:id="rId11"/>
            </p:custDataLst>
          </p:nvPr>
        </p:nvSpPr>
        <p:spPr bwMode="gray">
          <a:xfrm>
            <a:off x="508000" y="32210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FAF0E74-71CB-4F19-B2E2-AB6445147764}" type="datetime'''''''''''2''''''''''''''''''5'''">
              <a:rPr lang="en-US" altLang="en-US" sz="1000" smtClean="0"/>
              <a:pPr/>
              <a:t>25</a:t>
            </a:fld>
            <a:endParaRPr lang="ja-JP" altLang="en-US" sz="1000" dirty="0">
              <a:sym typeface="+mn-lt"/>
            </a:endParaRPr>
          </a:p>
        </p:txBody>
      </p:sp>
      <p:sp>
        <p:nvSpPr>
          <p:cNvPr id="20" name="テキスト プレースホルダ 9"/>
          <p:cNvSpPr>
            <a:spLocks noGrp="1"/>
          </p:cNvSpPr>
          <p:nvPr>
            <p:custDataLst>
              <p:tags r:id="rId12"/>
            </p:custDataLst>
          </p:nvPr>
        </p:nvSpPr>
        <p:spPr bwMode="auto">
          <a:xfrm>
            <a:off x="5426075"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13E20F-8B03-403B-A5AD-CDB3832E2758}" type="datetime'''''2''''''''''''''''''''''''''''''''021'''''''">
              <a:rPr lang="en-US" altLang="en-US" sz="1000" smtClean="0"/>
              <a:pPr/>
              <a:t>2021</a:t>
            </a:fld>
            <a:endParaRPr kumimoji="0" lang="ja-JP" altLang="en-US" sz="1000" dirty="0">
              <a:sym typeface="+mn-lt"/>
            </a:endParaRPr>
          </a:p>
        </p:txBody>
      </p:sp>
      <p:sp>
        <p:nvSpPr>
          <p:cNvPr id="124" name="テキスト プレースホルダ 9">
            <a:extLst>
              <a:ext uri="{FF2B5EF4-FFF2-40B4-BE49-F238E27FC236}">
                <a16:creationId xmlns:a16="http://schemas.microsoft.com/office/drawing/2014/main" id="{329083BF-8899-4309-BFEE-D45CC8BDABED}"/>
              </a:ext>
            </a:extLst>
          </p:cNvPr>
          <p:cNvSpPr>
            <a:spLocks noGrp="1"/>
          </p:cNvSpPr>
          <p:nvPr>
            <p:custDataLst>
              <p:tags r:id="rId13"/>
            </p:custDataLst>
          </p:nvPr>
        </p:nvSpPr>
        <p:spPr bwMode="gray">
          <a:xfrm>
            <a:off x="4195763" y="540226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1212A2-1F76-4077-B8AA-6F9266E708AA}" type="datetime'''''''''''''''''''2''.9'''''''''''''''''''''''''''''''''">
              <a:rPr lang="en-US" altLang="en-US" sz="1000" smtClean="0"/>
              <a:pPr/>
              <a:t>2.9</a:t>
            </a:fld>
            <a:endParaRPr lang="ja-JP" altLang="en-US" sz="1000" dirty="0">
              <a:sym typeface="+mn-lt"/>
            </a:endParaRPr>
          </a:p>
        </p:txBody>
      </p:sp>
      <p:sp>
        <p:nvSpPr>
          <p:cNvPr id="152" name="テキスト プレースホルダ 9">
            <a:extLst>
              <a:ext uri="{FF2B5EF4-FFF2-40B4-BE49-F238E27FC236}">
                <a16:creationId xmlns:a16="http://schemas.microsoft.com/office/drawing/2014/main" id="{2521B06A-0955-4372-A104-4E9D9042C8A9}"/>
              </a:ext>
            </a:extLst>
          </p:cNvPr>
          <p:cNvSpPr>
            <a:spLocks noGrp="1"/>
          </p:cNvSpPr>
          <p:nvPr>
            <p:custDataLst>
              <p:tags r:id="rId14"/>
            </p:custDataLst>
          </p:nvPr>
        </p:nvSpPr>
        <p:spPr bwMode="gray">
          <a:xfrm>
            <a:off x="2439988" y="30702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E541DF-86B5-49CE-9314-3F21921FDBC8}" type="datetime'''''25''''''''''''''''''''''''''''''''.''5'">
              <a:rPr lang="en-US" altLang="en-US" sz="1000" smtClean="0"/>
              <a:pPr/>
              <a:t>25.5</a:t>
            </a:fld>
            <a:endParaRPr lang="ja-JP" altLang="en-US" sz="1000" dirty="0">
              <a:sym typeface="+mn-lt"/>
            </a:endParaRPr>
          </a:p>
        </p:txBody>
      </p:sp>
      <p:sp>
        <p:nvSpPr>
          <p:cNvPr id="21" name="テキスト プレースホルダ 9"/>
          <p:cNvSpPr>
            <a:spLocks noGrp="1"/>
          </p:cNvSpPr>
          <p:nvPr>
            <p:custDataLst>
              <p:tags r:id="rId15"/>
            </p:custDataLst>
          </p:nvPr>
        </p:nvSpPr>
        <p:spPr bwMode="auto">
          <a:xfrm>
            <a:off x="4359275"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F504FDD-7240-4F56-944E-7BA193E25930}" type="datetime'''''''''''''''''''''''''''2''''''''''0''''2''''''''''''0'''">
              <a:rPr lang="en-US" altLang="en-US" sz="1000" smtClean="0"/>
              <a:pPr/>
              <a:t>2020</a:t>
            </a:fld>
            <a:endParaRPr kumimoji="0" lang="ja-JP" altLang="en-US" sz="1000" dirty="0">
              <a:sym typeface="+mn-lt"/>
            </a:endParaRPr>
          </a:p>
        </p:txBody>
      </p:sp>
      <p:sp>
        <p:nvSpPr>
          <p:cNvPr id="24" name="テキスト プレースホルダ 9"/>
          <p:cNvSpPr>
            <a:spLocks noGrp="1"/>
          </p:cNvSpPr>
          <p:nvPr>
            <p:custDataLst>
              <p:tags r:id="rId16"/>
            </p:custDataLst>
          </p:nvPr>
        </p:nvSpPr>
        <p:spPr bwMode="auto">
          <a:xfrm>
            <a:off x="1162050"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FB960F-6394-4D79-9A7B-B3224C8801AB}"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17"/>
            </p:custDataLst>
          </p:nvPr>
        </p:nvSpPr>
        <p:spPr bwMode="auto">
          <a:xfrm>
            <a:off x="2227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5F7412-9E3A-4791-91D2-EC4098818DFF}" type="datetime'''''''''20''''''''''''''''''''''''''1''''''8'''''''''''''''''">
              <a:rPr lang="en-US" altLang="en-US" sz="1000" smtClean="0"/>
              <a:pPr/>
              <a:t>2018</a:t>
            </a:fld>
            <a:endParaRPr kumimoji="0" lang="ja-JP" altLang="en-US" sz="1000" dirty="0">
              <a:sym typeface="+mn-lt"/>
            </a:endParaRPr>
          </a:p>
        </p:txBody>
      </p:sp>
      <p:sp>
        <p:nvSpPr>
          <p:cNvPr id="153" name="テキスト プレースホルダ 9">
            <a:extLst>
              <a:ext uri="{FF2B5EF4-FFF2-40B4-BE49-F238E27FC236}">
                <a16:creationId xmlns:a16="http://schemas.microsoft.com/office/drawing/2014/main" id="{74542078-8D86-46C8-A333-FD10B5E4872B}"/>
              </a:ext>
            </a:extLst>
          </p:cNvPr>
          <p:cNvSpPr>
            <a:spLocks noGrp="1"/>
          </p:cNvSpPr>
          <p:nvPr>
            <p:custDataLst>
              <p:tags r:id="rId18"/>
            </p:custDataLst>
          </p:nvPr>
        </p:nvSpPr>
        <p:spPr bwMode="gray">
          <a:xfrm>
            <a:off x="4572000" y="31940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3ED4DC-A45E-4B6D-9EC6-6BCB4C87E241}" type="datetime'''''''''''''2''''''''4''''.''''3'''''''''''''''''''''''">
              <a:rPr lang="en-US" altLang="en-US" sz="1000" smtClean="0"/>
              <a:pPr/>
              <a:t>24.3</a:t>
            </a:fld>
            <a:endParaRPr lang="ja-JP" altLang="en-US" sz="1000" dirty="0">
              <a:sym typeface="+mn-lt"/>
            </a:endParaRPr>
          </a:p>
        </p:txBody>
      </p:sp>
      <p:sp>
        <p:nvSpPr>
          <p:cNvPr id="22" name="テキスト プレースホルダ 9"/>
          <p:cNvSpPr>
            <a:spLocks noGrp="1"/>
          </p:cNvSpPr>
          <p:nvPr>
            <p:custDataLst>
              <p:tags r:id="rId19"/>
            </p:custDataLst>
          </p:nvPr>
        </p:nvSpPr>
        <p:spPr bwMode="auto">
          <a:xfrm>
            <a:off x="32940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3B87D9-E0C8-4BC9-9FD2-D53DD814A257}" type="datetime'''2''''''''''''''''''''''''''''''''0''''1''''''''''9'''''''">
              <a:rPr lang="en-US" altLang="en-US" sz="1000" smtClean="0"/>
              <a:pPr/>
              <a:t>2019</a:t>
            </a:fld>
            <a:endParaRPr kumimoji="0" lang="ja-JP" altLang="en-US" sz="1000" dirty="0">
              <a:sym typeface="+mn-lt"/>
            </a:endParaRPr>
          </a:p>
        </p:txBody>
      </p:sp>
      <p:sp>
        <p:nvSpPr>
          <p:cNvPr id="61" name="テキスト プレースホルダ 9">
            <a:extLst>
              <a:ext uri="{FF2B5EF4-FFF2-40B4-BE49-F238E27FC236}">
                <a16:creationId xmlns:a16="http://schemas.microsoft.com/office/drawing/2014/main" id="{44D3D0D2-FD03-4B8A-AE5D-F285B720CB39}"/>
              </a:ext>
            </a:extLst>
          </p:cNvPr>
          <p:cNvSpPr>
            <a:spLocks noGrp="1"/>
          </p:cNvSpPr>
          <p:nvPr>
            <p:custDataLst>
              <p:tags r:id="rId20"/>
            </p:custDataLst>
          </p:nvPr>
        </p:nvSpPr>
        <p:spPr bwMode="gray">
          <a:xfrm>
            <a:off x="998538" y="537210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EE9C58-9A68-4380-84D9-ECC83542D4DE}" type="datetime'''''''''''''''''''''''''''''''''''''''''''3.''''''2'''''''''">
              <a:rPr lang="en-US" altLang="en-US" sz="1000" smtClean="0"/>
              <a:pPr/>
              <a:t>3.2</a:t>
            </a:fld>
            <a:endParaRPr lang="ja-JP" altLang="en-US" sz="1000" dirty="0">
              <a:sym typeface="+mn-lt"/>
            </a:endParaRPr>
          </a:p>
        </p:txBody>
      </p:sp>
      <p:sp>
        <p:nvSpPr>
          <p:cNvPr id="151" name="テキスト プレースホルダ 9">
            <a:extLst>
              <a:ext uri="{FF2B5EF4-FFF2-40B4-BE49-F238E27FC236}">
                <a16:creationId xmlns:a16="http://schemas.microsoft.com/office/drawing/2014/main" id="{787BF086-0393-4EED-8933-AB6C66CDBAA6}"/>
              </a:ext>
            </a:extLst>
          </p:cNvPr>
          <p:cNvSpPr>
            <a:spLocks noGrp="1"/>
          </p:cNvSpPr>
          <p:nvPr>
            <p:custDataLst>
              <p:tags r:id="rId21"/>
            </p:custDataLst>
          </p:nvPr>
        </p:nvSpPr>
        <p:spPr bwMode="gray">
          <a:xfrm>
            <a:off x="1374775" y="34242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9C8A2F-77CE-47C8-8605-7BAAB1833798}" type="datetime'''2''''''2''''''''''''''''''''''''''.''''0'">
              <a:rPr lang="en-US" altLang="en-US" sz="1000" smtClean="0"/>
              <a:pPr/>
              <a:t>22.0</a:t>
            </a:fld>
            <a:endParaRPr lang="ja-JP" altLang="en-US" sz="1000" dirty="0">
              <a:sym typeface="+mn-lt"/>
            </a:endParaRPr>
          </a:p>
        </p:txBody>
      </p:sp>
      <p:sp>
        <p:nvSpPr>
          <p:cNvPr id="66" name="テキスト プレースホルダ 9">
            <a:extLst>
              <a:ext uri="{FF2B5EF4-FFF2-40B4-BE49-F238E27FC236}">
                <a16:creationId xmlns:a16="http://schemas.microsoft.com/office/drawing/2014/main" id="{8B6585A2-E79F-4777-94E4-274A6DA81B4A}"/>
              </a:ext>
            </a:extLst>
          </p:cNvPr>
          <p:cNvSpPr>
            <a:spLocks noGrp="1"/>
          </p:cNvSpPr>
          <p:nvPr>
            <p:custDataLst>
              <p:tags r:id="rId22"/>
            </p:custDataLst>
          </p:nvPr>
        </p:nvSpPr>
        <p:spPr bwMode="gray">
          <a:xfrm>
            <a:off x="2063750" y="539750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105818-7268-40D6-A9B3-148263D89838}" type="datetime'''''''''''''''''''''''''''''''''''''2''''''.''9'''''''''''''''">
              <a:rPr lang="en-US" altLang="en-US" sz="1000" smtClean="0"/>
              <a:pPr/>
              <a:t>2.9</a:t>
            </a:fld>
            <a:endParaRPr lang="ja-JP" altLang="en-US" sz="1000" dirty="0">
              <a:sym typeface="+mn-lt"/>
            </a:endParaRPr>
          </a:p>
        </p:txBody>
      </p:sp>
      <p:sp>
        <p:nvSpPr>
          <p:cNvPr id="69" name="テキスト プレースホルダ 9">
            <a:extLst>
              <a:ext uri="{FF2B5EF4-FFF2-40B4-BE49-F238E27FC236}">
                <a16:creationId xmlns:a16="http://schemas.microsoft.com/office/drawing/2014/main" id="{CB782800-1D9A-4559-AEFB-78B368F5B563}"/>
              </a:ext>
            </a:extLst>
          </p:cNvPr>
          <p:cNvSpPr>
            <a:spLocks noGrp="1"/>
          </p:cNvSpPr>
          <p:nvPr>
            <p:custDataLst>
              <p:tags r:id="rId23"/>
            </p:custDataLst>
          </p:nvPr>
        </p:nvSpPr>
        <p:spPr bwMode="gray">
          <a:xfrm>
            <a:off x="3130550" y="536416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4D6D49-0769-484A-9558-7517A265D164}" type="datetime'3''''''''''''''.''''''''''''''''''''2'">
              <a:rPr lang="en-US" altLang="en-US" sz="1000" smtClean="0"/>
              <a:pPr/>
              <a:t>3.2</a:t>
            </a:fld>
            <a:endParaRPr lang="ja-JP" altLang="en-US" sz="1000" dirty="0">
              <a:sym typeface="+mn-lt"/>
            </a:endParaRPr>
          </a:p>
        </p:txBody>
      </p:sp>
      <p:sp>
        <p:nvSpPr>
          <p:cNvPr id="148" name="テキスト プレースホルダ 9">
            <a:extLst>
              <a:ext uri="{FF2B5EF4-FFF2-40B4-BE49-F238E27FC236}">
                <a16:creationId xmlns:a16="http://schemas.microsoft.com/office/drawing/2014/main" id="{04FA55AE-A54A-4F3A-B4EE-8E25B7A4B1B9}"/>
              </a:ext>
            </a:extLst>
          </p:cNvPr>
          <p:cNvSpPr>
            <a:spLocks noGrp="1"/>
          </p:cNvSpPr>
          <p:nvPr>
            <p:custDataLst>
              <p:tags r:id="rId24"/>
            </p:custDataLst>
          </p:nvPr>
        </p:nvSpPr>
        <p:spPr bwMode="gray">
          <a:xfrm>
            <a:off x="3506788" y="30638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DB083F-0101-41CE-A516-DD2B012C420B}" type="datetime'''2''''''''''''5''''''''''''.''5'">
              <a:rPr lang="en-US" altLang="en-US" sz="1000" smtClean="0"/>
              <a:pPr/>
              <a:t>25.5</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BDF3DD7F-98E4-4320-A591-833956BCE400}"/>
              </a:ext>
            </a:extLst>
          </p:cNvPr>
          <p:cNvSpPr>
            <a:spLocks noGrp="1"/>
          </p:cNvSpPr>
          <p:nvPr>
            <p:custDataLst>
              <p:tags r:id="rId25"/>
            </p:custDataLst>
          </p:nvPr>
        </p:nvSpPr>
        <p:spPr bwMode="gray">
          <a:xfrm>
            <a:off x="5262563" y="534670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A2A06E-1F27-4457-B0DB-B51F4F3AE608}" type="datetime'''''''''''''''''''3''''''''''''''''.''''''4'''''''">
              <a:rPr lang="en-US" altLang="en-US" sz="1000" smtClean="0"/>
              <a:pPr/>
              <a:t>3.4</a:t>
            </a:fld>
            <a:endParaRPr lang="ja-JP" altLang="en-US" sz="1000" dirty="0">
              <a:sym typeface="+mn-lt"/>
            </a:endParaRPr>
          </a:p>
        </p:txBody>
      </p:sp>
      <p:sp>
        <p:nvSpPr>
          <p:cNvPr id="154" name="テキスト プレースホルダ 9">
            <a:extLst>
              <a:ext uri="{FF2B5EF4-FFF2-40B4-BE49-F238E27FC236}">
                <a16:creationId xmlns:a16="http://schemas.microsoft.com/office/drawing/2014/main" id="{B6AB0045-A340-4163-80D5-459B84D2CD32}"/>
              </a:ext>
            </a:extLst>
          </p:cNvPr>
          <p:cNvSpPr>
            <a:spLocks noGrp="1"/>
          </p:cNvSpPr>
          <p:nvPr>
            <p:custDataLst>
              <p:tags r:id="rId26"/>
            </p:custDataLst>
          </p:nvPr>
        </p:nvSpPr>
        <p:spPr bwMode="gray">
          <a:xfrm>
            <a:off x="5638800" y="29464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BCDB6C-C0C5-4788-A576-9216B044E2A2}" type="datetime'''''2''''''''''''6.''''''''''''''''''7'''''''">
              <a:rPr lang="en-US" altLang="en-US" sz="1000" smtClean="0"/>
              <a:pPr/>
              <a:t>26.7</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ブラジル／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70" name="Chart 69">
            <a:extLst>
              <a:ext uri="{FF2B5EF4-FFF2-40B4-BE49-F238E27FC236}">
                <a16:creationId xmlns:a16="http://schemas.microsoft.com/office/drawing/2014/main" id="{E36372E7-AFD2-490F-BA0B-065198171C6A}"/>
              </a:ext>
            </a:extLst>
          </p:cNvPr>
          <p:cNvGraphicFramePr/>
          <p:nvPr>
            <p:custDataLst>
              <p:tags r:id="rId27"/>
            </p:custData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42"/>
          </a:graphicData>
        </a:graphic>
      </p:graphicFrame>
      <p:sp>
        <p:nvSpPr>
          <p:cNvPr id="39" name="テキスト プレースホルダ 9"/>
          <p:cNvSpPr>
            <a:spLocks noGrp="1"/>
          </p:cNvSpPr>
          <p:nvPr>
            <p:custDataLst>
              <p:tags r:id="rId28"/>
            </p:custDataLst>
          </p:nvPr>
        </p:nvSpPr>
        <p:spPr bwMode="auto">
          <a:xfrm>
            <a:off x="6954838" y="5276850"/>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16DD95F-3C03-4576-8F34-8CB7D676B285}" type="datetime'''''スイ''''''''''''''''''''''''''''''''ス'''''''''''''''''''''''">
              <a:rPr lang="ja-JP" altLang="en-US" sz="1000" smtClean="0"/>
              <a:pPr/>
              <a:t>スイス</a:t>
            </a:fld>
            <a:endParaRPr kumimoji="0" lang="ja-JP" altLang="en-US" sz="1000" dirty="0">
              <a:sym typeface="+mn-lt"/>
            </a:endParaRPr>
          </a:p>
        </p:txBody>
      </p:sp>
      <p:sp>
        <p:nvSpPr>
          <p:cNvPr id="34" name="テキスト プレースホルダ 9"/>
          <p:cNvSpPr>
            <a:spLocks noGrp="1"/>
          </p:cNvSpPr>
          <p:nvPr>
            <p:custDataLst>
              <p:tags r:id="rId29"/>
            </p:custDataLst>
          </p:nvPr>
        </p:nvSpPr>
        <p:spPr bwMode="auto">
          <a:xfrm>
            <a:off x="9077325" y="5448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3E20B55-22E8-4B60-B382-53B4FC53054B}" type="datetime'''''''''中''''''''''''''''''''''''''''''''国'''''''''''">
              <a:rPr lang="ja-JP" altLang="en-US" sz="1000" smtClean="0"/>
              <a:pPr/>
              <a:t>中国</a:t>
            </a:fld>
            <a:endParaRPr kumimoji="0" lang="ja-JP" altLang="en-US" sz="1000" dirty="0">
              <a:sym typeface="+mn-lt"/>
            </a:endParaRPr>
          </a:p>
        </p:txBody>
      </p:sp>
      <p:sp>
        <p:nvSpPr>
          <p:cNvPr id="33" name="テキスト プレースホルダ 9"/>
          <p:cNvSpPr>
            <a:spLocks noGrp="1"/>
          </p:cNvSpPr>
          <p:nvPr>
            <p:custDataLst>
              <p:tags r:id="rId30"/>
            </p:custDataLst>
          </p:nvPr>
        </p:nvSpPr>
        <p:spPr bwMode="auto">
          <a:xfrm>
            <a:off x="9264650" y="3754438"/>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2F3187D-40BA-4CB9-8D37-BB8F2BF7EE6F}" type="datetime'''ア''メ''''''''''''''''''''''''''''''''''リ''''''カ'''''''''''">
              <a:rPr lang="ja-JP" altLang="en-US" sz="1000"/>
              <a:pPr marL="0" indent="0">
                <a:spcBef>
                  <a:spcPct val="0"/>
                </a:spcBef>
                <a:buNone/>
              </a:pPr>
              <a:t>アメリカ</a:t>
            </a:fld>
            <a:endParaRPr kumimoji="0" lang="ja-JP" altLang="en-US" sz="1000" dirty="0">
              <a:sym typeface="+mn-lt"/>
            </a:endParaRPr>
          </a:p>
        </p:txBody>
      </p:sp>
      <p:sp>
        <p:nvSpPr>
          <p:cNvPr id="37" name="テキスト プレースホルダ 9"/>
          <p:cNvSpPr>
            <a:spLocks noGrp="1"/>
          </p:cNvSpPr>
          <p:nvPr>
            <p:custDataLst>
              <p:tags r:id="rId31"/>
            </p:custDataLst>
          </p:nvPr>
        </p:nvSpPr>
        <p:spPr bwMode="auto">
          <a:xfrm>
            <a:off x="7304088" y="55467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F3E8E9C-0D4F-4E4B-82E3-8C6BD25971D6}" type="datetime'''''''日''''''''''本'''''''''''''''''''''''''">
              <a:rPr lang="ja-JP" altLang="en-US" sz="1000" smtClean="0"/>
              <a:pPr/>
              <a:t>日本</a:t>
            </a:fld>
            <a:endParaRPr kumimoji="0" lang="ja-JP" altLang="en-US" sz="1000" dirty="0">
              <a:sym typeface="+mn-lt"/>
            </a:endParaRPr>
          </a:p>
        </p:txBody>
      </p:sp>
      <p:sp>
        <p:nvSpPr>
          <p:cNvPr id="35" name="テキスト プレースホルダ 9"/>
          <p:cNvSpPr>
            <a:spLocks noGrp="1"/>
          </p:cNvSpPr>
          <p:nvPr>
            <p:custDataLst>
              <p:tags r:id="rId32"/>
            </p:custDataLst>
          </p:nvPr>
        </p:nvSpPr>
        <p:spPr bwMode="auto">
          <a:xfrm>
            <a:off x="7915275" y="5772150"/>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6740F49-CA03-4C61-B50D-12343DE5697A}" type="datetime'''''''''''''''''''ド''''''''''''''''''''''''''''''''''イツ'''''''">
              <a:rPr lang="ja-JP" altLang="en-US" sz="1000" smtClean="0"/>
              <a:pPr/>
              <a:t>ドイツ</a:t>
            </a:fld>
            <a:endParaRPr kumimoji="0" lang="ja-JP" altLang="en-US" sz="1000" dirty="0">
              <a:sym typeface="+mn-lt"/>
            </a:endParaRPr>
          </a:p>
        </p:txBody>
      </p:sp>
      <p:sp>
        <p:nvSpPr>
          <p:cNvPr id="51" name="テキスト プレースホルダ 9"/>
          <p:cNvSpPr>
            <a:spLocks noGrp="1"/>
          </p:cNvSpPr>
          <p:nvPr>
            <p:custDataLst>
              <p:tags r:id="rId33"/>
            </p:custDataLst>
          </p:nvPr>
        </p:nvSpPr>
        <p:spPr bwMode="auto">
          <a:xfrm>
            <a:off x="6829425" y="3840163"/>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DE83171-9055-4FE1-939F-1473FD617DF6}" type="datetime'''''''そ''''''''''''''''の''''''''''''他'''''''''''''''''">
              <a:rPr lang="ja-JP" altLang="en-US" sz="1000"/>
              <a:pPr marL="0" indent="0" algn="r">
                <a:spcBef>
                  <a:spcPct val="0"/>
                </a:spcBef>
                <a:buNone/>
              </a:pPr>
              <a:t>その他</a:t>
            </a:fld>
            <a:endParaRPr kumimoji="0" lang="ja-JP" altLang="en-US" sz="1000" dirty="0">
              <a:sym typeface="+mn-lt"/>
            </a:endParaRPr>
          </a:p>
        </p:txBody>
      </p:sp>
      <p:sp>
        <p:nvSpPr>
          <p:cNvPr id="42" name="テキスト ボックス 21"/>
          <p:cNvSpPr txBox="1"/>
          <p:nvPr/>
        </p:nvSpPr>
        <p:spPr>
          <a:xfrm>
            <a:off x="200472" y="652534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endParaRPr lang="ja-JP" altLang="en-US" dirty="0"/>
          </a:p>
        </p:txBody>
      </p:sp>
      <p:sp>
        <p:nvSpPr>
          <p:cNvPr id="19" name="Rectangle 18"/>
          <p:cNvSpPr/>
          <p:nvPr>
            <p:custDataLst>
              <p:tags r:id="rId34"/>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35"/>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36"/>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37"/>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の医療機器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大きく輸出を上回っており、主要な輸入相手国はアメリカ、中国等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997280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主要海外メーカー</a:t>
            </a:r>
          </a:p>
        </p:txBody>
      </p:sp>
      <p:sp>
        <p:nvSpPr>
          <p:cNvPr id="21" name="テキスト ボックス 20"/>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a:t>
            </a:r>
            <a:r>
              <a:rPr lang="en-US" altLang="ja-JP" dirty="0"/>
              <a:t>JETRO</a:t>
            </a:r>
            <a:r>
              <a:rPr lang="ja-JP" altLang="en-US" dirty="0"/>
              <a:t>「ブラジルの医療機器市場と規制」（</a:t>
            </a:r>
            <a:r>
              <a:rPr lang="en-US" altLang="ja-JP" dirty="0"/>
              <a:t>2012</a:t>
            </a:r>
            <a:r>
              <a:rPr lang="ja-JP" altLang="en-US" dirty="0"/>
              <a:t>）</a:t>
            </a:r>
          </a:p>
        </p:txBody>
      </p:sp>
      <p:graphicFrame>
        <p:nvGraphicFramePr>
          <p:cNvPr id="28" name="表 27"/>
          <p:cNvGraphicFramePr>
            <a:graphicFrameLocks noGrp="1"/>
          </p:cNvGraphicFramePr>
          <p:nvPr>
            <p:extLst>
              <p:ext uri="{D42A27DB-BD31-4B8C-83A1-F6EECF244321}">
                <p14:modId xmlns:p14="http://schemas.microsoft.com/office/powerpoint/2010/main" val="2185125616"/>
              </p:ext>
            </p:extLst>
          </p:nvPr>
        </p:nvGraphicFramePr>
        <p:xfrm>
          <a:off x="1345340" y="2471080"/>
          <a:ext cx="7344295" cy="3406194"/>
        </p:xfrm>
        <a:graphic>
          <a:graphicData uri="http://schemas.openxmlformats.org/drawingml/2006/table">
            <a:tbl>
              <a:tblPr firstRow="1" bandRow="1">
                <a:tableStyleId>{2D5ABB26-0587-4C30-8999-92F81FD0307C}</a:tableStyleId>
              </a:tblPr>
              <a:tblGrid>
                <a:gridCol w="1375412">
                  <a:extLst>
                    <a:ext uri="{9D8B030D-6E8A-4147-A177-3AD203B41FA5}">
                      <a16:colId xmlns:a16="http://schemas.microsoft.com/office/drawing/2014/main" val="20000"/>
                    </a:ext>
                  </a:extLst>
                </a:gridCol>
                <a:gridCol w="5968883">
                  <a:extLst>
                    <a:ext uri="{9D8B030D-6E8A-4147-A177-3AD203B41FA5}">
                      <a16:colId xmlns:a16="http://schemas.microsoft.com/office/drawing/2014/main" val="20001"/>
                    </a:ext>
                  </a:extLst>
                </a:gridCol>
              </a:tblGrid>
              <a:tr h="1135398">
                <a:tc>
                  <a:txBody>
                    <a:bodyPr/>
                    <a:lstStyle/>
                    <a:p>
                      <a:pPr algn="ctr" fontAlgn="ctr"/>
                      <a:r>
                        <a:rPr kumimoji="1" lang="en-US" altLang="ja-JP" sz="1400" b="1" kern="1200" baseline="0" dirty="0">
                          <a:solidFill>
                            <a:schemeClr val="bg1"/>
                          </a:solidFill>
                          <a:latin typeface="+mj-lt"/>
                          <a:ea typeface="HGP創英角ｺﾞｼｯｸUB" panose="020B0900000000000000" pitchFamily="50" charset="-128"/>
                          <a:cs typeface="Arial" panose="020B0604020202020204" pitchFamily="34" charset="0"/>
                        </a:rPr>
                        <a:t>Philips</a:t>
                      </a:r>
                      <a:endParaRPr kumimoji="1" lang="ja-JP" altLang="en-US" sz="1400" b="1" kern="1200" baseline="0" dirty="0">
                        <a:solidFill>
                          <a:schemeClr val="bg1"/>
                        </a:solidFill>
                        <a:latin typeface="+mj-lt"/>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57163" marR="0" lvl="1" indent="-157163"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08</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南米初の</a:t>
                      </a: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生産工場の建設を完了。</a:t>
                      </a:r>
                    </a:p>
                    <a:p>
                      <a:pPr marL="157163" marR="0" lvl="1" indent="-157163"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a:t>
                      </a: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間で医療機器分野の企業</a:t>
                      </a: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を計</a:t>
                      </a: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000</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ドルで買収。</a:t>
                      </a:r>
                      <a:b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買収の目的は、ブラジル経済社会開発銀行が行う「</a:t>
                      </a:r>
                      <a:r>
                        <a:rPr kumimoji="1" lang="en-US" altLang="ja-JP" sz="1200" kern="12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Finame</a:t>
                      </a:r>
                      <a:r>
                        <a:rPr kumimoji="1" lang="en-US" altLang="ja-JP" sz="1200" kern="1200" baseline="30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利用にあるとしている。</a:t>
                      </a:r>
                    </a:p>
                  </a:txBody>
                  <a:tcPr marL="180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135398">
                <a:tc>
                  <a:txBody>
                    <a:bodyPr/>
                    <a:lstStyle/>
                    <a:p>
                      <a:pPr marL="0" algn="ctr" defTabSz="914400" rtl="0" eaLnBrk="1" fontAlgn="ctr" latinLnBrk="0" hangingPunct="1"/>
                      <a:r>
                        <a:rPr kumimoji="1" lang="en-US" altLang="ja-JP" sz="1400" b="1" kern="1200" baseline="0" dirty="0">
                          <a:solidFill>
                            <a:schemeClr val="bg1"/>
                          </a:solidFill>
                          <a:latin typeface="+mj-lt"/>
                          <a:ea typeface="HGP創英角ｺﾞｼｯｸUB" panose="020B0900000000000000" pitchFamily="50" charset="-128"/>
                          <a:cs typeface="Arial" panose="020B0604020202020204" pitchFamily="34" charset="0"/>
                        </a:rPr>
                        <a:t>Siemens</a:t>
                      </a:r>
                      <a:endParaRPr kumimoji="1" lang="ja-JP" altLang="en-US" sz="1400" b="1" kern="1200" baseline="0" dirty="0">
                        <a:solidFill>
                          <a:schemeClr val="bg1"/>
                        </a:solidFill>
                        <a:latin typeface="+mj-lt"/>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57163" marR="0" lvl="1" indent="-157163"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かけ、</a:t>
                      </a: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000</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ドルを投資し、</a:t>
                      </a: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線機器や</a:t>
                      </a: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スキャン、</a:t>
                      </a: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生産</a:t>
                      </a:r>
                      <a:b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工場を設置する予定。</a:t>
                      </a:r>
                    </a:p>
                  </a:txBody>
                  <a:tcPr marL="180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135398">
                <a:tc>
                  <a:txBody>
                    <a:bodyPr/>
                    <a:lstStyle/>
                    <a:p>
                      <a:pPr marL="0" algn="ctr" defTabSz="914400" rtl="0" eaLnBrk="1" fontAlgn="ctr" latinLnBrk="0" hangingPunct="1"/>
                      <a:r>
                        <a:rPr kumimoji="1" lang="en-US" altLang="ja-JP" sz="1400" b="1" kern="1200" baseline="0" dirty="0">
                          <a:solidFill>
                            <a:schemeClr val="bg1"/>
                          </a:solidFill>
                          <a:latin typeface="+mj-lt"/>
                          <a:ea typeface="HGP創英角ｺﾞｼｯｸUB" panose="020B0900000000000000" pitchFamily="50" charset="-128"/>
                          <a:cs typeface="Arial" panose="020B0604020202020204" pitchFamily="34" charset="0"/>
                        </a:rPr>
                        <a:t>G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57163" marR="0" lvl="1" indent="-157163"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南米初の工場を設立し、画像診断機器の生産を開始した。同工場には、</a:t>
                      </a:r>
                      <a:b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トレーニングセンターも設置されており、現地スタッフやサプライヤーの研修等を行う。</a:t>
                      </a:r>
                    </a:p>
                  </a:txBody>
                  <a:tcPr marL="180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pSp>
        <p:nvGrpSpPr>
          <p:cNvPr id="10" name="グループ化 7"/>
          <p:cNvGrpSpPr/>
          <p:nvPr/>
        </p:nvGrpSpPr>
        <p:grpSpPr>
          <a:xfrm>
            <a:off x="1136576" y="1916832"/>
            <a:ext cx="7704856"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メーカーの戦略</a:t>
              </a:r>
            </a:p>
          </p:txBody>
        </p:sp>
      </p:grpSp>
      <p:sp>
        <p:nvSpPr>
          <p:cNvPr id="74" name="テキスト ボックス 7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ilip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emen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Esaot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が主要なメーカーとして挙げられる。</a:t>
            </a:r>
          </a:p>
        </p:txBody>
      </p:sp>
      <p:sp>
        <p:nvSpPr>
          <p:cNvPr id="75" name="テキスト ボックス 74"/>
          <p:cNvSpPr txBox="1"/>
          <p:nvPr/>
        </p:nvSpPr>
        <p:spPr>
          <a:xfrm>
            <a:off x="1318692" y="5925913"/>
            <a:ext cx="7488832" cy="288032"/>
          </a:xfrm>
          <a:prstGeom prst="rect">
            <a:avLst/>
          </a:prstGeom>
          <a:noFill/>
        </p:spPr>
        <p:txBody>
          <a:bodyPr wrap="square" lIns="0" tIns="0" rIns="0" bIns="0" rtlCol="0">
            <a:noAutofit/>
          </a:bodyPr>
          <a:lstStyle/>
          <a:p>
            <a:pPr marL="131763" indent="-131763">
              <a:lnSpc>
                <a:spcPct val="113000"/>
              </a:lnSpc>
            </a:pP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ブラジル経済社会開発銀行が行う、低利融資制度。貸付利子が低いため、融資を受けた企業は、実質的に製品を安価で製造・販売することができ、結果として国内での</a:t>
            </a:r>
            <a:b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b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競争力向上に寄与する。融資を受けるためには、製造工場が現地にあることなどの条件がある</a:t>
            </a:r>
          </a:p>
        </p:txBody>
      </p:sp>
    </p:spTree>
    <p:extLst>
      <p:ext uri="{BB962C8B-B14F-4D97-AF65-F5344CB8AC3E}">
        <p14:creationId xmlns:p14="http://schemas.microsoft.com/office/powerpoint/2010/main" val="40121087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p>
        </p:txBody>
      </p:sp>
      <p:graphicFrame>
        <p:nvGraphicFramePr>
          <p:cNvPr id="9" name="表 8"/>
          <p:cNvGraphicFramePr>
            <a:graphicFrameLocks noGrp="1"/>
          </p:cNvGraphicFramePr>
          <p:nvPr>
            <p:extLst>
              <p:ext uri="{D42A27DB-BD31-4B8C-83A1-F6EECF244321}">
                <p14:modId xmlns:p14="http://schemas.microsoft.com/office/powerpoint/2010/main" val="1597969844"/>
              </p:ext>
            </p:extLst>
          </p:nvPr>
        </p:nvGraphicFramePr>
        <p:xfrm>
          <a:off x="200472" y="1139229"/>
          <a:ext cx="9505055" cy="5242098"/>
        </p:xfrm>
        <a:graphic>
          <a:graphicData uri="http://schemas.openxmlformats.org/drawingml/2006/table">
            <a:tbl>
              <a:tblPr firstRow="1" bandRow="1">
                <a:tableStyleId>{5C22544A-7EE6-4342-B048-85BDC9FD1C3A}</a:tableStyleId>
              </a:tblPr>
              <a:tblGrid>
                <a:gridCol w="3096344">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5760639">
                  <a:extLst>
                    <a:ext uri="{9D8B030D-6E8A-4147-A177-3AD203B41FA5}">
                      <a16:colId xmlns:a16="http://schemas.microsoft.com/office/drawing/2014/main" val="20002"/>
                    </a:ext>
                  </a:extLst>
                </a:gridCol>
              </a:tblGrid>
              <a:tr h="261926">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要医療製品</a:t>
                      </a: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6257">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Atrasorb Indústria de Produtos Hospitalares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54</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ソーダ石灰、吸収石灰、救急セット、呼吸保護具</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82445">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Carci Indústria e Comércio de Aparelhos Cirúrgicos e Ortopédicos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66</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バイオメカニクス関連装置・冷却療法用器具・電気療法器具・ リハビリ用フィットネス器・水治療用器具・キット・マッサージ器・治療用テーブル・神経学関連品・整形外科・足病学関連製品・呼吸器・作業療法関連機材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6257">
                <a:tc>
                  <a:txBody>
                    <a:bodyPr/>
                    <a:lstStyle/>
                    <a:p>
                      <a:pPr algn="l" fontAlgn="ct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CISA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Brasile</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不明</a:t>
                      </a:r>
                      <a:endPar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endParaRP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洗浄用ユニット、消毒用ユニット、滅菌用ユニット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6257">
                <a:tc>
                  <a:txBody>
                    <a:bodyPr/>
                    <a:lstStyle/>
                    <a:p>
                      <a:pPr algn="l" fontAlgn="ct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D.F.V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Comercial</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e Industrial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Ltda</a:t>
                      </a:r>
                      <a:endPar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41</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顕微鏡、コルポスコープ</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16257">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Dabi Atlante S/A Indústrias Médico Odontológicas</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46</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画像診断装置、オートクレーブ、吸引システム製品、コンプレッサー、消耗品、インプラント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690691">
                <a:tc>
                  <a:txBody>
                    <a:bodyPr/>
                    <a:lstStyle/>
                    <a:p>
                      <a:pPr algn="l" fontAlgn="ct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FANEM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24</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新生児用消耗品・アクセサリー、手術用吸引機、新生児用ベッド、新生児用温ベッド、トータルケア関連製品、</a:t>
                      </a:r>
                      <a:br>
                        <a:rPr lang="en-US" altLang="ja-JP" sz="950" b="0" i="0" u="none" strike="noStrike" spc="-1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分娩台、光療法関連製品、培養器、測定器、酸素治療装置、研究室用消耗品・アクセサリー、攪拌機、吸引機、コンプレッサー、ヒーターボックス、保全室関連製品、発芽室関連製品、遠心分離機、蒸留器、温室関連製品、</a:t>
                      </a:r>
                      <a:br>
                        <a:rPr lang="en-US" altLang="ja-JP" sz="950" b="0" i="0" u="none" strike="noStrike" spc="-1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ホモジナイザー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6257">
                <a:tc>
                  <a:txBody>
                    <a:bodyPr/>
                    <a:lstStyle/>
                    <a:p>
                      <a:pPr algn="l" fontAlgn="ct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Heartware</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Ltda</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 HW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Sistemas</a:t>
                      </a:r>
                      <a:endPar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92</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心電図、運動力測定などのコンピューターシステム</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320570">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Intermed Equipamento Médico Hospitalar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82</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人工呼吸器グラフ</a:t>
                      </a:r>
                      <a:r>
                        <a:rPr kumimoji="1" lang="ja-JP" altLang="en-US" sz="950" b="0" i="0" u="none" strike="noStrike" kern="1200" spc="-50" baseline="0" dirty="0">
                          <a:solidFill>
                            <a:srgbClr val="000000"/>
                          </a:solidFill>
                          <a:effectLst/>
                          <a:latin typeface="Arial" panose="020B0604020202020204" pitchFamily="34" charset="0"/>
                          <a:ea typeface="ＭＳ Ｐゴシック" panose="020B0600070205080204" pitchFamily="50" charset="-128"/>
                          <a:cs typeface="+mn-cs"/>
                        </a:rPr>
                        <a:t>ィッ</a:t>
                      </a: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クモニタ</a:t>
                      </a:r>
                      <a:r>
                        <a:rPr kumimoji="1" lang="ja-JP" altLang="en-US" sz="950" b="0" i="0" u="none" strike="noStrike" kern="1200" spc="-50" baseline="0" dirty="0">
                          <a:solidFill>
                            <a:srgbClr val="000000"/>
                          </a:solidFill>
                          <a:effectLst/>
                          <a:latin typeface="Arial" panose="020B0604020202020204" pitchFamily="34" charset="0"/>
                          <a:ea typeface="ＭＳ Ｐゴシック" panose="020B0600070205080204" pitchFamily="50" charset="-128"/>
                          <a:cs typeface="+mn-cs"/>
                        </a:rPr>
                        <a:t>ー、</a:t>
                      </a: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加温器</a:t>
                      </a:r>
                      <a:r>
                        <a:rPr lang="ja-JP" altLang="en-US" sz="950" b="0" i="0" u="none" strike="noStrike" spc="-50" baseline="0" dirty="0">
                          <a:solidFill>
                            <a:srgbClr val="000000"/>
                          </a:solidFill>
                          <a:effectLst/>
                          <a:latin typeface="Arial" panose="020B0604020202020204" pitchFamily="34" charset="0"/>
                          <a:ea typeface="ＭＳ Ｐゴシック" panose="020B0600070205080204" pitchFamily="50" charset="-128"/>
                        </a:rPr>
                        <a:t>、</a:t>
                      </a:r>
                      <a:r>
                        <a:rPr kumimoji="1" lang="ja-JP" altLang="en-US" sz="950" b="0" i="0" u="none" strike="noStrike" kern="1200" spc="-50" baseline="0" dirty="0">
                          <a:solidFill>
                            <a:srgbClr val="000000"/>
                          </a:solidFill>
                          <a:effectLst/>
                          <a:latin typeface="Arial" panose="020B0604020202020204" pitchFamily="34" charset="0"/>
                          <a:ea typeface="ＭＳ Ｐゴシック" panose="020B0600070205080204" pitchFamily="50" charset="-128"/>
                          <a:cs typeface="+mn-cs"/>
                        </a:rPr>
                        <a:t>エアーコンプレッサー、エアミキサー、</a:t>
                      </a: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肺換気装置及び付属品</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355974">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LOKTAL MEDICAL ELETRONICS INDÚSTRIA </a:t>
                      </a:r>
                      <a:b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b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E COMÉRCIO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89</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手術用電極、ペン、バイポーラ鉗子、モノポーラ鉗子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6257">
                <a:tc>
                  <a:txBody>
                    <a:bodyPr/>
                    <a:lstStyle/>
                    <a:p>
                      <a:pPr algn="l" fontAlgn="ct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MACOM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Instrumen-tal</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Cirúrgico</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93</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脳神経外科・心血管・顎顔面手術・整形外科・産婦人科・呼吸器科用製品</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6257">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Mercedes IMEC - Indústria Mecano Científica S.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43</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医療用ベッド、マットレス、ストレッチャー、テーブル、家具、イス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355974">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NS Indústria de Aparelhos Médicos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69</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吸入器、加温器、洗浄器及びマイクロスプレー、イオナイザー、吸入器用付属品、外科用吸引器、</a:t>
                      </a:r>
                      <a:br>
                        <a:rPr lang="en-US" altLang="ja-JP" sz="950" b="0" i="0" u="none" strike="noStrike" spc="-1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芳香剤、歯ブラシ用消毒剤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6257">
                <a:tc>
                  <a:txBody>
                    <a:bodyPr/>
                    <a:lstStyle/>
                    <a:p>
                      <a:pPr algn="l" fontAlgn="ct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Omni Med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99</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マルチパラメーターモニター、病床管理システム関連製品</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355974">
                <a:tc>
                  <a:txBody>
                    <a:bodyPr/>
                    <a:lstStyle/>
                    <a:p>
                      <a:pPr algn="l" fontAlgn="ctr"/>
                      <a:r>
                        <a:rPr lang="pt-BR" sz="1000" b="0" i="0" u="none" strike="noStrike" spc="-10" baseline="0" dirty="0">
                          <a:solidFill>
                            <a:srgbClr val="000000"/>
                          </a:solidFill>
                          <a:effectLst/>
                          <a:latin typeface="Arial" panose="020B0604020202020204" pitchFamily="34" charset="0"/>
                          <a:ea typeface="ＭＳ Ｐゴシック" panose="020B0600070205080204" pitchFamily="50" charset="-128"/>
                        </a:rPr>
                        <a:t>Ortosíntese Indústria e Comércio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77</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整形外科用製品、高圧蒸気滅菌器、手術用テーブル、手術用照明装置、洗濯機、乾熱滅菌、超音波洗浄器、</a:t>
                      </a:r>
                      <a:br>
                        <a:rPr lang="en-US" altLang="ja-JP" sz="950" b="0" i="0" u="none" strike="noStrike" spc="-1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温熱療法関連器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355974">
                <a:tc>
                  <a:txBody>
                    <a:bodyPr/>
                    <a:lstStyle/>
                    <a:p>
                      <a:pPr algn="l" fontAlgn="ct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Ritcher</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58</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脂肪吸引器用機材、リトラクター、ボックス、カニューレ、吸引用カニューレ、皮膚科関連製品、フック、</a:t>
                      </a:r>
                      <a:br>
                        <a:rPr lang="en-US" altLang="ja-JP" sz="950" b="0" i="0" u="none" strike="noStrike" spc="-1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ピンセット、ニードルホルダー、ゼスト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16257">
                <a:tc>
                  <a:txBody>
                    <a:bodyPr/>
                    <a:lstStyle/>
                    <a:p>
                      <a:pPr algn="l" fontAlgn="ct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Sitmed</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Equipamentos</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Médicos</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不明</a:t>
                      </a:r>
                      <a:endPar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endParaRP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医療用椅子、ストレッチャー、アクセサリー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216257">
                <a:tc>
                  <a:txBody>
                    <a:bodyPr/>
                    <a:lstStyle/>
                    <a:p>
                      <a:pPr algn="l" fontAlgn="ct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WEM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Equipamentos</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10" baseline="0" dirty="0" err="1">
                          <a:solidFill>
                            <a:srgbClr val="000000"/>
                          </a:solidFill>
                          <a:effectLst/>
                          <a:latin typeface="Arial" panose="020B0604020202020204" pitchFamily="34" charset="0"/>
                          <a:ea typeface="ＭＳ Ｐゴシック" panose="020B0600070205080204" pitchFamily="50" charset="-128"/>
                        </a:rPr>
                        <a:t>Eletrônicos</a:t>
                      </a:r>
                      <a:r>
                        <a:rPr lang="en-US" sz="1000" b="0" i="0" u="none" strike="noStrike" spc="-10" baseline="0" dirty="0">
                          <a:solidFill>
                            <a:srgbClr val="000000"/>
                          </a:solidFill>
                          <a:effectLst/>
                          <a:latin typeface="Arial" panose="020B0604020202020204" pitchFamily="34" charset="0"/>
                          <a:ea typeface="ＭＳ Ｐゴシック" panose="020B0600070205080204" pitchFamily="50" charset="-128"/>
                        </a:rPr>
                        <a:t> Ltda.</a:t>
                      </a: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DADADA"/>
                    </a:solidFill>
                  </a:tcPr>
                </a:tc>
                <a:tc>
                  <a:txBody>
                    <a:bodyPr/>
                    <a:lstStyle/>
                    <a:p>
                      <a:pPr algn="ctr" fontAlgn="ctr"/>
                      <a:r>
                        <a:rPr lang="en-US" altLang="ja-JP" sz="1000" b="0" i="0" u="none" strike="noStrike" spc="-10" baseline="0" dirty="0">
                          <a:solidFill>
                            <a:srgbClr val="000000"/>
                          </a:solidFill>
                          <a:effectLst/>
                          <a:latin typeface="Arial" panose="020B0604020202020204" pitchFamily="34" charset="0"/>
                          <a:ea typeface="ＭＳ Ｐゴシック" panose="020B0600070205080204" pitchFamily="50" charset="-128"/>
                        </a:rPr>
                        <a:t>1985</a:t>
                      </a:r>
                    </a:p>
                  </a:txBody>
                  <a:tcPr marL="72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E8E8E8"/>
                    </a:solidFill>
                  </a:tcPr>
                </a:tc>
                <a:tc>
                  <a:txBody>
                    <a:bodyPr/>
                    <a:lstStyle/>
                    <a:p>
                      <a:pPr algn="l" fontAlgn="ctr"/>
                      <a:r>
                        <a:rPr lang="ja-JP" altLang="en-US" sz="950" b="0" i="0" u="none" strike="noStrike" spc="-10" baseline="0" dirty="0">
                          <a:solidFill>
                            <a:srgbClr val="000000"/>
                          </a:solidFill>
                          <a:effectLst/>
                          <a:latin typeface="Arial" panose="020B0604020202020204" pitchFamily="34" charset="0"/>
                          <a:ea typeface="ＭＳ Ｐゴシック" panose="020B0600070205080204" pitchFamily="50" charset="-128"/>
                        </a:rPr>
                        <a:t>マイクロ電子メス、胎児心拍動・血流検知器、電気手術用の付属品、アルゴンプラズマ使用凝固剤など</a:t>
                      </a:r>
                    </a:p>
                  </a:txBody>
                  <a:tcPr marL="108000" marR="72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ブラジルの医療機器市場と規制」（</a:t>
            </a:r>
            <a:r>
              <a:rPr lang="en-US" altLang="ja-JP" sz="800" dirty="0"/>
              <a:t>2012</a:t>
            </a:r>
            <a:r>
              <a:rPr lang="ja-JP" altLang="en-US" sz="800" dirty="0"/>
              <a:t>）</a:t>
            </a:r>
          </a:p>
        </p:txBody>
      </p:sp>
    </p:spTree>
    <p:extLst>
      <p:ext uri="{BB962C8B-B14F-4D97-AF65-F5344CB8AC3E}">
        <p14:creationId xmlns:p14="http://schemas.microsoft.com/office/powerpoint/2010/main" val="42946209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zh-TW" altLang="en-US" dirty="0"/>
              <a:t>（</a:t>
            </a:r>
            <a:r>
              <a:rPr lang="en-US" altLang="zh-TW" dirty="0"/>
              <a:t>1/3</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026633234"/>
              </p:ext>
            </p:extLst>
          </p:nvPr>
        </p:nvGraphicFramePr>
        <p:xfrm>
          <a:off x="200023" y="1412776"/>
          <a:ext cx="9504000" cy="478692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r>
                        <a:rPr lang="en-US" altLang="ja-JP" sz="1100" dirty="0"/>
                        <a:t>Asahi</a:t>
                      </a:r>
                      <a:r>
                        <a:rPr lang="ja-JP" altLang="en-US" sz="1100" dirty="0"/>
                        <a:t> </a:t>
                      </a:r>
                      <a:r>
                        <a:rPr lang="en-US" altLang="ja-JP" sz="1100" dirty="0" err="1"/>
                        <a:t>Intecc</a:t>
                      </a:r>
                      <a:r>
                        <a:rPr lang="ja-JP" altLang="en-US" sz="1100" dirty="0"/>
                        <a:t> </a:t>
                      </a:r>
                      <a:r>
                        <a:rPr lang="en-US" altLang="ja-JP" sz="1100" dirty="0"/>
                        <a:t>Latin</a:t>
                      </a:r>
                      <a:r>
                        <a:rPr lang="ja-JP" altLang="en-US" sz="1100" dirty="0"/>
                        <a:t> </a:t>
                      </a:r>
                      <a:r>
                        <a:rPr lang="en-US" altLang="ja-JP" sz="1100" dirty="0"/>
                        <a:t>Ltda.</a:t>
                      </a:r>
                      <a:endParaRPr lang="ja-JP" altLang="en-US" sz="1100" dirty="0"/>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a:r>
                        <a:rPr lang="ja-JP" altLang="en-US" sz="1100" dirty="0"/>
                        <a:t>朝日インテ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r>
                        <a:rPr lang="ja-JP" altLang="en-US" sz="1100" dirty="0"/>
                        <a:t>医療機器の販売促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a:r>
                        <a:rPr lang="en-US" altLang="ja-JP" sz="1100" dirty="0"/>
                        <a:t>0</a:t>
                      </a:r>
                      <a:endParaRPr lang="ja-JP" altLang="en-US" sz="1100" dirty="0"/>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altLang="ja-JP" sz="1100" b="0" i="0" u="none" strike="noStrike" kern="1200" dirty="0">
                          <a:solidFill>
                            <a:schemeClr val="tx1"/>
                          </a:solidFill>
                          <a:effectLst/>
                          <a:latin typeface="+mn-lt"/>
                          <a:ea typeface="ＭＳ Ｐゴシック" panose="020B0600070205080204" pitchFamily="50" charset="-128"/>
                          <a:cs typeface="+mn-cs"/>
                        </a:rPr>
                        <a:t>Konica</a:t>
                      </a:r>
                      <a:r>
                        <a:rPr kumimoji="1" lang="ja-JP" altLang="en-US" sz="1100" b="0" i="0" u="none" strike="noStrike" kern="120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dirty="0">
                          <a:solidFill>
                            <a:schemeClr val="tx1"/>
                          </a:solidFill>
                          <a:effectLst/>
                          <a:latin typeface="+mn-lt"/>
                          <a:ea typeface="ＭＳ Ｐゴシック" panose="020B0600070205080204" pitchFamily="50" charset="-128"/>
                          <a:cs typeface="+mn-cs"/>
                        </a:rPr>
                        <a:t>Minolta</a:t>
                      </a:r>
                      <a:r>
                        <a:rPr kumimoji="1" lang="ja-JP" altLang="en-US" sz="1100" b="0" i="0" u="none" strike="noStrike" kern="120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dirty="0">
                          <a:solidFill>
                            <a:schemeClr val="tx1"/>
                          </a:solidFill>
                          <a:effectLst/>
                          <a:latin typeface="+mn-lt"/>
                          <a:ea typeface="ＭＳ Ｐゴシック" panose="020B0600070205080204" pitchFamily="50" charset="-128"/>
                          <a:cs typeface="+mn-cs"/>
                        </a:rPr>
                        <a:t>Healthcare</a:t>
                      </a:r>
                      <a:r>
                        <a:rPr kumimoji="1" lang="ja-JP" altLang="en-US" sz="1100" b="0" i="0" u="none" strike="noStrike" kern="120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dirty="0">
                          <a:solidFill>
                            <a:schemeClr val="tx1"/>
                          </a:solidFill>
                          <a:effectLst/>
                          <a:latin typeface="+mn-lt"/>
                          <a:ea typeface="ＭＳ Ｐゴシック" panose="020B0600070205080204" pitchFamily="50" charset="-128"/>
                          <a:cs typeface="+mn-cs"/>
                        </a:rPr>
                        <a:t>do</a:t>
                      </a:r>
                      <a:r>
                        <a:rPr kumimoji="1" lang="ja-JP" altLang="en-US" sz="1100" b="0" i="0" u="none" strike="noStrike" kern="120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dirty="0">
                          <a:solidFill>
                            <a:schemeClr val="tx1"/>
                          </a:solidFill>
                          <a:effectLst/>
                          <a:latin typeface="+mn-lt"/>
                          <a:ea typeface="ＭＳ Ｐゴシック" panose="020B0600070205080204" pitchFamily="50" charset="-128"/>
                          <a:cs typeface="+mn-cs"/>
                        </a:rPr>
                        <a:t>Brasil</a:t>
                      </a:r>
                      <a:r>
                        <a:rPr kumimoji="1" lang="ja-JP" altLang="en-US" sz="1100" b="0" i="0" u="none" strike="noStrike" kern="120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dirty="0">
                          <a:solidFill>
                            <a:schemeClr val="tx1"/>
                          </a:solidFill>
                          <a:effectLst/>
                          <a:latin typeface="+mn-lt"/>
                          <a:ea typeface="ＭＳ Ｐゴシック" panose="020B0600070205080204" pitchFamily="50" charset="-128"/>
                          <a:cs typeface="+mn-cs"/>
                        </a:rPr>
                        <a:t>Comercio Ltda.</a:t>
                      </a:r>
                      <a:endParaRPr kumimoji="1" lang="pt-BR"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コニカミノルタ</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の販売・サービス、プリンティングセンターの運営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altLang="ja-JP" sz="1100" b="0" i="0" u="none" strike="noStrike" kern="1200" dirty="0">
                          <a:solidFill>
                            <a:schemeClr val="tx1"/>
                          </a:solidFill>
                          <a:effectLst/>
                          <a:latin typeface="+mn-lt"/>
                          <a:ea typeface="ＭＳ Ｐゴシック" panose="020B0600070205080204" pitchFamily="50" charset="-128"/>
                          <a:cs typeface="+mn-cs"/>
                        </a:rPr>
                        <a:t>Kuraray South America Ltda.</a:t>
                      </a:r>
                      <a:endParaRPr kumimoji="1" lang="pt-BR"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クラ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クラレ製品の輸入・販売、情報収集、市場開拓</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16</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100" b="0" i="0" u="none" strike="noStrike" dirty="0">
                          <a:solidFill>
                            <a:schemeClr val="tx1"/>
                          </a:solidFill>
                          <a:effectLst/>
                          <a:latin typeface="+mn-lt"/>
                          <a:ea typeface="ＭＳ Ｐゴシック" panose="020B0600070205080204" pitchFamily="50" charset="-128"/>
                        </a:rPr>
                        <a:t>Nihon Kohden</a:t>
                      </a:r>
                      <a:r>
                        <a:rPr lang="en-US" altLang="ja-JP" sz="1100" b="0" i="0" u="none" strike="noStrike" baseline="0" dirty="0">
                          <a:solidFill>
                            <a:schemeClr val="tx1"/>
                          </a:solidFill>
                          <a:effectLst/>
                          <a:latin typeface="+mn-lt"/>
                          <a:ea typeface="ＭＳ Ｐゴシック" panose="020B0600070205080204" pitchFamily="50" charset="-128"/>
                        </a:rPr>
                        <a:t> do Brasil Lida.</a:t>
                      </a:r>
                      <a:endParaRPr lang="pt-BR"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日本光電</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hangingPunct="1"/>
                      <a:r>
                        <a:rPr lang="ja-JP" altLang="en-US" sz="1000" b="0" i="0" u="none" strike="noStrike" dirty="0">
                          <a:solidFill>
                            <a:schemeClr val="tx1"/>
                          </a:solidFill>
                          <a:effectLst/>
                          <a:latin typeface="+mn-lt"/>
                          <a:ea typeface="ＭＳ Ｐゴシック" panose="020B0600070205080204" pitchFamily="50" charset="-128"/>
                        </a:rPr>
                        <a:t>医用電子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hangingPunct="1"/>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pt-BR" sz="1100" b="0" i="0" u="none" strike="noStrike" dirty="0">
                          <a:solidFill>
                            <a:schemeClr val="tx1"/>
                          </a:solidFill>
                          <a:effectLst/>
                          <a:latin typeface="+mn-lt"/>
                          <a:ea typeface="ＭＳ Ｐゴシック" panose="020B0600070205080204" pitchFamily="50" charset="-128"/>
                        </a:rPr>
                        <a:t>Nipro Medical Corp.Produtos Medicos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hangingPunct="1"/>
                      <a:r>
                        <a:rPr lang="ja-JP" altLang="en-US" sz="1000" b="0" i="0" u="none" strike="noStrike" dirty="0">
                          <a:solidFill>
                            <a:schemeClr val="tx1"/>
                          </a:solidFill>
                          <a:effectLst/>
                          <a:latin typeface="+mn-lt"/>
                          <a:ea typeface="ＭＳ Ｐゴシック" panose="020B0600070205080204" pitchFamily="50" charset="-128"/>
                        </a:rPr>
                        <a:t>医療用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hangingPunct="1"/>
                      <a:r>
                        <a:rPr lang="en-US" altLang="ja-JP" sz="1100" b="0" i="0" u="none" strike="noStrike" dirty="0">
                          <a:solidFill>
                            <a:schemeClr val="tx1"/>
                          </a:solidFill>
                          <a:effectLst/>
                          <a:latin typeface="+mn-lt"/>
                          <a:ea typeface="ＭＳ Ｐゴシック" panose="020B0600070205080204" pitchFamily="50" charset="-128"/>
                        </a:rPr>
                        <a:t>98</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Nipro Medical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器具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31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sz="1100" b="0" i="0" u="none" strike="noStrike" kern="1200" dirty="0">
                          <a:solidFill>
                            <a:schemeClr val="tx1"/>
                          </a:solidFill>
                          <a:effectLst/>
                          <a:latin typeface="+mn-lt"/>
                          <a:ea typeface="ＭＳ Ｐゴシック" panose="020B0600070205080204" pitchFamily="50" charset="-128"/>
                          <a:cs typeface="+mn-cs"/>
                        </a:rPr>
                        <a:t>Olympus Optical do Brasil,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光学、医療機器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sz="1100" b="0" i="0" u="none" strike="noStrike" kern="1200" dirty="0">
                          <a:solidFill>
                            <a:schemeClr val="tx1"/>
                          </a:solidFill>
                          <a:effectLst/>
                          <a:latin typeface="+mn-lt"/>
                          <a:ea typeface="ＭＳ Ｐゴシック" panose="020B0600070205080204" pitchFamily="50" charset="-128"/>
                          <a:cs typeface="+mn-cs"/>
                        </a:rPr>
                        <a:t>OMRON Healthcare Brazil </a:t>
                      </a:r>
                      <a:r>
                        <a:rPr kumimoji="1" lang="en-US" sz="1100" b="0" i="0" u="none" strike="noStrike" kern="1200" dirty="0" err="1">
                          <a:solidFill>
                            <a:schemeClr val="tx1"/>
                          </a:solidFill>
                          <a:effectLst/>
                          <a:latin typeface="+mn-lt"/>
                          <a:ea typeface="ＭＳ Ｐゴシック" panose="020B0600070205080204" pitchFamily="50" charset="-128"/>
                          <a:cs typeface="+mn-cs"/>
                        </a:rPr>
                        <a:t>Participacoes</a:t>
                      </a:r>
                      <a:r>
                        <a:rPr kumimoji="1" lang="en-US" sz="1100" b="0" i="0" u="none" strike="noStrike" kern="1200" dirty="0">
                          <a:solidFill>
                            <a:schemeClr val="tx1"/>
                          </a:solidFill>
                          <a:effectLst/>
                          <a:latin typeface="+mn-lt"/>
                          <a:ea typeface="ＭＳ Ｐゴシック" panose="020B0600070205080204" pitchFamily="50" charset="-128"/>
                          <a:cs typeface="+mn-cs"/>
                        </a:rPr>
                        <a:t> e </a:t>
                      </a:r>
                      <a:r>
                        <a:rPr kumimoji="1" lang="en-US" sz="1100" b="0" i="0" u="none" strike="noStrike" kern="1200" dirty="0" err="1">
                          <a:solidFill>
                            <a:schemeClr val="tx1"/>
                          </a:solidFill>
                          <a:effectLst/>
                          <a:latin typeface="+mn-lt"/>
                          <a:ea typeface="ＭＳ Ｐゴシック" panose="020B0600070205080204" pitchFamily="50" charset="-128"/>
                          <a:cs typeface="+mn-cs"/>
                        </a:rPr>
                        <a:t>Distribuicao</a:t>
                      </a:r>
                      <a:r>
                        <a:rPr kumimoji="1" lang="en-US" sz="1100" b="0" i="0" u="none" strike="noStrike" kern="1200" dirty="0">
                          <a:solidFill>
                            <a:schemeClr val="tx1"/>
                          </a:solidFill>
                          <a:effectLst/>
                          <a:latin typeface="+mn-lt"/>
                          <a:ea typeface="ＭＳ Ｐゴシック" panose="020B0600070205080204" pitchFamily="50" charset="-128"/>
                          <a:cs typeface="+mn-cs"/>
                        </a:rPr>
                        <a:t> de </a:t>
                      </a:r>
                      <a:r>
                        <a:rPr kumimoji="1" lang="en-US" sz="1100" b="0" i="0" u="none" strike="noStrike" kern="1200" dirty="0" err="1">
                          <a:solidFill>
                            <a:schemeClr val="tx1"/>
                          </a:solidFill>
                          <a:effectLst/>
                          <a:latin typeface="+mn-lt"/>
                          <a:ea typeface="ＭＳ Ｐゴシック" panose="020B0600070205080204" pitchFamily="50" charset="-128"/>
                          <a:cs typeface="+mn-cs"/>
                        </a:rPr>
                        <a:t>Produtos</a:t>
                      </a:r>
                      <a:r>
                        <a:rPr kumimoji="1" lang="en-US" sz="1100" b="0" i="0" u="none" strike="noStrike" kern="1200" baseline="0" dirty="0">
                          <a:solidFill>
                            <a:schemeClr val="tx1"/>
                          </a:solidFill>
                          <a:effectLst/>
                          <a:latin typeface="+mn-lt"/>
                          <a:ea typeface="ＭＳ Ｐゴシック" panose="020B0600070205080204" pitchFamily="50" charset="-128"/>
                          <a:cs typeface="+mn-cs"/>
                        </a:rPr>
                        <a:t> Medico-</a:t>
                      </a:r>
                      <a:r>
                        <a:rPr kumimoji="1" lang="en-US" sz="1100" b="0" i="0" u="none" strike="noStrike" kern="1200" baseline="0" dirty="0" err="1">
                          <a:solidFill>
                            <a:schemeClr val="tx1"/>
                          </a:solidFill>
                          <a:effectLst/>
                          <a:latin typeface="+mn-lt"/>
                          <a:ea typeface="ＭＳ Ｐゴシック" panose="020B0600070205080204" pitchFamily="50" charset="-128"/>
                          <a:cs typeface="+mn-cs"/>
                        </a:rPr>
                        <a:t>Hospitalares</a:t>
                      </a:r>
                      <a:r>
                        <a:rPr kumimoji="1" lang="en-US" sz="1100" b="0" i="0" u="none" strike="noStrike" kern="1200" baseline="0" dirty="0">
                          <a:solidFill>
                            <a:schemeClr val="tx1"/>
                          </a:solidFill>
                          <a:effectLst/>
                          <a:latin typeface="+mn-lt"/>
                          <a:ea typeface="ＭＳ Ｐゴシック" panose="020B0600070205080204" pitchFamily="50" charset="-128"/>
                          <a:cs typeface="+mn-cs"/>
                        </a:rPr>
                        <a:t> </a:t>
                      </a:r>
                      <a:r>
                        <a:rPr kumimoji="1" lang="en-US" sz="1100" b="0" i="0" u="none" strike="noStrike" kern="1200" dirty="0">
                          <a:solidFill>
                            <a:schemeClr val="tx1"/>
                          </a:solidFill>
                          <a:effectLst/>
                          <a:latin typeface="+mn-lt"/>
                          <a:ea typeface="ＭＳ Ｐゴシック" panose="020B0600070205080204" pitchFamily="50" charset="-128"/>
                          <a:cs typeface="+mn-cs"/>
                        </a:rPr>
                        <a:t>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ムロ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ブラジルにおける健康機器の販売促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Sawae</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Technology Co., Ltd.</a:t>
                      </a:r>
                      <a:endParaRPr kumimoji="1" 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コニカミノルタ</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ＭＳ Ｐゴシック" panose="020B0600070205080204" pitchFamily="50" charset="-128"/>
                          <a:cs typeface="+mn-cs"/>
                        </a:rPr>
                        <a:t>X</a:t>
                      </a:r>
                      <a:r>
                        <a:rPr kumimoji="1" lang="ja-JP" altLang="en-US" sz="1000" b="0" i="0" u="none" strike="noStrike" kern="1200" dirty="0">
                          <a:solidFill>
                            <a:schemeClr val="tx1"/>
                          </a:solidFill>
                          <a:effectLst/>
                          <a:latin typeface="+mn-lt"/>
                          <a:ea typeface="ＭＳ Ｐゴシック" panose="020B0600070205080204" pitchFamily="50" charset="-128"/>
                          <a:cs typeface="+mn-cs"/>
                        </a:rPr>
                        <a:t>線システム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100" b="0" i="0" u="none" strike="noStrike" kern="1200" dirty="0">
                          <a:solidFill>
                            <a:schemeClr val="tx1"/>
                          </a:solidFill>
                          <a:effectLst/>
                          <a:latin typeface="+mn-lt"/>
                          <a:ea typeface="ＭＳ Ｐゴシック" panose="020B0600070205080204" pitchFamily="50" charset="-128"/>
                          <a:cs typeface="+mn-cs"/>
                        </a:rPr>
                        <a:t>Shimadzu do Brasil Comercio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の販売・保守サービス及び中南米における医療機器・分析試験機の営業統括</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153</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78396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5343697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zh-TW" altLang="en-US" dirty="0"/>
              <a:t>（</a:t>
            </a:r>
            <a:r>
              <a:rPr lang="en-US" altLang="ja-JP" dirty="0"/>
              <a:t>2</a:t>
            </a:r>
            <a:r>
              <a:rPr lang="en-US" altLang="zh-TW" dirty="0"/>
              <a:t>/3</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048186902"/>
              </p:ext>
            </p:extLst>
          </p:nvPr>
        </p:nvGraphicFramePr>
        <p:xfrm>
          <a:off x="201526" y="1227752"/>
          <a:ext cx="9504000" cy="5076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r>
                        <a:rPr lang="en-US" altLang="ja-JP" sz="1100" dirty="0"/>
                        <a:t>SHOFU Dental </a:t>
                      </a:r>
                      <a:r>
                        <a:rPr lang="en-US" altLang="ja-JP" sz="1100" dirty="0" err="1"/>
                        <a:t>Brasil</a:t>
                      </a:r>
                      <a:r>
                        <a:rPr lang="en-US" altLang="ja-JP" sz="1100" baseline="0" dirty="0"/>
                        <a:t> </a:t>
                      </a:r>
                      <a:r>
                        <a:rPr lang="en-US" altLang="ja-JP" sz="1100" baseline="0" dirty="0" err="1"/>
                        <a:t>Comercio</a:t>
                      </a:r>
                      <a:r>
                        <a:rPr lang="en-US" altLang="ja-JP" sz="1100" baseline="0" dirty="0"/>
                        <a:t> de </a:t>
                      </a:r>
                      <a:r>
                        <a:rPr lang="en-US" altLang="ja-JP" sz="1100" baseline="0" dirty="0" err="1"/>
                        <a:t>Produtos</a:t>
                      </a:r>
                      <a:r>
                        <a:rPr lang="en-US" altLang="ja-JP" sz="1100" baseline="0" dirty="0"/>
                        <a:t> </a:t>
                      </a:r>
                      <a:r>
                        <a:rPr lang="en-US" altLang="ja-JP" sz="1100" baseline="0" dirty="0" err="1"/>
                        <a:t>Odontologicos</a:t>
                      </a:r>
                      <a:r>
                        <a:rPr lang="en-US" altLang="ja-JP" sz="1100" baseline="0" dirty="0"/>
                        <a:t> Ltda.</a:t>
                      </a:r>
                      <a:endParaRPr lang="ja-JP" altLang="en-US" sz="1100" dirty="0"/>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a:r>
                        <a:rPr lang="ja-JP" altLang="en-US" sz="1100" dirty="0"/>
                        <a:t>松風</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ＭＳ Ｐゴシック" panose="020B0600070205080204" pitchFamily="50" charset="-128"/>
                          <a:cs typeface="+mn-cs"/>
                        </a:rPr>
                        <a:t>歯科材料、歯科用機器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mn-lt"/>
                          <a:ea typeface="ＭＳ Ｐゴシック" panose="020B0600070205080204" pitchFamily="50" charset="-128"/>
                          <a:cs typeface="+mn-cs"/>
                        </a:rPr>
                        <a:t>不明</a:t>
                      </a:r>
                      <a:endParaRPr kumimoji="1" lang="en-US" altLang="ja-JP" sz="1100" b="0" i="0" u="none" strike="noStrike" kern="1200" cap="none" spc="0" normalizeH="0" baseline="0" noProof="0" dirty="0">
                        <a:ln>
                          <a:noFill/>
                        </a:ln>
                        <a:solidFill>
                          <a:srgbClr val="000000"/>
                        </a:solidFill>
                        <a:effectLst/>
                        <a:uLnTx/>
                        <a:uFillTx/>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fontAlgn="ctr"/>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100" b="0" i="0" u="none" strike="noStrike" kern="1200" dirty="0">
                          <a:solidFill>
                            <a:schemeClr val="tx1"/>
                          </a:solidFill>
                          <a:effectLst/>
                          <a:latin typeface="+mn-lt"/>
                          <a:ea typeface="ＭＳ Ｐゴシック" panose="020B0600070205080204" pitchFamily="50" charset="-128"/>
                          <a:cs typeface="+mn-cs"/>
                        </a:rPr>
                        <a:t>Sysmex do Brasil Industria e Comercio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検体検査試薬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sz="1100" b="0" i="0" u="none" strike="noStrike" kern="1200" dirty="0">
                          <a:solidFill>
                            <a:schemeClr val="tx1"/>
                          </a:solidFill>
                          <a:effectLst/>
                          <a:latin typeface="+mn-lt"/>
                          <a:ea typeface="ＭＳ Ｐゴシック" panose="020B0600070205080204" pitchFamily="50" charset="-128"/>
                          <a:cs typeface="+mn-cs"/>
                        </a:rPr>
                        <a:t>Terumo BCT Tecnologia Medica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100" b="0" i="0" u="none" strike="noStrike" kern="1200" dirty="0">
                          <a:solidFill>
                            <a:schemeClr val="tx1"/>
                          </a:solidFill>
                          <a:effectLst/>
                          <a:latin typeface="+mn-lt"/>
                          <a:ea typeface="ＭＳ Ｐゴシック" panose="020B0600070205080204" pitchFamily="50" charset="-128"/>
                          <a:cs typeface="+mn-cs"/>
                        </a:rPr>
                        <a:t>Terumo Medical do Brasil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医療機器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altLang="ja-JP" sz="1100" b="0" i="0" u="none" strike="noStrike" kern="1200" dirty="0">
                          <a:solidFill>
                            <a:schemeClr val="tx1"/>
                          </a:solidFill>
                          <a:effectLst/>
                          <a:latin typeface="+mn-lt"/>
                          <a:ea typeface="ＭＳ Ｐゴシック" panose="020B0600070205080204" pitchFamily="50" charset="-128"/>
                          <a:cs typeface="+mn-cs"/>
                        </a:rPr>
                        <a:t>Canon</a:t>
                      </a:r>
                      <a:r>
                        <a:rPr kumimoji="1" lang="pt-BR" sz="1100" b="0" i="0" u="none" strike="noStrike" kern="1200" dirty="0">
                          <a:solidFill>
                            <a:schemeClr val="tx1"/>
                          </a:solidFill>
                          <a:effectLst/>
                          <a:latin typeface="+mn-lt"/>
                          <a:ea typeface="ＭＳ Ｐゴシック" panose="020B0600070205080204" pitchFamily="50" charset="-128"/>
                          <a:cs typeface="+mn-cs"/>
                        </a:rPr>
                        <a:t> Medical </a:t>
                      </a:r>
                      <a:r>
                        <a:rPr kumimoji="1" lang="en-US" altLang="ja-JP" sz="1100" b="0" i="0" u="none" strike="noStrike" kern="1200" dirty="0">
                          <a:solidFill>
                            <a:schemeClr val="tx1"/>
                          </a:solidFill>
                          <a:effectLst/>
                          <a:latin typeface="+mn-lt"/>
                          <a:ea typeface="ＭＳ Ｐゴシック" panose="020B0600070205080204" pitchFamily="50" charset="-128"/>
                          <a:cs typeface="+mn-cs"/>
                        </a:rPr>
                        <a:t>Systems</a:t>
                      </a:r>
                      <a:r>
                        <a:rPr kumimoji="1" lang="ja-JP" altLang="en-US" sz="1100" b="0" i="0" u="none" strike="noStrike" kern="1200" dirty="0">
                          <a:solidFill>
                            <a:schemeClr val="tx1"/>
                          </a:solidFill>
                          <a:effectLst/>
                          <a:latin typeface="+mn-lt"/>
                          <a:ea typeface="ＭＳ Ｐゴシック" panose="020B0600070205080204" pitchFamily="50" charset="-128"/>
                          <a:cs typeface="+mn-cs"/>
                        </a:rPr>
                        <a:t> </a:t>
                      </a:r>
                      <a:r>
                        <a:rPr kumimoji="1" lang="pt-BR" sz="1100" b="0" i="0" u="none" strike="noStrike" kern="1200" dirty="0">
                          <a:solidFill>
                            <a:schemeClr val="tx1"/>
                          </a:solidFill>
                          <a:effectLst/>
                          <a:latin typeface="+mn-lt"/>
                          <a:ea typeface="ＭＳ Ｐゴシック" panose="020B0600070205080204" pitchFamily="50" charset="-128"/>
                          <a:cs typeface="+mn-cs"/>
                        </a:rPr>
                        <a:t>do Brasil</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キヤノンメディカル</a:t>
                      </a:r>
                      <a:br>
                        <a:rPr kumimoji="1" lang="en-US" altLang="ja-JP" sz="1100" b="0" i="0" u="none" strike="noStrike" kern="1200" dirty="0">
                          <a:solidFill>
                            <a:schemeClr val="tx1"/>
                          </a:solidFill>
                          <a:effectLst/>
                          <a:latin typeface="+mn-lt"/>
                          <a:ea typeface="ＭＳ Ｐゴシック" panose="020B0600070205080204" pitchFamily="50" charset="-128"/>
                          <a:cs typeface="+mn-cs"/>
                        </a:rPr>
                      </a:br>
                      <a:r>
                        <a:rPr kumimoji="1" lang="ja-JP" altLang="en-US" sz="1100" b="0" i="0" u="none" strike="noStrike" kern="1200" dirty="0">
                          <a:solidFill>
                            <a:schemeClr val="tx1"/>
                          </a:solidFill>
                          <a:effectLst/>
                          <a:latin typeface="+mn-lt"/>
                          <a:ea typeface="ＭＳ Ｐゴシック" panose="020B0600070205080204" pitchFamily="50" charset="-128"/>
                          <a:cs typeface="+mn-cs"/>
                        </a:rPr>
                        <a:t>システムズ</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機器の製造・販売</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100" b="0" i="0" u="none" strike="noStrike" kern="1200" dirty="0">
                          <a:solidFill>
                            <a:schemeClr val="tx1"/>
                          </a:solidFill>
                          <a:effectLst/>
                          <a:latin typeface="+mn-lt"/>
                          <a:ea typeface="ＭＳ Ｐゴシック" panose="020B0600070205080204" pitchFamily="50" charset="-128"/>
                          <a:cs typeface="+mn-cs"/>
                        </a:rPr>
                        <a:t>3-D Matrix</a:t>
                      </a:r>
                      <a:r>
                        <a:rPr kumimoji="1" lang="pt-BR" sz="1100" b="0" i="0" u="none" strike="noStrike" kern="1200" baseline="0" dirty="0">
                          <a:solidFill>
                            <a:schemeClr val="tx1"/>
                          </a:solidFill>
                          <a:effectLst/>
                          <a:latin typeface="+mn-lt"/>
                          <a:ea typeface="ＭＳ Ｐゴシック" panose="020B0600070205080204" pitchFamily="50" charset="-128"/>
                          <a:cs typeface="+mn-cs"/>
                        </a:rPr>
                        <a:t> Da America Latina Representacao Comercial Ltda.</a:t>
                      </a:r>
                      <a:endParaRPr kumimoji="1" lang="pt-BR"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スリー・ディー・マトリ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南米における止血剤等の医療製品事業の展開</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100" b="0" i="0" u="none" strike="noStrike" kern="1200" dirty="0">
                          <a:solidFill>
                            <a:schemeClr val="tx1"/>
                          </a:solidFill>
                          <a:effectLst/>
                          <a:latin typeface="+mn-lt"/>
                          <a:ea typeface="ＭＳ Ｐゴシック" panose="020B0600070205080204" pitchFamily="50" charset="-128"/>
                          <a:cs typeface="+mn-cs"/>
                        </a:rPr>
                        <a:t>NS Industria</a:t>
                      </a:r>
                      <a:r>
                        <a:rPr kumimoji="1" lang="pt-BR" sz="1100" b="0" i="0" u="none" strike="noStrike" kern="1200" baseline="0" dirty="0">
                          <a:solidFill>
                            <a:schemeClr val="tx1"/>
                          </a:solidFill>
                          <a:effectLst/>
                          <a:latin typeface="+mn-lt"/>
                          <a:ea typeface="ＭＳ Ｐゴシック" panose="020B0600070205080204" pitchFamily="50" charset="-128"/>
                          <a:cs typeface="+mn-cs"/>
                        </a:rPr>
                        <a:t> de Aparelhos Medicos Ltda.</a:t>
                      </a:r>
                      <a:endParaRPr kumimoji="1" lang="pt-BR"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ムロ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の販売</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100" b="0" i="0" u="none" strike="noStrike" kern="1200" dirty="0">
                          <a:solidFill>
                            <a:schemeClr val="tx1"/>
                          </a:solidFill>
                          <a:effectLst/>
                          <a:latin typeface="+mn-lt"/>
                          <a:ea typeface="ＭＳ Ｐゴシック" panose="020B0600070205080204" pitchFamily="50" charset="-128"/>
                          <a:cs typeface="+mn-cs"/>
                        </a:rPr>
                        <a:t>NSK America Latina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ナカニシ</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歯科製品の販売・サービス</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100" b="0" i="0" u="none" strike="noStrike" kern="1200" dirty="0">
                          <a:solidFill>
                            <a:schemeClr val="tx1"/>
                          </a:solidFill>
                          <a:effectLst/>
                          <a:latin typeface="+mn-lt"/>
                          <a:ea typeface="ＭＳ Ｐゴシック" panose="020B0600070205080204" pitchFamily="50" charset="-128"/>
                          <a:cs typeface="+mn-cs"/>
                        </a:rPr>
                        <a:t>Ophthalmos</a:t>
                      </a:r>
                      <a:r>
                        <a:rPr kumimoji="1" lang="pt-BR" sz="1100" b="0" i="0" u="none" strike="noStrike" kern="1200" baseline="0" dirty="0">
                          <a:solidFill>
                            <a:schemeClr val="tx1"/>
                          </a:solidFill>
                          <a:effectLst/>
                          <a:latin typeface="+mn-lt"/>
                          <a:ea typeface="ＭＳ Ｐゴシック" panose="020B0600070205080204" pitchFamily="50" charset="-128"/>
                          <a:cs typeface="+mn-cs"/>
                        </a:rPr>
                        <a:t> S.A.</a:t>
                      </a:r>
                      <a:endParaRPr kumimoji="1" lang="pt-BR"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眼科手術用デバイス・目薬等の製造・販売</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100" b="0" i="0" u="none" strike="noStrike" kern="1200" dirty="0">
                          <a:solidFill>
                            <a:schemeClr val="tx1"/>
                          </a:solidFill>
                          <a:effectLst/>
                          <a:latin typeface="+mn-lt"/>
                          <a:ea typeface="ＭＳ Ｐゴシック" panose="020B0600070205080204" pitchFamily="50" charset="-128"/>
                          <a:cs typeface="+mn-cs"/>
                        </a:rPr>
                        <a:t>Optotal Hoya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HOYA</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メガネレンズの販売等</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100" b="0" i="0" u="none" strike="noStrike" kern="1200" dirty="0">
                          <a:solidFill>
                            <a:schemeClr val="tx1"/>
                          </a:solidFill>
                          <a:effectLst/>
                          <a:latin typeface="+mn-lt"/>
                          <a:ea typeface="ＭＳ Ｐゴシック" panose="020B0600070205080204" pitchFamily="50" charset="-128"/>
                          <a:cs typeface="+mn-cs"/>
                        </a:rPr>
                        <a:t>Takara</a:t>
                      </a:r>
                      <a:r>
                        <a:rPr kumimoji="1" lang="pt-BR" sz="1100" b="0" i="0" u="none" strike="noStrike" kern="1200" baseline="0" dirty="0">
                          <a:solidFill>
                            <a:schemeClr val="tx1"/>
                          </a:solidFill>
                          <a:effectLst/>
                          <a:latin typeface="+mn-lt"/>
                          <a:ea typeface="ＭＳ Ｐゴシック" panose="020B0600070205080204" pitchFamily="50" charset="-128"/>
                          <a:cs typeface="+mn-cs"/>
                        </a:rPr>
                        <a:t> Belmont Para America Do Sul Industria E Comercio De Moveis Ltda.</a:t>
                      </a:r>
                      <a:endParaRPr kumimoji="1" lang="pt-BR"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タカラベルモン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美容椅子の製造・販売、歯科機器の輸入・販売</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29</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8" name="テキスト ボックス 9"/>
          <p:cNvSpPr txBox="1"/>
          <p:nvPr/>
        </p:nvSpPr>
        <p:spPr>
          <a:xfrm>
            <a:off x="200025" y="6577139"/>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282118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zh-TW" altLang="en-US" dirty="0"/>
              <a:t>（</a:t>
            </a:r>
            <a:r>
              <a:rPr lang="en-US" altLang="zh-TW" dirty="0"/>
              <a:t>3/3</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466368943"/>
              </p:ext>
            </p:extLst>
          </p:nvPr>
        </p:nvGraphicFramePr>
        <p:xfrm>
          <a:off x="200023" y="1104304"/>
          <a:ext cx="9504000" cy="1620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100" b="0" i="0" u="none" strike="noStrike" kern="1200" dirty="0">
                          <a:solidFill>
                            <a:schemeClr val="tx1"/>
                          </a:solidFill>
                          <a:effectLst/>
                          <a:latin typeface="+mn-lt"/>
                          <a:ea typeface="ＭＳ Ｐゴシック" panose="020B0600070205080204" pitchFamily="50" charset="-128"/>
                          <a:cs typeface="+mn-cs"/>
                        </a:rPr>
                        <a:t>Topcon Brasil Equipamentos Medicos E</a:t>
                      </a:r>
                      <a:r>
                        <a:rPr kumimoji="1" lang="pt-BR" sz="1100" b="0" i="0" u="none" strike="noStrike" kern="1200" baseline="0" dirty="0">
                          <a:solidFill>
                            <a:schemeClr val="tx1"/>
                          </a:solidFill>
                          <a:effectLst/>
                          <a:latin typeface="+mn-lt"/>
                          <a:ea typeface="ＭＳ Ｐゴシック" panose="020B0600070205080204" pitchFamily="50" charset="-128"/>
                          <a:cs typeface="+mn-cs"/>
                        </a:rPr>
                        <a:t> de Posicionamento Ltda.</a:t>
                      </a:r>
                      <a:endParaRPr kumimoji="1" lang="pt-BR"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トプコ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ポジショニング機器、眼科用機器の販売</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fontAlgn="ctr"/>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100" b="0" i="0" u="none" strike="noStrike" kern="1200" dirty="0">
                          <a:solidFill>
                            <a:schemeClr val="tx1"/>
                          </a:solidFill>
                          <a:effectLst/>
                          <a:latin typeface="+mn-lt"/>
                          <a:ea typeface="ＭＳ Ｐゴシック" panose="020B0600070205080204" pitchFamily="50" charset="-128"/>
                          <a:cs typeface="+mn-cs"/>
                        </a:rPr>
                        <a:t>Unicharm do Brasil Industria e Comercio de Productos de Higiene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ユニ・チャー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ベビー関連製品、生理用品の製造・販売</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pt-BR" sz="1100" b="0" i="0" u="none" strike="noStrike" kern="1200" dirty="0">
                          <a:solidFill>
                            <a:schemeClr val="tx1"/>
                          </a:solidFill>
                          <a:effectLst/>
                          <a:latin typeface="+mn-lt"/>
                          <a:ea typeface="ＭＳ Ｐゴシック" panose="020B0600070205080204" pitchFamily="50" charset="-128"/>
                          <a:cs typeface="+mn-cs"/>
                        </a:rPr>
                        <a:t>Zuiko Industria de Maquinas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瑞光</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生理用ナプキン・紙オムツ製品機械の製造及び部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63</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8" name="テキスト ボックス 9"/>
          <p:cNvSpPr txBox="1"/>
          <p:nvPr/>
        </p:nvSpPr>
        <p:spPr>
          <a:xfrm>
            <a:off x="200023"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789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片側の 2 つの角を丸めた四角形 69"/>
          <p:cNvSpPr/>
          <p:nvPr/>
        </p:nvSpPr>
        <p:spPr>
          <a:xfrm>
            <a:off x="1004002" y="3212976"/>
            <a:ext cx="7981446" cy="1225549"/>
          </a:xfrm>
          <a:prstGeom prst="round2SameRect">
            <a:avLst>
              <a:gd name="adj1" fmla="val 5220"/>
              <a:gd name="adj2" fmla="val 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片側の 2 つの角を丸めた四角形 71"/>
          <p:cNvSpPr/>
          <p:nvPr/>
        </p:nvSpPr>
        <p:spPr>
          <a:xfrm rot="10800000">
            <a:off x="1004000" y="4438520"/>
            <a:ext cx="7981446" cy="1223415"/>
          </a:xfrm>
          <a:prstGeom prst="round2SameRect">
            <a:avLst>
              <a:gd name="adj1" fmla="val 4688"/>
              <a:gd name="adj2" fmla="val 0"/>
            </a:avLst>
          </a:prstGeom>
          <a:solidFill>
            <a:srgbClr val="A2B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ブラジル／医療関連／医療機器</a:t>
            </a:r>
          </a:p>
        </p:txBody>
      </p:sp>
      <p:sp>
        <p:nvSpPr>
          <p:cNvPr id="6" name="テキスト プレースホルダー 5"/>
          <p:cNvSpPr>
            <a:spLocks noGrp="1"/>
          </p:cNvSpPr>
          <p:nvPr>
            <p:ph type="body" sz="quarter" idx="15"/>
          </p:nvPr>
        </p:nvSpPr>
        <p:spPr/>
        <p:txBody>
          <a:bodyPr/>
          <a:lstStyle/>
          <a:p>
            <a:r>
              <a:rPr lang="zh-TW" altLang="en-US" dirty="0"/>
              <a:t>業界構造 </a:t>
            </a:r>
            <a:r>
              <a:rPr lang="en-US" altLang="zh-TW" dirty="0"/>
              <a:t>- </a:t>
            </a:r>
            <a:r>
              <a:rPr lang="zh-TW" altLang="en-US" dirty="0"/>
              <a:t>流通（</a:t>
            </a:r>
            <a:r>
              <a:rPr lang="en-US" altLang="zh-TW" dirty="0">
                <a:latin typeface="Arial Black" panose="020B0A04020102020204" pitchFamily="34" charset="0"/>
              </a:rPr>
              <a:t>1/5</a:t>
            </a:r>
            <a:r>
              <a:rPr lang="zh-TW" altLang="en-US" dirty="0"/>
              <a:t>）</a:t>
            </a:r>
          </a:p>
        </p:txBody>
      </p:sp>
      <p:sp>
        <p:nvSpPr>
          <p:cNvPr id="21" name="テキスト ボックス 20"/>
          <p:cNvSpPr txBox="1"/>
          <p:nvPr/>
        </p:nvSpPr>
        <p:spPr>
          <a:xfrm>
            <a:off x="200472" y="6525344"/>
            <a:ext cx="5760640" cy="144016"/>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a:t>
            </a:r>
            <a:r>
              <a:rPr lang="en-US" altLang="ja-JP" dirty="0"/>
              <a:t>JETRO</a:t>
            </a:r>
            <a:r>
              <a:rPr lang="ja-JP" altLang="en-US" dirty="0"/>
              <a:t>「ブラジルの医療機器市場と規制」（</a:t>
            </a:r>
            <a:r>
              <a:rPr lang="en-US" altLang="ja-JP" dirty="0"/>
              <a:t>2012</a:t>
            </a:r>
            <a:r>
              <a:rPr lang="ja-JP" altLang="en-US" dirty="0"/>
              <a:t>）</a:t>
            </a:r>
          </a:p>
        </p:txBody>
      </p:sp>
      <p:grpSp>
        <p:nvGrpSpPr>
          <p:cNvPr id="10" name="グループ化 7"/>
          <p:cNvGrpSpPr/>
          <p:nvPr/>
        </p:nvGrpSpPr>
        <p:grpSpPr>
          <a:xfrm>
            <a:off x="416496" y="2666924"/>
            <a:ext cx="9073008"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サプライチェーンの概略図</a:t>
              </a:r>
            </a:p>
          </p:txBody>
        </p:sp>
      </p:grpSp>
      <p:sp>
        <p:nvSpPr>
          <p:cNvPr id="75" name="テキスト ボックス 74"/>
          <p:cNvSpPr txBox="1"/>
          <p:nvPr/>
        </p:nvSpPr>
        <p:spPr>
          <a:xfrm>
            <a:off x="200472" y="1124744"/>
            <a:ext cx="9505056" cy="1296144"/>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ハイエンド製品の場合はメーカー販売代理店、ローエンド製品の場合は第</a:t>
            </a:r>
            <a:r>
              <a:rPr lang="en-US" altLang="ja-JP" dirty="0"/>
              <a:t>3</a:t>
            </a:r>
            <a:r>
              <a:rPr lang="ja-JP" altLang="en-US" dirty="0"/>
              <a:t>者販売代理店を介して売買されることが一般的である。</a:t>
            </a:r>
          </a:p>
          <a:p>
            <a:pPr marL="444500" lvl="2" indent="-160338" algn="just" fontAlgn="ctr">
              <a:lnSpc>
                <a:spcPct val="110000"/>
              </a:lnSpc>
              <a:spcAft>
                <a:spcPts val="200"/>
              </a:spcAft>
              <a:buClr>
                <a:srgbClr val="5F8AC3"/>
              </a:buClr>
              <a:buSzPct val="80000"/>
              <a:buFont typeface="Wingdings" panose="05000000000000000000" pitchFamily="2" charset="2"/>
              <a:buChar char="l"/>
            </a:pPr>
            <a:r>
              <a:rPr lang="ja-JP" altLang="en-US" sz="1200" dirty="0"/>
              <a:t>大手医療機器メーカーの中には、販売代理店を買収することで、販売体制を強化する動きもある。</a:t>
            </a:r>
            <a:endParaRPr lang="en-US" altLang="ja-JP" sz="1200" dirty="0"/>
          </a:p>
          <a:p>
            <a:pPr>
              <a:spcBef>
                <a:spcPts val="800"/>
              </a:spcBef>
              <a:spcAft>
                <a:spcPts val="1200"/>
              </a:spcAft>
            </a:pPr>
            <a:r>
              <a:rPr lang="ja-JP" altLang="en-US" dirty="0"/>
              <a:t>大都市に本社を持ち、地方部にも支店を持つ大手販売代理店のほか、特定の地域に強い中小販売代理店がある。</a:t>
            </a:r>
          </a:p>
        </p:txBody>
      </p:sp>
      <p:sp>
        <p:nvSpPr>
          <p:cNvPr id="82" name="Rectangle 13"/>
          <p:cNvSpPr>
            <a:spLocks noChangeArrowheads="1"/>
          </p:cNvSpPr>
          <p:nvPr/>
        </p:nvSpPr>
        <p:spPr bwMode="blackWhite">
          <a:xfrm>
            <a:off x="7613860" y="3468564"/>
            <a:ext cx="1116000" cy="1943447"/>
          </a:xfrm>
          <a:prstGeom prst="roundRect">
            <a:avLst>
              <a:gd name="adj" fmla="val 4433"/>
            </a:avLst>
          </a:prstGeom>
          <a:solidFill>
            <a:srgbClr val="FFFFFF"/>
          </a:solidFill>
          <a:ln w="12700">
            <a:noFill/>
            <a:miter lim="800000"/>
            <a:headEnd/>
            <a:tailEnd/>
          </a:ln>
          <a:extLst>
            <a:ext uri="{91240B29-F687-4F45-9708-019B960494DF}">
              <a14:hiddenLine xmlns:a14="http://schemas.microsoft.com/office/drawing/2010/main" w="12700">
                <a:solidFill>
                  <a:srgbClr val="E5E5E5"/>
                </a:solidFill>
                <a:miter lim="800000"/>
                <a:headEnd/>
                <a:tailEnd/>
              </a14:hiddenLine>
            </a:ext>
          </a:extLst>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400" b="1" dirty="0">
                <a:cs typeface="Arial" pitchFamily="34" charset="0"/>
              </a:rPr>
              <a:t>医療機関</a:t>
            </a:r>
          </a:p>
        </p:txBody>
      </p:sp>
      <p:sp>
        <p:nvSpPr>
          <p:cNvPr id="86" name="テキスト ボックス 59"/>
          <p:cNvSpPr txBox="1"/>
          <p:nvPr/>
        </p:nvSpPr>
        <p:spPr>
          <a:xfrm>
            <a:off x="1076008" y="3532538"/>
            <a:ext cx="1368152" cy="576064"/>
          </a:xfrm>
          <a:prstGeom prst="roundRect">
            <a:avLst>
              <a:gd name="adj" fmla="val 7561"/>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77D4ED"/>
                </a:solidFill>
              </a14:hiddenFill>
            </a:ext>
            <a:ext uri="{91240B29-F687-4F45-9708-019B960494DF}">
              <a14:hiddenLine xmlns:a14="http://schemas.microsoft.com/office/drawing/2010/main" w="12700" cap="flat" cmpd="sng" algn="ctr">
                <a:solidFill>
                  <a:srgbClr val="027F9C"/>
                </a:solidFill>
                <a:prstDash val="solid"/>
                <a:round/>
                <a:headEnd type="none" w="med" len="med"/>
                <a:tailEnd type="none" w="med" len="med"/>
              </a14:hiddenLine>
            </a:ext>
          </a:extLst>
        </p:spPr>
        <p:txBody>
          <a:bodyPr wrap="square" lIns="90000" tIns="46800" rIns="9000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nSpc>
                <a:spcPct val="113000"/>
              </a:lnSpc>
              <a:buSzPct val="100000"/>
            </a:pPr>
            <a:r>
              <a:rPr lang="ja-JP" altLang="en-US" sz="1400" b="1" dirty="0">
                <a:solidFill>
                  <a:srgbClr val="000000"/>
                </a:solidFill>
                <a:latin typeface="HGP創英角ｺﾞｼｯｸUB" panose="020B0900000000000000" pitchFamily="50" charset="-128"/>
                <a:ea typeface="HGP創英角ｺﾞｼｯｸUB" panose="020B0900000000000000" pitchFamily="50" charset="-128"/>
                <a:cs typeface="Arial" pitchFamily="34" charset="0"/>
              </a:rPr>
              <a:t>ハイエンド製品</a:t>
            </a:r>
            <a:endParaRPr lang="en-US" altLang="ja-JP" sz="1400" b="1" dirty="0">
              <a:solidFill>
                <a:srgbClr val="000000"/>
              </a:solidFill>
              <a:latin typeface="HGP創英角ｺﾞｼｯｸUB" panose="020B0900000000000000" pitchFamily="50" charset="-128"/>
              <a:ea typeface="HGP創英角ｺﾞｼｯｸUB" panose="020B0900000000000000" pitchFamily="50" charset="-128"/>
              <a:cs typeface="Arial" pitchFamily="34" charset="0"/>
            </a:endParaRPr>
          </a:p>
        </p:txBody>
      </p:sp>
      <p:sp>
        <p:nvSpPr>
          <p:cNvPr id="140" name="右矢印 139"/>
          <p:cNvSpPr/>
          <p:nvPr/>
        </p:nvSpPr>
        <p:spPr>
          <a:xfrm>
            <a:off x="4099357" y="3727377"/>
            <a:ext cx="893069"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1" name="右矢印 140"/>
          <p:cNvSpPr/>
          <p:nvPr/>
        </p:nvSpPr>
        <p:spPr>
          <a:xfrm>
            <a:off x="4099357" y="4948079"/>
            <a:ext cx="893069"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2" name="右矢印 141"/>
          <p:cNvSpPr/>
          <p:nvPr/>
        </p:nvSpPr>
        <p:spPr>
          <a:xfrm>
            <a:off x="6718614" y="4948079"/>
            <a:ext cx="893069"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3" name="右矢印 142"/>
          <p:cNvSpPr/>
          <p:nvPr/>
        </p:nvSpPr>
        <p:spPr>
          <a:xfrm>
            <a:off x="6703374" y="3727377"/>
            <a:ext cx="893069"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テキスト ボックス 59"/>
          <p:cNvSpPr txBox="1"/>
          <p:nvPr/>
        </p:nvSpPr>
        <p:spPr>
          <a:xfrm>
            <a:off x="1076008" y="4758494"/>
            <a:ext cx="1368152" cy="576064"/>
          </a:xfrm>
          <a:prstGeom prst="roundRect">
            <a:avLst>
              <a:gd name="adj" fmla="val 7561"/>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A2BBDC"/>
                </a:solidFill>
              </a14:hiddenFill>
            </a:ext>
            <a:ext uri="{91240B29-F687-4F45-9708-019B960494DF}">
              <a14:hiddenLine xmlns:a14="http://schemas.microsoft.com/office/drawing/2010/main" w="12700" cap="flat" cmpd="sng" algn="ctr">
                <a:solidFill>
                  <a:srgbClr val="3D6AA7"/>
                </a:solidFill>
                <a:prstDash val="solid"/>
                <a:round/>
                <a:headEnd type="none" w="med" len="med"/>
                <a:tailEnd type="none" w="med" len="med"/>
              </a14:hiddenLine>
            </a:ext>
          </a:extLst>
        </p:spPr>
        <p:txBody>
          <a:bodyPr wrap="square" lIns="90000" tIns="46800" rIns="9000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nSpc>
                <a:spcPct val="113000"/>
              </a:lnSpc>
              <a:buSzPct val="100000"/>
            </a:pPr>
            <a:r>
              <a:rPr lang="ja-JP" altLang="en-US" sz="1400" b="1" dirty="0">
                <a:solidFill>
                  <a:srgbClr val="000000"/>
                </a:solidFill>
                <a:latin typeface="HGP創英角ｺﾞｼｯｸUB" panose="020B0900000000000000" pitchFamily="50" charset="-128"/>
                <a:ea typeface="HGP創英角ｺﾞｼｯｸUB" panose="020B0900000000000000" pitchFamily="50" charset="-128"/>
                <a:cs typeface="Arial" pitchFamily="34" charset="0"/>
              </a:rPr>
              <a:t>ローエンド製品</a:t>
            </a:r>
          </a:p>
        </p:txBody>
      </p:sp>
      <p:sp>
        <p:nvSpPr>
          <p:cNvPr id="78" name="Rectangle 13"/>
          <p:cNvSpPr>
            <a:spLocks noChangeArrowheads="1"/>
          </p:cNvSpPr>
          <p:nvPr/>
        </p:nvSpPr>
        <p:spPr bwMode="blackWhite">
          <a:xfrm>
            <a:off x="2588176" y="3468563"/>
            <a:ext cx="1515755" cy="1943447"/>
          </a:xfrm>
          <a:prstGeom prst="roundRect">
            <a:avLst>
              <a:gd name="adj" fmla="val 4434"/>
            </a:avLst>
          </a:prstGeom>
          <a:solidFill>
            <a:srgbClr val="FFFFFF"/>
          </a:solidFill>
          <a:ln w="12700">
            <a:noFill/>
            <a:miter lim="800000"/>
            <a:headEnd/>
            <a:tailEnd/>
          </a:ln>
          <a:extLst>
            <a:ext uri="{91240B29-F687-4F45-9708-019B960494DF}">
              <a14:hiddenLine xmlns:a14="http://schemas.microsoft.com/office/drawing/2010/main" w="12700">
                <a:solidFill>
                  <a:srgbClr val="E5E5E5"/>
                </a:solidFill>
                <a:miter lim="800000"/>
                <a:headEnd/>
                <a:tailEnd/>
              </a14:hiddenLine>
            </a:ext>
          </a:extLst>
        </p:spPr>
        <p:txBody>
          <a:bodyPr lIns="36000" rIns="36000"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400" b="1" dirty="0">
                <a:cs typeface="Arial" pitchFamily="34" charset="0"/>
              </a:rPr>
              <a:t>医療機器メーカー</a:t>
            </a:r>
            <a:endParaRPr lang="en-US" altLang="ja-JP" sz="1400" b="1" dirty="0">
              <a:cs typeface="Arial" pitchFamily="34" charset="0"/>
            </a:endParaRPr>
          </a:p>
          <a:p>
            <a:pPr algn="ctr" defTabSz="955675">
              <a:buClr>
                <a:schemeClr val="bg2"/>
              </a:buClr>
              <a:buSzPct val="100000"/>
            </a:pPr>
            <a:r>
              <a:rPr lang="ja-JP" altLang="en-US" sz="1400" b="1" dirty="0">
                <a:cs typeface="Arial" pitchFamily="34" charset="0"/>
              </a:rPr>
              <a:t>・</a:t>
            </a:r>
            <a:endParaRPr lang="en-US" altLang="ja-JP" sz="1400" b="1" dirty="0">
              <a:cs typeface="Arial" pitchFamily="34" charset="0"/>
            </a:endParaRPr>
          </a:p>
          <a:p>
            <a:pPr algn="ctr" defTabSz="955675">
              <a:buClr>
                <a:schemeClr val="bg2"/>
              </a:buClr>
              <a:buSzPct val="100000"/>
            </a:pPr>
            <a:r>
              <a:rPr lang="ja-JP" altLang="en-US" sz="1400" b="1" dirty="0">
                <a:cs typeface="Arial" pitchFamily="34" charset="0"/>
              </a:rPr>
              <a:t>輸入業者</a:t>
            </a:r>
          </a:p>
        </p:txBody>
      </p:sp>
      <p:sp>
        <p:nvSpPr>
          <p:cNvPr id="81" name="Rectangle 13"/>
          <p:cNvSpPr>
            <a:spLocks noChangeArrowheads="1"/>
          </p:cNvSpPr>
          <p:nvPr/>
        </p:nvSpPr>
        <p:spPr bwMode="blackWhite">
          <a:xfrm>
            <a:off x="5004154" y="3468564"/>
            <a:ext cx="1710775" cy="726825"/>
          </a:xfrm>
          <a:prstGeom prst="roundRect">
            <a:avLst>
              <a:gd name="adj" fmla="val 6524"/>
            </a:avLst>
          </a:prstGeom>
          <a:solidFill>
            <a:srgbClr val="FFFFFF"/>
          </a:solidFill>
          <a:ln w="12700">
            <a:noFill/>
            <a:miter lim="800000"/>
            <a:headEnd/>
            <a:tailEnd/>
          </a:ln>
          <a:extLst>
            <a:ext uri="{91240B29-F687-4F45-9708-019B960494DF}">
              <a14:hiddenLine xmlns:a14="http://schemas.microsoft.com/office/drawing/2010/main" w="12700">
                <a:solidFill>
                  <a:srgbClr val="E5E5E5"/>
                </a:solidFill>
                <a:miter lim="800000"/>
                <a:headEnd/>
                <a:tailEnd/>
              </a14:hiddenLine>
            </a:ext>
          </a:extLst>
        </p:spPr>
        <p:txBody>
          <a:bodyPr rIns="360000"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400" b="1" dirty="0">
                <a:cs typeface="Arial" pitchFamily="34" charset="0"/>
              </a:rPr>
              <a:t>メーカー</a:t>
            </a:r>
            <a:endParaRPr lang="en-US" altLang="ja-JP" sz="1400" b="1" dirty="0">
              <a:cs typeface="Arial" pitchFamily="34" charset="0"/>
            </a:endParaRPr>
          </a:p>
          <a:p>
            <a:pPr algn="ctr" defTabSz="955675">
              <a:buClr>
                <a:schemeClr val="bg2"/>
              </a:buClr>
              <a:buSzPct val="100000"/>
            </a:pPr>
            <a:r>
              <a:rPr lang="ja-JP" altLang="en-US" sz="1400" b="1" dirty="0">
                <a:cs typeface="Arial" pitchFamily="34" charset="0"/>
              </a:rPr>
              <a:t>販売代理店</a:t>
            </a:r>
          </a:p>
        </p:txBody>
      </p:sp>
      <p:grpSp>
        <p:nvGrpSpPr>
          <p:cNvPr id="88" name="グループ化 87"/>
          <p:cNvGrpSpPr/>
          <p:nvPr/>
        </p:nvGrpSpPr>
        <p:grpSpPr>
          <a:xfrm>
            <a:off x="6271035" y="3628034"/>
            <a:ext cx="338387" cy="469983"/>
            <a:chOff x="4160912" y="1916832"/>
            <a:chExt cx="648072" cy="900101"/>
          </a:xfrm>
        </p:grpSpPr>
        <p:sp>
          <p:nvSpPr>
            <p:cNvPr id="89" name="正方形/長方形 88"/>
            <p:cNvSpPr/>
            <p:nvPr/>
          </p:nvSpPr>
          <p:spPr>
            <a:xfrm>
              <a:off x="4160912" y="1916832"/>
              <a:ext cx="504056" cy="9001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4160912" y="19888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正方形/長方形 90"/>
            <p:cNvSpPr/>
            <p:nvPr/>
          </p:nvSpPr>
          <p:spPr>
            <a:xfrm>
              <a:off x="4160912" y="212514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4160912" y="226145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正方形/長方形 92"/>
            <p:cNvSpPr/>
            <p:nvPr/>
          </p:nvSpPr>
          <p:spPr>
            <a:xfrm>
              <a:off x="4160912" y="2397759"/>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正方形/長方形 93"/>
            <p:cNvSpPr/>
            <p:nvPr/>
          </p:nvSpPr>
          <p:spPr>
            <a:xfrm>
              <a:off x="4160912" y="2534065"/>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直角三角形 94"/>
            <p:cNvSpPr/>
            <p:nvPr/>
          </p:nvSpPr>
          <p:spPr>
            <a:xfrm>
              <a:off x="4664968" y="1916832"/>
              <a:ext cx="144016" cy="144016"/>
            </a:xfrm>
            <a:prstGeom prst="rtTriangl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6" name="正方形/長方形 95"/>
            <p:cNvSpPr/>
            <p:nvPr/>
          </p:nvSpPr>
          <p:spPr>
            <a:xfrm>
              <a:off x="4664968" y="2060848"/>
              <a:ext cx="144016" cy="756085"/>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7" name="正方形/長方形 96"/>
            <p:cNvSpPr/>
            <p:nvPr/>
          </p:nvSpPr>
          <p:spPr>
            <a:xfrm>
              <a:off x="4160912" y="267037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9" name="Rectangle 13"/>
          <p:cNvSpPr>
            <a:spLocks noChangeArrowheads="1"/>
          </p:cNvSpPr>
          <p:nvPr/>
        </p:nvSpPr>
        <p:spPr bwMode="blackWhite">
          <a:xfrm>
            <a:off x="5004154" y="4692011"/>
            <a:ext cx="1710775" cy="720000"/>
          </a:xfrm>
          <a:prstGeom prst="roundRect">
            <a:avLst>
              <a:gd name="adj" fmla="val 6083"/>
            </a:avLst>
          </a:prstGeom>
          <a:solidFill>
            <a:srgbClr val="FFFFFF"/>
          </a:solidFill>
          <a:ln w="12700">
            <a:noFill/>
            <a:miter lim="800000"/>
            <a:headEnd/>
            <a:tailEnd/>
          </a:ln>
          <a:extLst>
            <a:ext uri="{91240B29-F687-4F45-9708-019B960494DF}">
              <a14:hiddenLine xmlns:a14="http://schemas.microsoft.com/office/drawing/2010/main" w="12700">
                <a:solidFill>
                  <a:srgbClr val="E5E5E5"/>
                </a:solidFill>
                <a:miter lim="800000"/>
                <a:headEnd/>
                <a:tailEnd/>
              </a14:hiddenLine>
            </a:ext>
          </a:extLst>
        </p:spPr>
        <p:txBody>
          <a:bodyPr rIns="360000"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400" b="1" dirty="0">
                <a:cs typeface="Arial" pitchFamily="34" charset="0"/>
              </a:rPr>
              <a:t>第</a:t>
            </a:r>
            <a:r>
              <a:rPr lang="en-US" altLang="ja-JP" sz="1400" b="1" dirty="0">
                <a:cs typeface="Arial" pitchFamily="34" charset="0"/>
              </a:rPr>
              <a:t>3</a:t>
            </a:r>
            <a:r>
              <a:rPr lang="ja-JP" altLang="en-US" sz="1400" b="1" dirty="0">
                <a:cs typeface="Arial" pitchFamily="34" charset="0"/>
              </a:rPr>
              <a:t>者</a:t>
            </a:r>
            <a:endParaRPr lang="en-US" altLang="ja-JP" sz="1400" b="1" dirty="0">
              <a:cs typeface="Arial" pitchFamily="34" charset="0"/>
            </a:endParaRPr>
          </a:p>
          <a:p>
            <a:pPr algn="ctr" defTabSz="955675">
              <a:buClr>
                <a:schemeClr val="bg2"/>
              </a:buClr>
              <a:buSzPct val="100000"/>
            </a:pPr>
            <a:r>
              <a:rPr lang="ja-JP" altLang="en-US" sz="1400" b="1" dirty="0">
                <a:cs typeface="Arial" pitchFamily="34" charset="0"/>
              </a:rPr>
              <a:t>販売代理店</a:t>
            </a:r>
          </a:p>
        </p:txBody>
      </p:sp>
      <p:grpSp>
        <p:nvGrpSpPr>
          <p:cNvPr id="98" name="グループ化 97"/>
          <p:cNvGrpSpPr/>
          <p:nvPr/>
        </p:nvGrpSpPr>
        <p:grpSpPr>
          <a:xfrm>
            <a:off x="6244186" y="5031555"/>
            <a:ext cx="440284" cy="332831"/>
            <a:chOff x="3644601" y="3978082"/>
            <a:chExt cx="440284" cy="332831"/>
          </a:xfrm>
        </p:grpSpPr>
        <p:grpSp>
          <p:nvGrpSpPr>
            <p:cNvPr id="99" name="グループ化 98"/>
            <p:cNvGrpSpPr/>
            <p:nvPr/>
          </p:nvGrpSpPr>
          <p:grpSpPr>
            <a:xfrm>
              <a:off x="3644601" y="3978082"/>
              <a:ext cx="440284" cy="332831"/>
              <a:chOff x="3644601" y="3978082"/>
              <a:chExt cx="440284" cy="332831"/>
            </a:xfrm>
          </p:grpSpPr>
          <p:sp>
            <p:nvSpPr>
              <p:cNvPr id="101" name="正方形/長方形 100"/>
              <p:cNvSpPr/>
              <p:nvPr/>
            </p:nvSpPr>
            <p:spPr>
              <a:xfrm>
                <a:off x="3644601" y="3983320"/>
                <a:ext cx="342443" cy="326730"/>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2" name="正方形/長方形 101"/>
              <p:cNvSpPr/>
              <p:nvPr/>
            </p:nvSpPr>
            <p:spPr>
              <a:xfrm>
                <a:off x="3669506" y="4004748"/>
                <a:ext cx="292497" cy="92603"/>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正方形/長方形 102"/>
              <p:cNvSpPr/>
              <p:nvPr/>
            </p:nvSpPr>
            <p:spPr>
              <a:xfrm>
                <a:off x="3744914" y="4167401"/>
                <a:ext cx="69849" cy="142649"/>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直角三角形 103"/>
              <p:cNvSpPr/>
              <p:nvPr/>
            </p:nvSpPr>
            <p:spPr>
              <a:xfrm>
                <a:off x="3987044" y="3978082"/>
                <a:ext cx="97841" cy="97841"/>
              </a:xfrm>
              <a:prstGeom prst="rtTriangl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5" name="正方形/長方形 104"/>
              <p:cNvSpPr/>
              <p:nvPr/>
            </p:nvSpPr>
            <p:spPr>
              <a:xfrm>
                <a:off x="3987044" y="4075922"/>
                <a:ext cx="97841" cy="234991"/>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00" name="正方形/長方形 99"/>
            <p:cNvSpPr/>
            <p:nvPr/>
          </p:nvSpPr>
          <p:spPr>
            <a:xfrm>
              <a:off x="3823495" y="4167401"/>
              <a:ext cx="69849" cy="142649"/>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19065693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p>
        </p:txBody>
      </p:sp>
      <p:sp>
        <p:nvSpPr>
          <p:cNvPr id="6" name="テキスト プレースホルダー 5"/>
          <p:cNvSpPr>
            <a:spLocks noGrp="1"/>
          </p:cNvSpPr>
          <p:nvPr>
            <p:ph type="body" sz="quarter" idx="15"/>
          </p:nvPr>
        </p:nvSpPr>
        <p:spPr/>
        <p:txBody>
          <a:bodyPr/>
          <a:lstStyle/>
          <a:p>
            <a:r>
              <a:rPr lang="zh-TW" altLang="en-US" dirty="0"/>
              <a:t>業界構造 </a:t>
            </a:r>
            <a:r>
              <a:rPr lang="en-US" altLang="zh-TW" dirty="0"/>
              <a:t>- </a:t>
            </a:r>
            <a:r>
              <a:rPr lang="zh-TW" altLang="en-US" dirty="0"/>
              <a:t>流通（</a:t>
            </a:r>
            <a:r>
              <a:rPr lang="en-US" altLang="zh-TW" dirty="0">
                <a:latin typeface="Arial Black" panose="020B0A04020102020204" pitchFamily="34" charset="0"/>
              </a:rPr>
              <a:t>2/5</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1182567256"/>
              </p:ext>
            </p:extLst>
          </p:nvPr>
        </p:nvGraphicFramePr>
        <p:xfrm>
          <a:off x="200472" y="1412778"/>
          <a:ext cx="9540516" cy="5013422"/>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1872208">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3672408">
                  <a:extLst>
                    <a:ext uri="{9D8B030D-6E8A-4147-A177-3AD203B41FA5}">
                      <a16:colId xmlns:a16="http://schemas.microsoft.com/office/drawing/2014/main" val="20003"/>
                    </a:ext>
                  </a:extLst>
                </a:gridCol>
                <a:gridCol w="2987788">
                  <a:extLst>
                    <a:ext uri="{9D8B030D-6E8A-4147-A177-3AD203B41FA5}">
                      <a16:colId xmlns:a16="http://schemas.microsoft.com/office/drawing/2014/main" val="20004"/>
                    </a:ext>
                  </a:extLst>
                </a:gridCol>
              </a:tblGrid>
              <a:tr h="367546">
                <a:tc>
                  <a:txBody>
                    <a:bodyPr/>
                    <a:lstStyle/>
                    <a:p>
                      <a:pPr algn="ctr" fontAlgn="ctr" hangingPunct="0"/>
                      <a:r>
                        <a:rPr kumimoji="1" lang="en-US" altLang="ja-JP" sz="11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p>
                  </a:txBody>
                  <a:tcPr marL="0" marR="0"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製品</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メーカー</a:t>
                      </a:r>
                    </a:p>
                  </a:txBody>
                  <a:tcPr marL="0" marR="0"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75526">
                <a:tc>
                  <a:txBody>
                    <a:bodyPr/>
                    <a:lstStyle/>
                    <a:p>
                      <a:pPr algn="ctr" fontAlgn="ctr"/>
                      <a:r>
                        <a:rPr lang="en-US" altLang="ja-JP" sz="1000" b="0" i="0" u="none" strike="noStrike" dirty="0">
                          <a:solidFill>
                            <a:srgbClr val="000000"/>
                          </a:solidFill>
                          <a:effectLst/>
                          <a:latin typeface="+mn-lt"/>
                          <a:ea typeface="+mn-ea"/>
                        </a:rPr>
                        <a:t>1</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mn-lt"/>
                          <a:ea typeface="+mn-ea"/>
                        </a:rPr>
                        <a:t>Importação Indústria e Comércio Ambriex S/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mn-lt"/>
                          <a:ea typeface="+mn-ea"/>
                        </a:rPr>
                        <a:t>1954</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mn-lt"/>
                          <a:ea typeface="+mn-ea"/>
                        </a:rPr>
                        <a:t>心臓画像・電気生理学的画像システム、肺機能・運動生理学用診断システム、水質モニター装置、</a:t>
                      </a:r>
                      <a:r>
                        <a:rPr lang="ja-JP" altLang="en-US" sz="950" b="0" i="0" u="none" strike="noStrike" spc="-20" baseline="0" dirty="0" err="1">
                          <a:solidFill>
                            <a:srgbClr val="000000"/>
                          </a:solidFill>
                          <a:effectLst/>
                          <a:latin typeface="+mn-lt"/>
                          <a:ea typeface="+mn-ea"/>
                        </a:rPr>
                        <a:t>ｐ</a:t>
                      </a:r>
                      <a:r>
                        <a:rPr lang="en-US" altLang="ja-JP" sz="950" b="0" i="0" u="none" strike="noStrike" spc="-20" baseline="0" dirty="0">
                          <a:solidFill>
                            <a:srgbClr val="000000"/>
                          </a:solidFill>
                          <a:effectLst/>
                          <a:latin typeface="+mn-lt"/>
                          <a:ea typeface="+mn-ea"/>
                        </a:rPr>
                        <a:t>H</a:t>
                      </a:r>
                      <a:r>
                        <a:rPr lang="ja-JP" altLang="en-US" sz="950" b="0" i="0" u="none" strike="noStrike" spc="-20" baseline="0" dirty="0">
                          <a:solidFill>
                            <a:srgbClr val="000000"/>
                          </a:solidFill>
                          <a:effectLst/>
                          <a:latin typeface="+mn-lt"/>
                          <a:ea typeface="+mn-ea"/>
                        </a:rPr>
                        <a:t>計･塩分濃度計･導電率計･濁度計･溶存酸素計･温度計、炭化水素モニター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mn-lt"/>
                          <a:ea typeface="+mn-ea"/>
                        </a:rPr>
                        <a:t>Horiba</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Omega Medical </a:t>
                      </a:r>
                      <a:r>
                        <a:rPr lang="en-US" sz="950" b="0" i="0" u="none" strike="noStrike" spc="-20" baseline="0" dirty="0" err="1">
                          <a:solidFill>
                            <a:srgbClr val="000000"/>
                          </a:solidFill>
                          <a:effectLst/>
                          <a:latin typeface="+mn-lt"/>
                          <a:ea typeface="+mn-ea"/>
                        </a:rPr>
                        <a:t>Imag-ing</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Ferraris</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Respiratory</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Stanford research</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77850">
                <a:tc>
                  <a:txBody>
                    <a:bodyPr/>
                    <a:lstStyle/>
                    <a:p>
                      <a:pPr algn="ctr" fontAlgn="ctr"/>
                      <a:r>
                        <a:rPr lang="en-US" altLang="ja-JP" sz="1000" b="0" i="0" u="none" strike="noStrike" dirty="0">
                          <a:solidFill>
                            <a:srgbClr val="000000"/>
                          </a:solidFill>
                          <a:effectLst/>
                          <a:latin typeface="+mn-lt"/>
                          <a:ea typeface="+mn-ea"/>
                        </a:rPr>
                        <a:t>2</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mn-lt"/>
                          <a:ea typeface="+mn-ea"/>
                        </a:rPr>
                        <a:t>BIOCAM - EQUIPAMENTO MÉDICO HOSPITALAR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mn-lt"/>
                          <a:ea typeface="+mn-ea"/>
                        </a:rPr>
                        <a:t>1999</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mn-lt"/>
                          <a:ea typeface="+mn-ea"/>
                        </a:rPr>
                        <a:t>各種モニター、心電図装置、除細動器、手術用吸引器、遠心分離器、</a:t>
                      </a:r>
                      <a:br>
                        <a:rPr lang="en-US" altLang="ja-JP" sz="950" b="0" i="0" u="none" strike="noStrike" spc="-20" baseline="0" dirty="0">
                          <a:solidFill>
                            <a:srgbClr val="000000"/>
                          </a:solidFill>
                          <a:effectLst/>
                          <a:latin typeface="+mn-lt"/>
                          <a:ea typeface="+mn-ea"/>
                        </a:rPr>
                      </a:br>
                      <a:r>
                        <a:rPr lang="ja-JP" altLang="en-US" sz="950" b="0" i="0" u="none" strike="noStrike" spc="-20" baseline="0" dirty="0">
                          <a:solidFill>
                            <a:srgbClr val="000000"/>
                          </a:solidFill>
                          <a:effectLst/>
                          <a:latin typeface="+mn-lt"/>
                          <a:ea typeface="+mn-ea"/>
                        </a:rPr>
                        <a:t>保存容器、空気圧縮器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mn-lt"/>
                          <a:ea typeface="+mn-ea"/>
                        </a:rPr>
                        <a:t>FANEM</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STRYKER</a:t>
                      </a:r>
                      <a:r>
                        <a:rPr lang="ja-JP" altLang="en-US" sz="950" b="0" i="0" u="none" strike="noStrike" spc="-20" baseline="0" dirty="0" err="1">
                          <a:solidFill>
                            <a:srgbClr val="000000"/>
                          </a:solidFill>
                          <a:effectLst/>
                          <a:latin typeface="+mn-lt"/>
                          <a:ea typeface="+mn-ea"/>
                        </a:rPr>
                        <a:t>、</a:t>
                      </a:r>
                      <a:r>
                        <a:rPr lang="en-US" sz="950" b="0" i="0" u="none" strike="noStrike" spc="-20" baseline="0" dirty="0" err="1">
                          <a:solidFill>
                            <a:srgbClr val="000000"/>
                          </a:solidFill>
                          <a:effectLst/>
                          <a:latin typeface="+mn-lt"/>
                          <a:ea typeface="+mn-ea"/>
                        </a:rPr>
                        <a:t>Pró</a:t>
                      </a:r>
                      <a:r>
                        <a:rPr lang="en-US" sz="950" b="0" i="0" u="none" strike="noStrike" spc="-20" baseline="0" dirty="0">
                          <a:solidFill>
                            <a:srgbClr val="000000"/>
                          </a:solidFill>
                          <a:effectLst/>
                          <a:latin typeface="+mn-lt"/>
                          <a:ea typeface="+mn-ea"/>
                        </a:rPr>
                        <a:t>-life</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77850">
                <a:tc>
                  <a:txBody>
                    <a:bodyPr/>
                    <a:lstStyle/>
                    <a:p>
                      <a:pPr algn="ctr" fontAlgn="ctr"/>
                      <a:r>
                        <a:rPr lang="en-US" altLang="ja-JP" sz="1000" b="0" i="0" u="none" strike="noStrike">
                          <a:solidFill>
                            <a:srgbClr val="000000"/>
                          </a:solidFill>
                          <a:effectLst/>
                          <a:latin typeface="+mn-lt"/>
                          <a:ea typeface="+mn-ea"/>
                        </a:rPr>
                        <a:t>3</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mn-lt"/>
                          <a:ea typeface="+mn-ea"/>
                        </a:rPr>
                        <a:t>Bley Med Equipamentos Médicos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mn-lt"/>
                          <a:ea typeface="+mn-ea"/>
                        </a:rPr>
                        <a:t>20</a:t>
                      </a:r>
                      <a:r>
                        <a:rPr lang="ja-JP" altLang="en-US" sz="1000" b="0" i="0" u="none" strike="noStrike" spc="-20" baseline="0" dirty="0">
                          <a:solidFill>
                            <a:srgbClr val="000000"/>
                          </a:solidFill>
                          <a:effectLst/>
                          <a:latin typeface="+mn-lt"/>
                          <a:ea typeface="+mn-ea"/>
                        </a:rPr>
                        <a:t>年</a:t>
                      </a:r>
                      <a:endParaRPr lang="en-US" altLang="ja-JP" sz="1000" b="0" i="0" u="none" strike="noStrike" spc="-20" baseline="0" dirty="0">
                        <a:solidFill>
                          <a:srgbClr val="000000"/>
                        </a:solidFill>
                        <a:effectLst/>
                        <a:latin typeface="+mn-lt"/>
                        <a:ea typeface="+mn-ea"/>
                      </a:endParaRPr>
                    </a:p>
                    <a:p>
                      <a:pPr algn="ctr" fontAlgn="ctr"/>
                      <a:r>
                        <a:rPr lang="ja-JP" altLang="en-US" sz="1000" b="0" i="0" u="none" strike="noStrike" spc="-20" baseline="0" dirty="0">
                          <a:solidFill>
                            <a:srgbClr val="000000"/>
                          </a:solidFill>
                          <a:effectLst/>
                          <a:latin typeface="+mn-lt"/>
                          <a:ea typeface="+mn-ea"/>
                        </a:rPr>
                        <a:t>以上</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mn-lt"/>
                          <a:ea typeface="+mn-ea"/>
                        </a:rPr>
                        <a:t>オートクレーブ、電子メス、植え込み型除細動器、除細動器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err="1">
                          <a:solidFill>
                            <a:srgbClr val="000000"/>
                          </a:solidFill>
                          <a:effectLst/>
                          <a:latin typeface="+mn-lt"/>
                          <a:ea typeface="+mn-ea"/>
                        </a:rPr>
                        <a:t>Cristófoli</a:t>
                      </a:r>
                      <a:r>
                        <a:rPr lang="ja-JP" altLang="en-US" sz="950" b="0" i="0" u="none" strike="noStrike" spc="-20" baseline="0" dirty="0" err="1">
                          <a:solidFill>
                            <a:srgbClr val="000000"/>
                          </a:solidFill>
                          <a:effectLst/>
                          <a:latin typeface="+mn-lt"/>
                          <a:ea typeface="+mn-ea"/>
                        </a:rPr>
                        <a:t>、</a:t>
                      </a:r>
                      <a:r>
                        <a:rPr lang="en-US" sz="950" b="0" i="0" u="none" strike="noStrike" spc="-20" baseline="0" dirty="0" err="1">
                          <a:solidFill>
                            <a:srgbClr val="000000"/>
                          </a:solidFill>
                          <a:effectLst/>
                          <a:latin typeface="+mn-lt"/>
                          <a:ea typeface="+mn-ea"/>
                        </a:rPr>
                        <a:t>HeartSine</a:t>
                      </a:r>
                      <a:r>
                        <a:rPr lang="en-US" sz="950" b="0" i="0" u="none" strike="noStrike" spc="-20" baseline="0" dirty="0">
                          <a:solidFill>
                            <a:srgbClr val="000000"/>
                          </a:solidFill>
                          <a:effectLst/>
                          <a:latin typeface="+mn-lt"/>
                          <a:ea typeface="+mn-ea"/>
                        </a:rPr>
                        <a:t> Technologies</a:t>
                      </a:r>
                      <a:r>
                        <a:rPr lang="ja-JP" altLang="en-US" sz="950" b="0" i="0" u="none" strike="noStrike" spc="-20" baseline="0" dirty="0" err="1">
                          <a:solidFill>
                            <a:srgbClr val="000000"/>
                          </a:solidFill>
                          <a:effectLst/>
                          <a:latin typeface="+mn-lt"/>
                          <a:ea typeface="+mn-ea"/>
                        </a:rPr>
                        <a:t>、</a:t>
                      </a:r>
                      <a:r>
                        <a:rPr lang="en-US" sz="950" b="0" i="0" u="none" strike="noStrike" spc="-20" baseline="0" dirty="0" err="1">
                          <a:solidFill>
                            <a:srgbClr val="000000"/>
                          </a:solidFill>
                          <a:effectLst/>
                          <a:latin typeface="+mn-lt"/>
                          <a:ea typeface="+mn-ea"/>
                        </a:rPr>
                        <a:t>Microem</a:t>
                      </a:r>
                      <a:endParaRPr lang="en-US" sz="9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84200">
                <a:tc>
                  <a:txBody>
                    <a:bodyPr/>
                    <a:lstStyle/>
                    <a:p>
                      <a:pPr algn="ctr" fontAlgn="ctr"/>
                      <a:r>
                        <a:rPr lang="en-US" altLang="ja-JP" sz="1000" b="0" i="0" u="none" strike="noStrike">
                          <a:solidFill>
                            <a:srgbClr val="000000"/>
                          </a:solidFill>
                          <a:effectLst/>
                          <a:latin typeface="+mn-lt"/>
                          <a:ea typeface="+mn-ea"/>
                        </a:rPr>
                        <a:t>4</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mn-lt"/>
                          <a:ea typeface="+mn-ea"/>
                        </a:rPr>
                        <a:t>Brasmédica Comércio, Importação e Exportação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mn-lt"/>
                          <a:ea typeface="+mn-ea"/>
                        </a:rPr>
                        <a:t>1998</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mn-lt"/>
                          <a:ea typeface="+mn-ea"/>
                        </a:rPr>
                        <a:t>ヘモグロビン測定装置などの計器</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ja-JP" altLang="en-US" sz="950" b="0" i="0" u="none" strike="noStrike" spc="-20" baseline="0" dirty="0">
                          <a:solidFill>
                            <a:srgbClr val="000000"/>
                          </a:solidFill>
                          <a:effectLst/>
                          <a:latin typeface="+mn-lt"/>
                          <a:ea typeface="+mn-ea"/>
                        </a:rPr>
                        <a:t>不明</a:t>
                      </a:r>
                      <a:endParaRPr lang="en-US" sz="9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93479">
                <a:tc>
                  <a:txBody>
                    <a:bodyPr/>
                    <a:lstStyle/>
                    <a:p>
                      <a:pPr algn="ctr" fontAlgn="ctr"/>
                      <a:r>
                        <a:rPr lang="en-US" altLang="ja-JP" sz="1000" b="0" i="0" u="none" strike="noStrike" dirty="0">
                          <a:solidFill>
                            <a:srgbClr val="000000"/>
                          </a:solidFill>
                          <a:effectLst/>
                          <a:latin typeface="+mn-lt"/>
                          <a:ea typeface="+mn-ea"/>
                        </a:rPr>
                        <a:t>5</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r>
                        <a:rPr kumimoji="1" lang="pt-BR" altLang="ja-JP" sz="1000" b="0" i="0" u="none" strike="noStrike" kern="1200" spc="-20" baseline="0" dirty="0">
                          <a:solidFill>
                            <a:srgbClr val="000000"/>
                          </a:solidFill>
                          <a:effectLst/>
                          <a:latin typeface="+mn-lt"/>
                          <a:ea typeface="+mn-ea"/>
                          <a:cs typeface="+mn-cs"/>
                        </a:rPr>
                        <a:t>BSB MEDICAL ASSIST. TÉCNICA E COM. DE EQUIP. HOSPITALARES LTDA. </a:t>
                      </a:r>
                      <a:endParaRPr kumimoji="1" lang="pt-BR" altLang="ja-JP" sz="1000" b="0" i="0" u="none" strike="noStrike" kern="1200" spc="-20" baseline="0" dirty="0">
                        <a:solidFill>
                          <a:schemeClr val="dk1"/>
                        </a:solidFill>
                        <a:latin typeface="+mn-lt"/>
                        <a:ea typeface="+mn-ea"/>
                        <a:cs typeface="+mn-cs"/>
                      </a:endParaRP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mn-lt"/>
                          <a:ea typeface="+mn-ea"/>
                        </a:rPr>
                        <a:t>2005</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mn-lt"/>
                          <a:ea typeface="+mn-ea"/>
                        </a:rPr>
                        <a:t>アーチ手術機材、デジタル</a:t>
                      </a:r>
                      <a:r>
                        <a:rPr lang="en-US" altLang="ja-JP" sz="950" b="0" i="0" u="none" strike="noStrike" spc="-20" baseline="0" dirty="0">
                          <a:solidFill>
                            <a:srgbClr val="000000"/>
                          </a:solidFill>
                          <a:effectLst/>
                          <a:latin typeface="+mn-lt"/>
                          <a:ea typeface="+mn-ea"/>
                        </a:rPr>
                        <a:t>X</a:t>
                      </a:r>
                      <a:r>
                        <a:rPr lang="ja-JP" altLang="en-US" sz="950" b="0" i="0" u="none" strike="noStrike" spc="-20" baseline="0" dirty="0">
                          <a:solidFill>
                            <a:srgbClr val="000000"/>
                          </a:solidFill>
                          <a:effectLst/>
                          <a:latin typeface="+mn-lt"/>
                          <a:ea typeface="+mn-ea"/>
                        </a:rPr>
                        <a:t>線装置、ポータブル</a:t>
                      </a:r>
                      <a:r>
                        <a:rPr lang="en-US" altLang="ja-JP" sz="950" b="0" i="0" u="none" strike="noStrike" spc="-20" baseline="0" dirty="0">
                          <a:solidFill>
                            <a:srgbClr val="000000"/>
                          </a:solidFill>
                          <a:effectLst/>
                          <a:latin typeface="+mn-lt"/>
                          <a:ea typeface="+mn-ea"/>
                        </a:rPr>
                        <a:t>X</a:t>
                      </a:r>
                      <a:r>
                        <a:rPr lang="ja-JP" altLang="en-US" sz="950" b="0" i="0" u="none" strike="noStrike" spc="-20" baseline="0" dirty="0">
                          <a:solidFill>
                            <a:srgbClr val="000000"/>
                          </a:solidFill>
                          <a:effectLst/>
                          <a:latin typeface="+mn-lt"/>
                          <a:ea typeface="+mn-ea"/>
                        </a:rPr>
                        <a:t>線装置、</a:t>
                      </a:r>
                      <a:br>
                        <a:rPr lang="en-US" altLang="ja-JP" sz="950" b="0" i="0" u="none" strike="noStrike" spc="-20" baseline="0" dirty="0">
                          <a:solidFill>
                            <a:srgbClr val="000000"/>
                          </a:solidFill>
                          <a:effectLst/>
                          <a:latin typeface="+mn-lt"/>
                          <a:ea typeface="+mn-ea"/>
                        </a:rPr>
                      </a:br>
                      <a:r>
                        <a:rPr lang="ja-JP" altLang="en-US" sz="950" b="0" i="0" u="none" strike="noStrike" spc="-20" baseline="0" dirty="0">
                          <a:solidFill>
                            <a:srgbClr val="000000"/>
                          </a:solidFill>
                          <a:effectLst/>
                          <a:latin typeface="+mn-lt"/>
                          <a:ea typeface="+mn-ea"/>
                        </a:rPr>
                        <a:t>マンモグラフィ、</a:t>
                      </a:r>
                      <a:r>
                        <a:rPr lang="en-US" altLang="ja-JP" sz="950" b="0" i="0" u="none" strike="noStrike" spc="-20" baseline="0" dirty="0">
                          <a:solidFill>
                            <a:srgbClr val="000000"/>
                          </a:solidFill>
                          <a:effectLst/>
                          <a:latin typeface="+mn-lt"/>
                          <a:ea typeface="+mn-ea"/>
                        </a:rPr>
                        <a:t>MRI</a:t>
                      </a:r>
                      <a:r>
                        <a:rPr lang="ja-JP" altLang="en-US" sz="950" b="0" i="0" u="none" strike="noStrike" spc="-20" baseline="0" dirty="0" err="1">
                          <a:solidFill>
                            <a:srgbClr val="000000"/>
                          </a:solidFill>
                          <a:effectLst/>
                          <a:latin typeface="+mn-lt"/>
                          <a:ea typeface="+mn-ea"/>
                        </a:rPr>
                        <a:t>、</a:t>
                      </a:r>
                      <a:r>
                        <a:rPr lang="ja-JP" altLang="en-US" sz="950" b="0" i="0" u="none" strike="noStrike" spc="-20" baseline="0" dirty="0">
                          <a:solidFill>
                            <a:srgbClr val="000000"/>
                          </a:solidFill>
                          <a:effectLst/>
                          <a:latin typeface="+mn-lt"/>
                          <a:ea typeface="+mn-ea"/>
                        </a:rPr>
                        <a:t>放射線治療シミュレータ、超音波機器、</a:t>
                      </a:r>
                      <a:r>
                        <a:rPr lang="en-US" altLang="ja-JP" sz="950" b="0" i="0" u="none" strike="noStrike" spc="-20" baseline="0" dirty="0">
                          <a:solidFill>
                            <a:srgbClr val="000000"/>
                          </a:solidFill>
                          <a:effectLst/>
                          <a:latin typeface="+mn-lt"/>
                          <a:ea typeface="+mn-ea"/>
                        </a:rPr>
                        <a:t>CT</a:t>
                      </a:r>
                      <a:r>
                        <a:rPr lang="ja-JP" altLang="en-US" sz="950" b="0" i="0" u="none" strike="noStrike" spc="-20" baseline="0" dirty="0">
                          <a:solidFill>
                            <a:srgbClr val="000000"/>
                          </a:solidFill>
                          <a:effectLst/>
                          <a:latin typeface="+mn-lt"/>
                          <a:ea typeface="+mn-ea"/>
                        </a:rPr>
                        <a:t>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mn-lt"/>
                          <a:ea typeface="+mn-ea"/>
                        </a:rPr>
                        <a:t>VMI (PHILIPS)</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74765">
                <a:tc>
                  <a:txBody>
                    <a:bodyPr/>
                    <a:lstStyle/>
                    <a:p>
                      <a:pPr algn="ctr" fontAlgn="ctr"/>
                      <a:r>
                        <a:rPr lang="en-US" altLang="ja-JP" sz="1000" b="0" i="0" u="none" strike="noStrike" dirty="0">
                          <a:solidFill>
                            <a:srgbClr val="000000"/>
                          </a:solidFill>
                          <a:effectLst/>
                          <a:latin typeface="+mn-lt"/>
                          <a:ea typeface="+mn-ea"/>
                        </a:rPr>
                        <a:t>6</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mn-lt"/>
                          <a:ea typeface="+mn-ea"/>
                        </a:rPr>
                        <a:t>CIAL - Comércio de Artigos para Laboratório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mn-lt"/>
                          <a:ea typeface="+mn-ea"/>
                        </a:rPr>
                        <a:t>1996</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mn-lt"/>
                          <a:ea typeface="+mn-ea"/>
                        </a:rPr>
                        <a:t>撹拌器、計量器、遠心分離器、蒸留器、分光光度計、顕微鏡、</a:t>
                      </a:r>
                      <a:r>
                        <a:rPr lang="en-US" altLang="ja-JP" sz="950" b="0" i="0" u="none" strike="noStrike" spc="-20" baseline="0" dirty="0">
                          <a:solidFill>
                            <a:srgbClr val="000000"/>
                          </a:solidFill>
                          <a:effectLst/>
                          <a:latin typeface="+mn-lt"/>
                          <a:ea typeface="+mn-ea"/>
                        </a:rPr>
                        <a:t>pH</a:t>
                      </a:r>
                      <a:r>
                        <a:rPr lang="ja-JP" altLang="en-US" sz="950" b="0" i="0" u="none" strike="noStrike" spc="-20" baseline="0" dirty="0">
                          <a:solidFill>
                            <a:srgbClr val="000000"/>
                          </a:solidFill>
                          <a:effectLst/>
                          <a:latin typeface="+mn-lt"/>
                          <a:ea typeface="+mn-ea"/>
                        </a:rPr>
                        <a:t>計、</a:t>
                      </a:r>
                      <a:br>
                        <a:rPr lang="en-US" altLang="ja-JP" sz="950" b="0" i="0" u="none" strike="noStrike" spc="-20" baseline="0" dirty="0">
                          <a:solidFill>
                            <a:srgbClr val="000000"/>
                          </a:solidFill>
                          <a:effectLst/>
                          <a:latin typeface="+mn-lt"/>
                          <a:ea typeface="+mn-ea"/>
                        </a:rPr>
                      </a:br>
                      <a:r>
                        <a:rPr lang="ja-JP" altLang="en-US" sz="950" b="0" i="0" u="none" strike="noStrike" spc="-20" baseline="0" dirty="0">
                          <a:solidFill>
                            <a:srgbClr val="000000"/>
                          </a:solidFill>
                          <a:effectLst/>
                          <a:latin typeface="+mn-lt"/>
                          <a:ea typeface="+mn-ea"/>
                        </a:rPr>
                        <a:t>屈折率計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mn-lt"/>
                          <a:ea typeface="+mn-ea"/>
                        </a:rPr>
                        <a:t>HANNA Instruments SL</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PERMUTION (EJ Krieger e Cia Ltda.) </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QUIMIS </a:t>
                      </a:r>
                      <a:r>
                        <a:rPr lang="en-US" sz="950" b="0" i="0" u="none" strike="noStrike" spc="-20" baseline="0" dirty="0" err="1">
                          <a:solidFill>
                            <a:srgbClr val="000000"/>
                          </a:solidFill>
                          <a:effectLst/>
                          <a:latin typeface="+mn-lt"/>
                          <a:ea typeface="+mn-ea"/>
                        </a:rPr>
                        <a:t>Aparelhos</a:t>
                      </a:r>
                      <a:r>
                        <a:rPr lang="en-US" sz="950" b="0" i="0" u="none" strike="noStrike" spc="-20" baseline="0" dirty="0">
                          <a:solidFill>
                            <a:srgbClr val="000000"/>
                          </a:solidFill>
                          <a:effectLst/>
                          <a:latin typeface="+mn-lt"/>
                          <a:ea typeface="+mn-ea"/>
                        </a:rPr>
                        <a:t> </a:t>
                      </a:r>
                      <a:r>
                        <a:rPr lang="en-US" sz="950" b="0" i="0" u="none" strike="noStrike" spc="-20" baseline="0" dirty="0" err="1">
                          <a:solidFill>
                            <a:srgbClr val="000000"/>
                          </a:solidFill>
                          <a:effectLst/>
                          <a:latin typeface="+mn-lt"/>
                          <a:ea typeface="+mn-ea"/>
                        </a:rPr>
                        <a:t>Científicos</a:t>
                      </a:r>
                      <a:endParaRPr lang="en-US" sz="9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84356">
                <a:tc>
                  <a:txBody>
                    <a:bodyPr/>
                    <a:lstStyle/>
                    <a:p>
                      <a:pPr algn="ctr" fontAlgn="ctr"/>
                      <a:r>
                        <a:rPr lang="en-US" altLang="ja-JP" sz="1000" b="0" i="0" u="none" strike="noStrike" dirty="0">
                          <a:solidFill>
                            <a:srgbClr val="000000"/>
                          </a:solidFill>
                          <a:effectLst/>
                          <a:latin typeface="+mn-lt"/>
                          <a:ea typeface="+mn-ea"/>
                        </a:rPr>
                        <a:t>7</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mn-lt"/>
                          <a:ea typeface="+mn-ea"/>
                        </a:rPr>
                        <a:t>CK Leika. - C.K. Comércio e Representação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mn-lt"/>
                          <a:ea typeface="+mn-ea"/>
                        </a:rPr>
                        <a:t>1991</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mn-lt"/>
                          <a:ea typeface="+mn-ea"/>
                        </a:rPr>
                        <a:t>顕微鏡、電子顕微鏡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err="1">
                          <a:solidFill>
                            <a:srgbClr val="000000"/>
                          </a:solidFill>
                          <a:effectLst/>
                          <a:latin typeface="+mn-lt"/>
                          <a:ea typeface="+mn-ea"/>
                        </a:rPr>
                        <a:t>Grupo</a:t>
                      </a:r>
                      <a:r>
                        <a:rPr lang="en-US" sz="950" b="0" i="0" u="none" strike="noStrike" spc="-20" baseline="0" dirty="0">
                          <a:solidFill>
                            <a:srgbClr val="000000"/>
                          </a:solidFill>
                          <a:effectLst/>
                          <a:latin typeface="+mn-lt"/>
                          <a:ea typeface="+mn-ea"/>
                        </a:rPr>
                        <a:t> Leica </a:t>
                      </a:r>
                      <a:r>
                        <a:rPr lang="en-US" sz="950" b="0" i="0" u="none" strike="noStrike" spc="-20" baseline="0" dirty="0" err="1">
                          <a:solidFill>
                            <a:srgbClr val="000000"/>
                          </a:solidFill>
                          <a:effectLst/>
                          <a:latin typeface="+mn-lt"/>
                          <a:ea typeface="+mn-ea"/>
                        </a:rPr>
                        <a:t>Microsys-tems</a:t>
                      </a:r>
                      <a:endParaRPr lang="en-US" sz="9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77850">
                <a:tc>
                  <a:txBody>
                    <a:bodyPr/>
                    <a:lstStyle/>
                    <a:p>
                      <a:pPr algn="ctr" fontAlgn="ctr"/>
                      <a:r>
                        <a:rPr lang="en-US" altLang="ja-JP" sz="1000" b="0" i="0" u="none" strike="noStrike" dirty="0">
                          <a:solidFill>
                            <a:srgbClr val="000000"/>
                          </a:solidFill>
                          <a:effectLst/>
                          <a:latin typeface="+mn-lt"/>
                          <a:ea typeface="+mn-ea"/>
                        </a:rPr>
                        <a:t>8</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mn-lt"/>
                          <a:ea typeface="+mn-ea"/>
                        </a:rPr>
                        <a:t>DANI Comércio, Representação e Prestação de Serviços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mn-lt"/>
                          <a:ea typeface="+mn-ea"/>
                        </a:rPr>
                        <a:t>1988</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mn-lt"/>
                          <a:ea typeface="+mn-ea"/>
                        </a:rPr>
                        <a:t>麻酔器具、電子メス、手術用テーブル、オートクレーブ、乾熱滅菌器、</a:t>
                      </a:r>
                      <a:br>
                        <a:rPr lang="en-US" altLang="ja-JP" sz="950" b="0" i="0" u="none" strike="noStrike" spc="-20" baseline="0" dirty="0">
                          <a:solidFill>
                            <a:srgbClr val="000000"/>
                          </a:solidFill>
                          <a:effectLst/>
                          <a:latin typeface="+mn-lt"/>
                          <a:ea typeface="+mn-ea"/>
                        </a:rPr>
                      </a:br>
                      <a:r>
                        <a:rPr lang="ja-JP" altLang="en-US" sz="950" b="0" i="0" u="none" strike="noStrike" spc="-20" baseline="0" dirty="0">
                          <a:solidFill>
                            <a:srgbClr val="000000"/>
                          </a:solidFill>
                          <a:effectLst/>
                          <a:latin typeface="+mn-lt"/>
                          <a:ea typeface="+mn-ea"/>
                        </a:rPr>
                        <a:t>保存容器、温室、モニター、換気機器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mn-lt"/>
                          <a:ea typeface="+mn-ea"/>
                        </a:rPr>
                        <a:t>PHILIPS</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DIXTAL</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FANEM</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WEM</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ORTOSINTESE</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SAMTRONIC</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ブラジルの医療機器市場と規制」（</a:t>
            </a:r>
            <a:r>
              <a:rPr lang="en-US" altLang="ja-JP" sz="800" dirty="0"/>
              <a:t>2012</a:t>
            </a:r>
            <a:r>
              <a:rPr lang="ja-JP" altLang="en-US" sz="800" dirty="0"/>
              <a:t>）</a:t>
            </a:r>
          </a:p>
        </p:txBody>
      </p:sp>
      <p:sp>
        <p:nvSpPr>
          <p:cNvPr id="7" name="テキスト ボックス 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代理店を次に示す。</a:t>
            </a:r>
          </a:p>
        </p:txBody>
      </p:sp>
    </p:spTree>
    <p:extLst>
      <p:ext uri="{BB962C8B-B14F-4D97-AF65-F5344CB8AC3E}">
        <p14:creationId xmlns:p14="http://schemas.microsoft.com/office/powerpoint/2010/main" val="34764059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p>
        </p:txBody>
      </p:sp>
      <p:sp>
        <p:nvSpPr>
          <p:cNvPr id="6" name="テキスト プレースホルダー 5"/>
          <p:cNvSpPr>
            <a:spLocks noGrp="1"/>
          </p:cNvSpPr>
          <p:nvPr>
            <p:ph type="body" sz="quarter" idx="15"/>
          </p:nvPr>
        </p:nvSpPr>
        <p:spPr/>
        <p:txBody>
          <a:bodyPr/>
          <a:lstStyle/>
          <a:p>
            <a:r>
              <a:rPr lang="zh-TW" altLang="en-US" dirty="0"/>
              <a:t>業界構造 </a:t>
            </a:r>
            <a:r>
              <a:rPr lang="en-US" altLang="zh-TW" dirty="0"/>
              <a:t>- </a:t>
            </a:r>
            <a:r>
              <a:rPr lang="zh-TW" altLang="en-US" dirty="0"/>
              <a:t>流通（</a:t>
            </a:r>
            <a:r>
              <a:rPr lang="en-US" altLang="zh-TW" dirty="0">
                <a:latin typeface="Arial Black" panose="020B0A04020102020204" pitchFamily="34" charset="0"/>
              </a:rPr>
              <a:t>3/5</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456996020"/>
              </p:ext>
            </p:extLst>
          </p:nvPr>
        </p:nvGraphicFramePr>
        <p:xfrm>
          <a:off x="200472" y="1136236"/>
          <a:ext cx="9540516" cy="5129944"/>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576064">
                  <a:extLst>
                    <a:ext uri="{9D8B030D-6E8A-4147-A177-3AD203B41FA5}">
                      <a16:colId xmlns:a16="http://schemas.microsoft.com/office/drawing/2014/main" val="20002"/>
                    </a:ext>
                  </a:extLst>
                </a:gridCol>
                <a:gridCol w="3672408">
                  <a:extLst>
                    <a:ext uri="{9D8B030D-6E8A-4147-A177-3AD203B41FA5}">
                      <a16:colId xmlns:a16="http://schemas.microsoft.com/office/drawing/2014/main" val="20003"/>
                    </a:ext>
                  </a:extLst>
                </a:gridCol>
                <a:gridCol w="2987788">
                  <a:extLst>
                    <a:ext uri="{9D8B030D-6E8A-4147-A177-3AD203B41FA5}">
                      <a16:colId xmlns:a16="http://schemas.microsoft.com/office/drawing/2014/main" val="20004"/>
                    </a:ext>
                  </a:extLst>
                </a:gridCol>
              </a:tblGrid>
              <a:tr h="366521">
                <a:tc>
                  <a:txBody>
                    <a:bodyPr/>
                    <a:lstStyle/>
                    <a:p>
                      <a:pPr algn="ctr" fontAlgn="ctr" hangingPunct="0"/>
                      <a:r>
                        <a:rPr kumimoji="1" lang="en-US" altLang="ja-JP" sz="11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p>
                  </a:txBody>
                  <a:tcPr marL="0" marR="0"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製品</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メーカー</a:t>
                      </a:r>
                    </a:p>
                  </a:txBody>
                  <a:tcPr marL="0" marR="0"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73693">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9</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mn-lt"/>
                          <a:ea typeface="+mn-ea"/>
                        </a:rPr>
                        <a:t>Decisão Médica - LJC Comércio e Representações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00" b="0" i="0" u="none" strike="noStrike" spc="-20" baseline="0">
                          <a:solidFill>
                            <a:srgbClr val="000000"/>
                          </a:solidFill>
                          <a:effectLst/>
                          <a:latin typeface="+mn-lt"/>
                          <a:ea typeface="+mn-ea"/>
                        </a:rPr>
                        <a:t>不明</a:t>
                      </a:r>
                      <a:endParaRPr lang="en-US" sz="100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zh-TW" altLang="en-US" sz="950" b="0" i="0" u="none" strike="noStrike" spc="-20" baseline="0" dirty="0">
                          <a:solidFill>
                            <a:srgbClr val="000000"/>
                          </a:solidFill>
                          <a:effectLst/>
                          <a:latin typeface="+mn-lt"/>
                          <a:ea typeface="+mn-ea"/>
                        </a:rPr>
                        <a:t>超音波機器、</a:t>
                      </a:r>
                      <a:r>
                        <a:rPr lang="en-US" altLang="zh-TW" sz="950" b="0" i="0" u="none" strike="noStrike" spc="-20" baseline="0" dirty="0">
                          <a:solidFill>
                            <a:srgbClr val="000000"/>
                          </a:solidFill>
                          <a:effectLst/>
                          <a:latin typeface="+mn-lt"/>
                          <a:ea typeface="+mn-ea"/>
                        </a:rPr>
                        <a:t>MRI</a:t>
                      </a:r>
                      <a:r>
                        <a:rPr lang="zh-TW" altLang="en-US" sz="950" b="0" i="0" u="none" strike="noStrike" spc="-20" baseline="0" dirty="0">
                          <a:solidFill>
                            <a:srgbClr val="000000"/>
                          </a:solidFill>
                          <a:effectLst/>
                          <a:latin typeface="+mn-lt"/>
                          <a:ea typeface="+mn-ea"/>
                        </a:rPr>
                        <a:t>、</a:t>
                      </a:r>
                      <a:r>
                        <a:rPr lang="en-US" altLang="zh-TW" sz="950" b="0" i="0" u="none" strike="noStrike" spc="-20" baseline="0" dirty="0">
                          <a:solidFill>
                            <a:srgbClr val="000000"/>
                          </a:solidFill>
                          <a:effectLst/>
                          <a:latin typeface="+mn-lt"/>
                          <a:ea typeface="+mn-ea"/>
                        </a:rPr>
                        <a:t>CT</a:t>
                      </a:r>
                      <a:r>
                        <a:rPr lang="zh-TW" altLang="en-US" sz="950" b="0" i="0" u="none" strike="noStrike" spc="-20" baseline="0" dirty="0">
                          <a:solidFill>
                            <a:srgbClr val="000000"/>
                          </a:solidFill>
                          <a:effectLst/>
                          <a:latin typeface="+mn-lt"/>
                          <a:ea typeface="+mn-ea"/>
                        </a:rPr>
                        <a:t>、心臓血管関連機器、放射線機器</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mn-lt"/>
                          <a:ea typeface="+mn-ea"/>
                        </a:rPr>
                        <a:t>PHILIPS</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83474">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0</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sz="1000" b="0" i="0" u="none" strike="noStrike" spc="-20" baseline="0" dirty="0" err="1">
                          <a:solidFill>
                            <a:srgbClr val="000000"/>
                          </a:solidFill>
                          <a:effectLst/>
                          <a:latin typeface="+mn-lt"/>
                          <a:ea typeface="+mn-ea"/>
                        </a:rPr>
                        <a:t>Dormed</a:t>
                      </a:r>
                      <a:r>
                        <a:rPr lang="en-US" sz="1000" b="0" i="0" u="none" strike="noStrike" spc="-20" baseline="0" dirty="0">
                          <a:solidFill>
                            <a:srgbClr val="000000"/>
                          </a:solidFill>
                          <a:effectLst/>
                          <a:latin typeface="+mn-lt"/>
                          <a:ea typeface="+mn-ea"/>
                        </a:rPr>
                        <a:t> </a:t>
                      </a:r>
                      <a:r>
                        <a:rPr lang="en-US" sz="1000" b="0" i="0" u="none" strike="noStrike" spc="-20" baseline="0" dirty="0" err="1">
                          <a:solidFill>
                            <a:srgbClr val="000000"/>
                          </a:solidFill>
                          <a:effectLst/>
                          <a:latin typeface="+mn-lt"/>
                          <a:ea typeface="+mn-ea"/>
                        </a:rPr>
                        <a:t>Hospitalar</a:t>
                      </a:r>
                      <a:r>
                        <a:rPr lang="en-US" sz="1000" b="0" i="0" u="none" strike="noStrike" spc="-20" baseline="0" dirty="0">
                          <a:solidFill>
                            <a:srgbClr val="000000"/>
                          </a:solidFill>
                          <a:effectLst/>
                          <a:latin typeface="+mn-lt"/>
                          <a:ea typeface="+mn-ea"/>
                        </a:rPr>
                        <a:t>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00" b="0" i="0" u="none" strike="noStrike" spc="-20" baseline="0">
                          <a:solidFill>
                            <a:srgbClr val="000000"/>
                          </a:solidFill>
                          <a:effectLst/>
                          <a:latin typeface="+mn-lt"/>
                          <a:ea typeface="+mn-ea"/>
                        </a:rPr>
                        <a:t>不明</a:t>
                      </a:r>
                      <a:endParaRPr lang="en-US" sz="100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mn-lt"/>
                          <a:ea typeface="+mn-ea"/>
                        </a:rPr>
                        <a:t>輸血ポンプ、植え込み型除細動器、体外式除細動器、医療用アエ</a:t>
                      </a:r>
                      <a:br>
                        <a:rPr lang="en-US" altLang="ja-JP" sz="950" b="0" i="0" u="none" strike="noStrike" spc="-20" baseline="0" dirty="0">
                          <a:solidFill>
                            <a:srgbClr val="000000"/>
                          </a:solidFill>
                          <a:effectLst/>
                          <a:latin typeface="+mn-lt"/>
                          <a:ea typeface="+mn-ea"/>
                        </a:rPr>
                      </a:br>
                      <a:r>
                        <a:rPr lang="ja-JP" altLang="en-US" sz="950" b="0" i="0" u="none" strike="noStrike" spc="-20" baseline="0" dirty="0">
                          <a:solidFill>
                            <a:srgbClr val="000000"/>
                          </a:solidFill>
                          <a:effectLst/>
                          <a:latin typeface="+mn-lt"/>
                          <a:ea typeface="+mn-ea"/>
                        </a:rPr>
                        <a:t>ロゾル装置（吸引</a:t>
                      </a:r>
                      <a:r>
                        <a:rPr lang="en-US" altLang="ja-JP" sz="950" b="0" i="0" u="none" strike="noStrike" spc="-20" baseline="0" dirty="0">
                          <a:solidFill>
                            <a:srgbClr val="000000"/>
                          </a:solidFill>
                          <a:effectLst/>
                          <a:latin typeface="+mn-lt"/>
                          <a:ea typeface="+mn-ea"/>
                        </a:rPr>
                        <a:t>/</a:t>
                      </a:r>
                      <a:r>
                        <a:rPr lang="ja-JP" altLang="en-US" sz="950" b="0" i="0" u="none" strike="noStrike" spc="-20" baseline="0" dirty="0">
                          <a:solidFill>
                            <a:srgbClr val="000000"/>
                          </a:solidFill>
                          <a:effectLst/>
                          <a:latin typeface="+mn-lt"/>
                          <a:ea typeface="+mn-ea"/>
                        </a:rPr>
                        <a:t>ネブライザー）、高周波電子メス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mn-lt"/>
                          <a:ea typeface="+mn-ea"/>
                        </a:rPr>
                        <a:t>CELME</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CMOS DRAKE</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82386">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1</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mn-lt"/>
                          <a:ea typeface="+mn-ea"/>
                        </a:rPr>
                        <a:t>Equipomed Comercio e Assistencia Tecnica Hospitalar LTDA</a:t>
                      </a:r>
                    </a:p>
                  </a:txBody>
                  <a:tcPr marL="108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00" b="0" i="0" u="none" strike="noStrike" spc="-20" baseline="0" dirty="0">
                          <a:solidFill>
                            <a:srgbClr val="000000"/>
                          </a:solidFill>
                          <a:effectLst/>
                          <a:latin typeface="+mn-lt"/>
                          <a:ea typeface="+mn-ea"/>
                        </a:rPr>
                        <a:t>不明</a:t>
                      </a:r>
                      <a:endParaRPr lang="en-US" sz="100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mn-lt"/>
                          <a:ea typeface="+mn-ea"/>
                        </a:rPr>
                        <a:t>麻酔器具、電子吸引器、電子メス、心電図装置、バイタルサイン</a:t>
                      </a:r>
                      <a:br>
                        <a:rPr lang="en-US" altLang="ja-JP" sz="950" b="0" i="0" u="none" strike="noStrike" spc="-20" baseline="0" dirty="0">
                          <a:solidFill>
                            <a:srgbClr val="000000"/>
                          </a:solidFill>
                          <a:effectLst/>
                          <a:latin typeface="+mn-lt"/>
                          <a:ea typeface="+mn-ea"/>
                        </a:rPr>
                      </a:br>
                      <a:r>
                        <a:rPr lang="ja-JP" altLang="en-US" sz="950" b="0" i="0" u="none" strike="noStrike" spc="-20" baseline="0" dirty="0">
                          <a:solidFill>
                            <a:srgbClr val="000000"/>
                          </a:solidFill>
                          <a:effectLst/>
                          <a:latin typeface="+mn-lt"/>
                          <a:ea typeface="+mn-ea"/>
                        </a:rPr>
                        <a:t>モニター、肺換気装置など</a:t>
                      </a:r>
                    </a:p>
                  </a:txBody>
                  <a:tcPr marL="108000" marR="36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mn-lt"/>
                          <a:ea typeface="+mn-ea"/>
                        </a:rPr>
                        <a:t>PHILIPS</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DIXTAL</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FANEM</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WEM</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NS</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BARRFAB</a:t>
                      </a:r>
                      <a:r>
                        <a:rPr lang="ja-JP" altLang="en-US" sz="950" b="0" i="0" u="none" strike="noStrike" spc="-20" baseline="0" dirty="0" err="1">
                          <a:solidFill>
                            <a:srgbClr val="000000"/>
                          </a:solidFill>
                          <a:effectLst/>
                          <a:latin typeface="+mn-lt"/>
                          <a:ea typeface="+mn-ea"/>
                        </a:rPr>
                        <a:t>、</a:t>
                      </a:r>
                      <a:r>
                        <a:rPr lang="en-US" sz="950" b="0" i="0" u="none" strike="noStrike" spc="-20" baseline="0" dirty="0" err="1">
                          <a:solidFill>
                            <a:srgbClr val="000000"/>
                          </a:solidFill>
                          <a:effectLst/>
                          <a:latin typeface="+mn-lt"/>
                          <a:ea typeface="+mn-ea"/>
                        </a:rPr>
                        <a:t>D'Aquino</a:t>
                      </a:r>
                      <a:endParaRPr lang="en-US" sz="950" b="0" i="0" u="none" strike="noStrike" spc="-20" baseline="0" dirty="0">
                        <a:solidFill>
                          <a:srgbClr val="000000"/>
                        </a:solidFill>
                        <a:effectLst/>
                        <a:latin typeface="+mn-lt"/>
                        <a:ea typeface="+mn-ea"/>
                      </a:endParaRP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71500">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2</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s-ES" sz="1000" b="0" i="0" u="none" strike="noStrike" spc="-20" baseline="0" dirty="0">
                          <a:solidFill>
                            <a:srgbClr val="000000"/>
                          </a:solidFill>
                          <a:effectLst/>
                          <a:latin typeface="+mn-lt"/>
                          <a:ea typeface="+mn-ea"/>
                        </a:rPr>
                        <a:t>Esalab Import Export Comercio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mn-lt"/>
                          <a:ea typeface="+mn-ea"/>
                        </a:rPr>
                        <a:t>2000</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mn-lt"/>
                          <a:ea typeface="+mn-ea"/>
                        </a:rPr>
                        <a:t>超音波機材、遠心分離機、スペクトル計測器、湿度分析機材など</a:t>
                      </a:r>
                    </a:p>
                  </a:txBody>
                  <a:tcPr marL="108000" marR="72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mn-lt"/>
                          <a:ea typeface="+mn-ea"/>
                        </a:rPr>
                        <a:t>Beckman Coulter</a:t>
                      </a:r>
                      <a:r>
                        <a:rPr lang="ja-JP" altLang="en-US" sz="950" b="0" i="0" u="none" strike="noStrike" spc="-20" baseline="0" dirty="0" err="1">
                          <a:solidFill>
                            <a:srgbClr val="000000"/>
                          </a:solidFill>
                          <a:effectLst/>
                          <a:latin typeface="+mn-lt"/>
                          <a:ea typeface="+mn-ea"/>
                        </a:rPr>
                        <a:t>、</a:t>
                      </a:r>
                      <a:r>
                        <a:rPr lang="en-US" sz="950" b="0" i="0" u="none" strike="noStrike" spc="-20" baseline="0" dirty="0" err="1">
                          <a:solidFill>
                            <a:srgbClr val="000000"/>
                          </a:solidFill>
                          <a:effectLst/>
                          <a:latin typeface="+mn-lt"/>
                          <a:ea typeface="+mn-ea"/>
                        </a:rPr>
                        <a:t>Microfluidcs</a:t>
                      </a:r>
                      <a:r>
                        <a:rPr lang="en-US" sz="950" b="0" i="0" u="none" strike="noStrike" spc="-20" baseline="0" dirty="0">
                          <a:solidFill>
                            <a:srgbClr val="000000"/>
                          </a:solidFill>
                          <a:effectLst/>
                          <a:latin typeface="+mn-lt"/>
                          <a:ea typeface="+mn-ea"/>
                        </a:rPr>
                        <a:t>; Sonics </a:t>
                      </a:r>
                      <a:r>
                        <a:rPr lang="ja-JP" altLang="en-US" sz="950" b="0" i="0" u="none" strike="noStrike" spc="-20" baseline="0" dirty="0" err="1">
                          <a:solidFill>
                            <a:srgbClr val="000000"/>
                          </a:solidFill>
                          <a:effectLst/>
                          <a:latin typeface="+mn-lt"/>
                          <a:ea typeface="+mn-ea"/>
                        </a:rPr>
                        <a:t>、</a:t>
                      </a:r>
                      <a:r>
                        <a:rPr lang="en-US" sz="950" b="0" i="0" u="none" strike="noStrike" spc="-20" baseline="0" dirty="0">
                          <a:solidFill>
                            <a:srgbClr val="000000"/>
                          </a:solidFill>
                          <a:effectLst/>
                          <a:latin typeface="+mn-lt"/>
                          <a:ea typeface="+mn-ea"/>
                        </a:rPr>
                        <a:t>Arizona Instrument</a:t>
                      </a:r>
                    </a:p>
                  </a:txBody>
                  <a:tcPr marL="36000" marR="36000"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731520">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3</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Arial" panose="020B0604020202020204" pitchFamily="34" charset="0"/>
                          <a:ea typeface="ＭＳ Ｐゴシック" panose="020B0600070205080204" pitchFamily="50" charset="-128"/>
                        </a:rPr>
                        <a:t>Hospitrade Distribuidora de Equipamentos Hospitalar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995</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麻酔器、手術用吸引器、マイクロ電子換気機器、パルスオキシメーター、ポリグラフ（電気力学・電気生理学）、植え込み型除細動器、</a:t>
                      </a:r>
                      <a:br>
                        <a:rPr lang="en-US" altLang="ja-JP" sz="9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心電図装置、手術用照明器、乾熱滅菌装置、オートクレーブ、</a:t>
                      </a:r>
                      <a:br>
                        <a:rPr lang="en-US" altLang="ja-JP" sz="9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手術用テーブル、バイタルサインモニター、麻酔ガスモニターなど</a:t>
                      </a:r>
                    </a:p>
                  </a:txBody>
                  <a:tcPr marL="108000" marR="72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Takoaka</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Tecnologia</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 </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Eletrônica</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 </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Brasileira</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 (TEB)</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br>
                        <a:rPr lang="en-US" altLang="ja-JP" sz="9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Cardios</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Ortosíntese</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Criticare</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 Systems</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ZOLL</a:t>
                      </a:r>
                    </a:p>
                  </a:txBody>
                  <a:tcPr marL="9525" marR="9525"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85470">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4</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Arial" panose="020B0604020202020204" pitchFamily="34" charset="0"/>
                          <a:ea typeface="ＭＳ Ｐゴシック" panose="020B0600070205080204" pitchFamily="50" charset="-128"/>
                        </a:rPr>
                        <a:t>Incermed Comércio e Representação de Produtos Radiológico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990</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zh-CN"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画像診断装置、超音波装置</a:t>
                      </a:r>
                    </a:p>
                  </a:txBody>
                  <a:tcPr marL="108000" marR="72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PHILIPS</a:t>
                      </a:r>
                    </a:p>
                  </a:txBody>
                  <a:tcPr marL="9525" marR="9525"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63867">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5</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Arial" panose="020B0604020202020204" pitchFamily="34" charset="0"/>
                          <a:ea typeface="ＭＳ Ｐゴシック" panose="020B0600070205080204" pitchFamily="50" charset="-128"/>
                        </a:rPr>
                        <a:t>Instrumental Científico Equipamentos para Laboratório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988</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内視鏡機材、顕微鏡、手術器具、超音波検査機材、マルチパラメータ</a:t>
                      </a:r>
                      <a:br>
                        <a:rPr lang="en-US" altLang="ja-JP" sz="9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モニター、麻酔装置、血液透析装置、除細動器など</a:t>
                      </a:r>
                    </a:p>
                  </a:txBody>
                  <a:tcPr marL="108000" marR="72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Olympus</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Dräguermedical</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loka</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Cardiac Science</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NIPRO</a:t>
                      </a:r>
                    </a:p>
                  </a:txBody>
                  <a:tcPr marL="9525" marR="9525"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71513">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6</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sz="1000" b="0" i="0" u="none" strike="noStrike" spc="-20" baseline="0" dirty="0">
                          <a:solidFill>
                            <a:srgbClr val="000000"/>
                          </a:solidFill>
                          <a:effectLst/>
                          <a:latin typeface="Arial" panose="020B0604020202020204" pitchFamily="34" charset="0"/>
                          <a:ea typeface="ＭＳ Ｐゴシック" panose="020B0600070205080204" pitchFamily="50" charset="-128"/>
                        </a:rPr>
                        <a:t>J. R. EHLKE &amp; Cia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971</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化学分析装置、生物学的安全キャビネット、遠心分離機、</a:t>
                      </a:r>
                      <a:br>
                        <a:rPr lang="en-US" altLang="ja-JP" sz="9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自動分析装置（</a:t>
                      </a:r>
                      <a:r>
                        <a:rPr lang="en-US" altLang="ja-JP" sz="950" b="0" i="0" u="none" strike="noStrike" spc="-20" baseline="0" dirty="0">
                          <a:solidFill>
                            <a:srgbClr val="000000"/>
                          </a:solidFill>
                          <a:effectLst/>
                          <a:latin typeface="Arial" panose="020B0604020202020204" pitchFamily="34" charset="0"/>
                          <a:ea typeface="ＭＳ Ｐゴシック" panose="020B0600070205080204" pitchFamily="50" charset="-128"/>
                        </a:rPr>
                        <a:t>AGB</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血液、止血）、サーマルサイクラーなど</a:t>
                      </a:r>
                    </a:p>
                  </a:txBody>
                  <a:tcPr marL="108000" marR="72000" marT="9525" marB="10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Mindray</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TROX </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Technik</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Eppendorf</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Instrumentation Laboratory</a:t>
                      </a:r>
                    </a:p>
                  </a:txBody>
                  <a:tcPr marL="9525" marR="9525" marT="9525" marB="10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ブラジルの医療機器市場と規制」（</a:t>
            </a:r>
            <a:r>
              <a:rPr lang="en-US" altLang="ja-JP" sz="800" dirty="0"/>
              <a:t>2012</a:t>
            </a:r>
            <a:r>
              <a:rPr lang="ja-JP" altLang="en-US" sz="800" dirty="0"/>
              <a:t>）</a:t>
            </a:r>
          </a:p>
        </p:txBody>
      </p:sp>
    </p:spTree>
    <p:extLst>
      <p:ext uri="{BB962C8B-B14F-4D97-AF65-F5344CB8AC3E}">
        <p14:creationId xmlns:p14="http://schemas.microsoft.com/office/powerpoint/2010/main" val="16783395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p>
        </p:txBody>
      </p:sp>
      <p:sp>
        <p:nvSpPr>
          <p:cNvPr id="6" name="テキスト プレースホルダー 5"/>
          <p:cNvSpPr>
            <a:spLocks noGrp="1"/>
          </p:cNvSpPr>
          <p:nvPr>
            <p:ph type="body" sz="quarter" idx="15"/>
          </p:nvPr>
        </p:nvSpPr>
        <p:spPr/>
        <p:txBody>
          <a:bodyPr/>
          <a:lstStyle/>
          <a:p>
            <a:r>
              <a:rPr lang="zh-TW" altLang="en-US" dirty="0"/>
              <a:t>業界構造 </a:t>
            </a:r>
            <a:r>
              <a:rPr lang="en-US" altLang="zh-TW" dirty="0"/>
              <a:t>- </a:t>
            </a:r>
            <a:r>
              <a:rPr lang="zh-TW" altLang="en-US" dirty="0"/>
              <a:t>流通（</a:t>
            </a:r>
            <a:r>
              <a:rPr lang="en-US" altLang="zh-TW" dirty="0">
                <a:latin typeface="Arial Black" panose="020B0A04020102020204" pitchFamily="34" charset="0"/>
              </a:rPr>
              <a:t>4/5</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435494033"/>
              </p:ext>
            </p:extLst>
          </p:nvPr>
        </p:nvGraphicFramePr>
        <p:xfrm>
          <a:off x="200472" y="1136234"/>
          <a:ext cx="9540516" cy="4346991"/>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576064">
                  <a:extLst>
                    <a:ext uri="{9D8B030D-6E8A-4147-A177-3AD203B41FA5}">
                      <a16:colId xmlns:a16="http://schemas.microsoft.com/office/drawing/2014/main" val="20002"/>
                    </a:ext>
                  </a:extLst>
                </a:gridCol>
                <a:gridCol w="3672408">
                  <a:extLst>
                    <a:ext uri="{9D8B030D-6E8A-4147-A177-3AD203B41FA5}">
                      <a16:colId xmlns:a16="http://schemas.microsoft.com/office/drawing/2014/main" val="20003"/>
                    </a:ext>
                  </a:extLst>
                </a:gridCol>
                <a:gridCol w="2987788">
                  <a:extLst>
                    <a:ext uri="{9D8B030D-6E8A-4147-A177-3AD203B41FA5}">
                      <a16:colId xmlns:a16="http://schemas.microsoft.com/office/drawing/2014/main" val="20004"/>
                    </a:ext>
                  </a:extLst>
                </a:gridCol>
              </a:tblGrid>
              <a:tr h="359191">
                <a:tc>
                  <a:txBody>
                    <a:bodyPr/>
                    <a:lstStyle/>
                    <a:p>
                      <a:pPr algn="ctr" fontAlgn="ctr" hangingPunct="0"/>
                      <a:r>
                        <a:rPr kumimoji="1" lang="en-US" altLang="ja-JP" sz="11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p>
                  </a:txBody>
                  <a:tcPr marL="0" marR="0"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製品</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メーカー</a:t>
                      </a:r>
                    </a:p>
                  </a:txBody>
                  <a:tcPr marL="0" marR="0"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71500">
                <a:tc>
                  <a:txBody>
                    <a:bodyPr/>
                    <a:lstStyle/>
                    <a:p>
                      <a:pPr algn="ctr" fontAlgn="ctr"/>
                      <a:r>
                        <a:rPr lang="en-US" altLang="ja-JP" sz="1000" b="0" i="0" u="none" strike="noStrike" dirty="0">
                          <a:solidFill>
                            <a:srgbClr val="000000"/>
                          </a:solidFill>
                          <a:effectLst/>
                          <a:latin typeface="+mn-lt"/>
                          <a:ea typeface="+mn-ea"/>
                        </a:rPr>
                        <a:t>17</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sz="1000" b="0" i="0" u="none" strike="noStrike" spc="-20" baseline="0" dirty="0">
                          <a:solidFill>
                            <a:srgbClr val="000000"/>
                          </a:solidFill>
                          <a:effectLst/>
                          <a:latin typeface="Arial" panose="020B0604020202020204" pitchFamily="34" charset="0"/>
                          <a:ea typeface="ＭＳ Ｐゴシック" panose="020B0600070205080204" pitchFamily="50" charset="-128"/>
                        </a:rPr>
                        <a:t>JJR Instrumental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993</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サンプリングポンプ、二酸化炭素モニター装置、温湿度計、</a:t>
                      </a:r>
                      <a:br>
                        <a:rPr lang="en-US" altLang="ja-JP" sz="9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液体流量校正装置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SUPELCO</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SIGMA-ALDRICH</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SKC</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Pall </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Gelman</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Fisher Scientific Inter-national Inc.</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Whatman</a:t>
                      </a:r>
                      <a:endPar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endParaRPr>
                    </a:p>
                  </a:txBody>
                  <a:tcPr marL="9525" marR="9525"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71500">
                <a:tc>
                  <a:txBody>
                    <a:bodyPr/>
                    <a:lstStyle/>
                    <a:p>
                      <a:pPr algn="ctr" fontAlgn="ctr"/>
                      <a:r>
                        <a:rPr lang="en-US" altLang="ja-JP" sz="1000" b="0" i="0" u="none" strike="noStrike" dirty="0">
                          <a:solidFill>
                            <a:srgbClr val="000000"/>
                          </a:solidFill>
                          <a:effectLst/>
                          <a:latin typeface="+mn-lt"/>
                          <a:ea typeface="+mn-ea"/>
                        </a:rPr>
                        <a:t>18</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Arial" panose="020B0604020202020204" pitchFamily="34" charset="0"/>
                          <a:ea typeface="ＭＳ Ｐゴシック" panose="020B0600070205080204" pitchFamily="50" charset="-128"/>
                        </a:rPr>
                        <a:t>Júpiter Distribuidora de Produtos e Equipamentos Hospitalare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00" b="0" i="0" u="none" strike="noStrike" spc="-20" baseline="0" dirty="0">
                          <a:solidFill>
                            <a:srgbClr val="000000"/>
                          </a:solidFill>
                          <a:effectLst/>
                          <a:latin typeface="Arial" panose="020B0604020202020204" pitchFamily="34" charset="0"/>
                          <a:ea typeface="ＭＳ Ｐゴシック" panose="020B0600070205080204" pitchFamily="50" charset="-128"/>
                        </a:rPr>
                        <a:t>不明</a:t>
                      </a:r>
                      <a:endParaRPr lang="en-US" sz="1000" b="0" i="0" u="none" strike="noStrike" spc="-20" baseline="0" dirty="0">
                        <a:solidFill>
                          <a:srgbClr val="000000"/>
                        </a:solidFill>
                        <a:effectLst/>
                        <a:latin typeface="Arial" panose="020B0604020202020204" pitchFamily="34" charset="0"/>
                        <a:ea typeface="ＭＳ Ｐゴシック" panose="020B0600070205080204" pitchFamily="50" charset="-128"/>
                      </a:endParaRP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圧力トランスデューサー、血液採取用クローズドシステム、</a:t>
                      </a:r>
                      <a:br>
                        <a:rPr lang="en-US" altLang="ja-JP" sz="9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カテーテル、各種モニター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Edwards </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Lifesciences</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Medline</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Pharmaplast</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Hartmann</a:t>
                      </a:r>
                    </a:p>
                  </a:txBody>
                  <a:tcPr marL="9525" marR="9525"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71500">
                <a:tc>
                  <a:txBody>
                    <a:bodyPr/>
                    <a:lstStyle/>
                    <a:p>
                      <a:pPr algn="ctr" fontAlgn="ctr"/>
                      <a:r>
                        <a:rPr lang="en-US" altLang="ja-JP" sz="1000" b="0" i="0" u="none" strike="noStrike" dirty="0">
                          <a:solidFill>
                            <a:srgbClr val="000000"/>
                          </a:solidFill>
                          <a:effectLst/>
                          <a:latin typeface="+mn-lt"/>
                          <a:ea typeface="+mn-ea"/>
                        </a:rPr>
                        <a:t>19</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Arial" panose="020B0604020202020204" pitchFamily="34" charset="0"/>
                          <a:ea typeface="ＭＳ Ｐゴシック" panose="020B0600070205080204" pitchFamily="50" charset="-128"/>
                        </a:rPr>
                        <a:t>LOHCUS COMERCIO E TECNOLOGIA EM SAUDE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a:solidFill>
                            <a:srgbClr val="000000"/>
                          </a:solidFill>
                          <a:effectLst/>
                          <a:latin typeface="Arial" panose="020B0604020202020204" pitchFamily="34" charset="0"/>
                          <a:ea typeface="ＭＳ Ｐゴシック" panose="020B0600070205080204" pitchFamily="50" charset="-128"/>
                        </a:rPr>
                        <a:t>1990</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口腔治療機材、歯矯正器具、義歯、インプラントなどの歯科用機材</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BIOTECH</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TERUMO</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LASCOD</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GDK DENSELL</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LEONE</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MANFREDI</a:t>
                      </a:r>
                    </a:p>
                  </a:txBody>
                  <a:tcPr marL="9525" marR="9525"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74675">
                <a:tc>
                  <a:txBody>
                    <a:bodyPr/>
                    <a:lstStyle/>
                    <a:p>
                      <a:pPr algn="ctr" fontAlgn="ctr"/>
                      <a:r>
                        <a:rPr lang="en-US" altLang="ja-JP" sz="1000" b="0" i="0" u="none" strike="noStrike" dirty="0">
                          <a:solidFill>
                            <a:srgbClr val="000000"/>
                          </a:solidFill>
                          <a:effectLst/>
                          <a:latin typeface="+mn-lt"/>
                          <a:ea typeface="+mn-ea"/>
                        </a:rPr>
                        <a:t>20</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Arial" panose="020B0604020202020204" pitchFamily="34" charset="0"/>
                          <a:ea typeface="ＭＳ Ｐゴシック" panose="020B0600070205080204" pitchFamily="50" charset="-128"/>
                        </a:rPr>
                        <a:t>Lodan Comércio e Representaçõe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986</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遠心分離器、血液バンク用機器、凍結乾燥機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Omni </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Inc</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Operon</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Biotop</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Biopharma</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Cuddon</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Tofflon</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Jeiotech</a:t>
                      </a:r>
                      <a:endPar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endParaRPr>
                    </a:p>
                  </a:txBody>
                  <a:tcPr marL="9525" marR="9525"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61975">
                <a:tc>
                  <a:txBody>
                    <a:bodyPr/>
                    <a:lstStyle/>
                    <a:p>
                      <a:pPr algn="ctr" fontAlgn="ctr"/>
                      <a:r>
                        <a:rPr lang="en-US" altLang="ja-JP" sz="1000" b="0" i="0" u="none" strike="noStrike" dirty="0">
                          <a:solidFill>
                            <a:srgbClr val="000000"/>
                          </a:solidFill>
                          <a:effectLst/>
                          <a:latin typeface="+mn-lt"/>
                          <a:ea typeface="+mn-ea"/>
                        </a:rPr>
                        <a:t>21</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spc="-20" baseline="0" dirty="0">
                          <a:solidFill>
                            <a:srgbClr val="000000"/>
                          </a:solidFill>
                          <a:effectLst/>
                          <a:latin typeface="Arial" panose="020B0604020202020204" pitchFamily="34" charset="0"/>
                          <a:ea typeface="ＭＳ Ｐゴシック" panose="020B0600070205080204" pitchFamily="50" charset="-128"/>
                        </a:rPr>
                        <a:t>MULT MED EQUIPAMENTOS HOSPITLARE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1989</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麻酔器具、電子吸引器、電子メス、心電図装置、</a:t>
                      </a:r>
                      <a:br>
                        <a:rPr lang="en-US" altLang="ja-JP" sz="9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バイタルサインモニター、肺換気装置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LANCO</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DIXTAL</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SAMTRONIC</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BARRAFB</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FANEM </a:t>
                      </a:r>
                    </a:p>
                    <a:p>
                      <a:pPr algn="l" fontAlgn="ct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HOSPIMETAL</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PHILIPS</a:t>
                      </a:r>
                    </a:p>
                  </a:txBody>
                  <a:tcPr marL="9525" marR="9525"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74675">
                <a:tc>
                  <a:txBody>
                    <a:bodyPr/>
                    <a:lstStyle/>
                    <a:p>
                      <a:pPr algn="ctr" fontAlgn="ctr"/>
                      <a:r>
                        <a:rPr lang="en-US" altLang="ja-JP" sz="1000" b="0" i="0" u="none" strike="noStrike" dirty="0">
                          <a:solidFill>
                            <a:srgbClr val="000000"/>
                          </a:solidFill>
                          <a:effectLst/>
                          <a:latin typeface="+mn-lt"/>
                          <a:ea typeface="+mn-ea"/>
                        </a:rPr>
                        <a:t>22</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sz="1000" b="0" i="0" u="none" strike="noStrike" spc="-20" baseline="0" dirty="0" err="1">
                          <a:solidFill>
                            <a:srgbClr val="000000"/>
                          </a:solidFill>
                          <a:effectLst/>
                          <a:latin typeface="Arial" panose="020B0604020202020204" pitchFamily="34" charset="0"/>
                          <a:ea typeface="ＭＳ Ｐゴシック" panose="020B0600070205080204" pitchFamily="50" charset="-128"/>
                        </a:rPr>
                        <a:t>Neomed</a:t>
                      </a:r>
                      <a:r>
                        <a:rPr lang="en-US" sz="1000" b="0" i="0" u="none" strike="noStrike" spc="-20" baseline="0" dirty="0">
                          <a:solidFill>
                            <a:srgbClr val="000000"/>
                          </a:solidFill>
                          <a:effectLst/>
                          <a:latin typeface="Arial" panose="020B0604020202020204" pitchFamily="34" charset="0"/>
                          <a:ea typeface="ＭＳ Ｐゴシック" panose="020B0600070205080204" pitchFamily="50" charset="-128"/>
                        </a:rPr>
                        <a:t> do </a:t>
                      </a:r>
                      <a:r>
                        <a:rPr lang="en-US" sz="1000" b="0" i="0" u="none" strike="noStrike" spc="-20" baseline="0" dirty="0" err="1">
                          <a:solidFill>
                            <a:srgbClr val="000000"/>
                          </a:solidFill>
                          <a:effectLst/>
                          <a:latin typeface="Arial" panose="020B0604020202020204" pitchFamily="34" charset="0"/>
                          <a:ea typeface="ＭＳ Ｐゴシック" panose="020B0600070205080204" pitchFamily="50" charset="-128"/>
                        </a:rPr>
                        <a:t>Brasil</a:t>
                      </a:r>
                      <a:r>
                        <a:rPr lang="en-US" sz="1000" b="0" i="0" u="none" strike="noStrike" spc="-20" baseline="0" dirty="0">
                          <a:solidFill>
                            <a:srgbClr val="000000"/>
                          </a:solidFill>
                          <a:effectLst/>
                          <a:latin typeface="Arial" panose="020B0604020202020204" pitchFamily="34" charset="0"/>
                          <a:ea typeface="ＭＳ Ｐゴシック" panose="020B0600070205080204" pitchFamily="50" charset="-128"/>
                        </a:rPr>
                        <a:t>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2001</a:t>
                      </a:r>
                    </a:p>
                  </a:txBody>
                  <a:tcPr marL="9525" marR="9525"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麻酔器、マイクロ電子換気機器、パルスオキシメーター、撹拌器、</a:t>
                      </a:r>
                      <a:br>
                        <a:rPr lang="en-US" altLang="ja-JP" sz="9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滅菌装置、ホモジナイザー、バイタルサインモニター、</a:t>
                      </a:r>
                      <a:br>
                        <a:rPr lang="en-US" altLang="ja-JP" sz="9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麻酔ガスモニター、オートクレーブ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Digimed</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KTK</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Marconi</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Medicare</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Zeiss</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Olidef</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 CZ</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Sismatec</a:t>
                      </a:r>
                      <a:endPar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endParaRPr>
                    </a:p>
                  </a:txBody>
                  <a:tcPr marL="9525" marR="9525"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61975">
                <a:tc>
                  <a:txBody>
                    <a:bodyPr/>
                    <a:lstStyle/>
                    <a:p>
                      <a:pPr algn="ctr" fontAlgn="ctr"/>
                      <a:r>
                        <a:rPr lang="en-US" altLang="ja-JP" sz="1000" b="0" i="0" u="none" strike="noStrike" spc="-20" baseline="0" dirty="0">
                          <a:solidFill>
                            <a:srgbClr val="000000"/>
                          </a:solidFill>
                          <a:effectLst/>
                          <a:latin typeface="Arial" panose="020B0604020202020204" pitchFamily="34" charset="0"/>
                          <a:ea typeface="ＭＳ Ｐゴシック" panose="020B0600070205080204" pitchFamily="50" charset="-128"/>
                        </a:rPr>
                        <a:t>23</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sz="1000" b="0" i="0" u="none" strike="noStrike" spc="-20" baseline="0" dirty="0" err="1">
                          <a:solidFill>
                            <a:srgbClr val="000000"/>
                          </a:solidFill>
                          <a:effectLst/>
                          <a:latin typeface="Arial" panose="020B0604020202020204" pitchFamily="34" charset="0"/>
                          <a:ea typeface="ＭＳ Ｐゴシック" panose="020B0600070205080204" pitchFamily="50" charset="-128"/>
                        </a:rPr>
                        <a:t>Gamacamp</a:t>
                      </a:r>
                      <a:r>
                        <a:rPr lang="en-US" sz="1000" b="0" i="0" u="none" strike="noStrike" spc="-2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20" baseline="0" dirty="0" err="1">
                          <a:solidFill>
                            <a:srgbClr val="000000"/>
                          </a:solidFill>
                          <a:effectLst/>
                          <a:latin typeface="Arial" panose="020B0604020202020204" pitchFamily="34" charset="0"/>
                          <a:ea typeface="ＭＳ Ｐゴシック" panose="020B0600070205080204" pitchFamily="50" charset="-128"/>
                        </a:rPr>
                        <a:t>Produtos</a:t>
                      </a:r>
                      <a:r>
                        <a:rPr lang="en-US" sz="1000" b="0" i="0" u="none" strike="noStrike" spc="-2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20" baseline="0" dirty="0" err="1">
                          <a:solidFill>
                            <a:srgbClr val="000000"/>
                          </a:solidFill>
                          <a:effectLst/>
                          <a:latin typeface="Arial" panose="020B0604020202020204" pitchFamily="34" charset="0"/>
                          <a:ea typeface="ＭＳ Ｐゴシック" panose="020B0600070205080204" pitchFamily="50" charset="-128"/>
                        </a:rPr>
                        <a:t>Hospitalares</a:t>
                      </a:r>
                      <a:r>
                        <a:rPr lang="en-US" sz="1000" b="0" i="0" u="none" strike="noStrike" spc="-20" baseline="0" dirty="0">
                          <a:solidFill>
                            <a:srgbClr val="000000"/>
                          </a:solidFill>
                          <a:effectLst/>
                          <a:latin typeface="Arial" panose="020B0604020202020204" pitchFamily="34" charset="0"/>
                          <a:ea typeface="ＭＳ Ｐゴシック" panose="020B0600070205080204" pitchFamily="50" charset="-128"/>
                        </a:rPr>
                        <a:t> </a:t>
                      </a:r>
                      <a:r>
                        <a:rPr lang="en-US" sz="1000" b="0" i="0" u="none" strike="noStrike" spc="-20" baseline="0" dirty="0" err="1">
                          <a:solidFill>
                            <a:srgbClr val="000000"/>
                          </a:solidFill>
                          <a:effectLst/>
                          <a:latin typeface="Arial" panose="020B0604020202020204" pitchFamily="34" charset="0"/>
                          <a:ea typeface="ＭＳ Ｐゴシック" panose="020B0600070205080204" pitchFamily="50" charset="-128"/>
                        </a:rPr>
                        <a:t>Ltda</a:t>
                      </a:r>
                      <a:endParaRPr lang="en-US" sz="1000" b="0" i="0" u="none" strike="noStrike" spc="-20"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00" b="0" i="0" u="none" strike="noStrike" spc="-20" baseline="0" dirty="0">
                          <a:solidFill>
                            <a:srgbClr val="000000"/>
                          </a:solidFill>
                          <a:effectLst/>
                          <a:latin typeface="Arial" panose="020B0604020202020204" pitchFamily="34" charset="0"/>
                          <a:ea typeface="ＭＳ Ｐゴシック" panose="020B0600070205080204" pitchFamily="50" charset="-128"/>
                        </a:rPr>
                        <a:t>不明</a:t>
                      </a:r>
                      <a:endParaRPr lang="en-US" sz="1000" b="0" i="0" u="none" strike="noStrike" spc="-20" baseline="0" dirty="0">
                        <a:solidFill>
                          <a:srgbClr val="000000"/>
                        </a:solidFill>
                        <a:effectLst/>
                        <a:latin typeface="Arial" panose="020B0604020202020204" pitchFamily="34" charset="0"/>
                        <a:ea typeface="ＭＳ Ｐゴシック" panose="020B0600070205080204" pitchFamily="50" charset="-128"/>
                      </a:endParaRP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除細動器、モニター、心電図装置、換気機器、</a:t>
                      </a:r>
                      <a:br>
                        <a:rPr lang="en-US" altLang="ja-JP" sz="950" b="0" i="0" u="none" strike="noStrike" spc="-20" baseline="0" dirty="0">
                          <a:solidFill>
                            <a:srgbClr val="000000"/>
                          </a:solidFill>
                          <a:effectLst/>
                          <a:latin typeface="Arial" panose="020B0604020202020204" pitchFamily="34" charset="0"/>
                          <a:ea typeface="ＭＳ Ｐゴシック" panose="020B0600070205080204" pitchFamily="50" charset="-128"/>
                        </a:rPr>
                      </a:br>
                      <a:r>
                        <a:rPr lang="ja-JP" alt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麻酔器具、人工呼吸器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PHILIPS</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DIXTAL</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RESPIRONIX</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LANCO</a:t>
                      </a:r>
                      <a:r>
                        <a:rPr lang="ja-JP" altLang="en-US" sz="950" b="0" i="0" u="none" strike="noStrike" spc="-20" baseline="0" dirty="0" err="1">
                          <a:solidFill>
                            <a:srgbClr val="000000"/>
                          </a:solidFill>
                          <a:effectLst/>
                          <a:latin typeface="Arial" panose="020B0604020202020204" pitchFamily="34" charset="0"/>
                          <a:ea typeface="ＭＳ Ｐゴシック" panose="020B0600070205080204" pitchFamily="50" charset="-128"/>
                        </a:rPr>
                        <a:t>、</a:t>
                      </a:r>
                      <a:r>
                        <a:rPr lang="en-US" sz="950" b="0" i="0" u="none" strike="noStrike" spc="-20" baseline="0" dirty="0">
                          <a:solidFill>
                            <a:srgbClr val="000000"/>
                          </a:solidFill>
                          <a:effectLst/>
                          <a:latin typeface="Arial" panose="020B0604020202020204" pitchFamily="34" charset="0"/>
                          <a:ea typeface="ＭＳ Ｐゴシック" panose="020B0600070205080204" pitchFamily="50" charset="-128"/>
                        </a:rPr>
                        <a:t>CPAP</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ブラジルの医療機器市場と規制」（</a:t>
            </a:r>
            <a:r>
              <a:rPr lang="en-US" altLang="ja-JP" sz="800" dirty="0"/>
              <a:t>2012</a:t>
            </a:r>
            <a:r>
              <a:rPr lang="ja-JP" altLang="en-US" sz="800" dirty="0"/>
              <a:t>）</a:t>
            </a:r>
          </a:p>
        </p:txBody>
      </p:sp>
    </p:spTree>
    <p:extLst>
      <p:ext uri="{BB962C8B-B14F-4D97-AF65-F5344CB8AC3E}">
        <p14:creationId xmlns:p14="http://schemas.microsoft.com/office/powerpoint/2010/main" val="22109344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療機器</a:t>
            </a:r>
          </a:p>
        </p:txBody>
      </p:sp>
      <p:sp>
        <p:nvSpPr>
          <p:cNvPr id="6" name="テキスト プレースホルダー 5"/>
          <p:cNvSpPr>
            <a:spLocks noGrp="1"/>
          </p:cNvSpPr>
          <p:nvPr>
            <p:ph type="body" sz="quarter" idx="15"/>
          </p:nvPr>
        </p:nvSpPr>
        <p:spPr/>
        <p:txBody>
          <a:bodyPr/>
          <a:lstStyle/>
          <a:p>
            <a:r>
              <a:rPr lang="zh-TW" altLang="en-US" dirty="0"/>
              <a:t>業界構造 </a:t>
            </a:r>
            <a:r>
              <a:rPr lang="en-US" altLang="zh-TW" dirty="0"/>
              <a:t>- </a:t>
            </a:r>
            <a:r>
              <a:rPr lang="zh-TW" altLang="en-US" dirty="0"/>
              <a:t>流通（</a:t>
            </a:r>
            <a:r>
              <a:rPr lang="en-US" altLang="zh-TW" dirty="0">
                <a:latin typeface="Arial Black" panose="020B0A04020102020204" pitchFamily="34" charset="0"/>
              </a:rPr>
              <a:t>5/5</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1558641136"/>
              </p:ext>
            </p:extLst>
          </p:nvPr>
        </p:nvGraphicFramePr>
        <p:xfrm>
          <a:off x="200472" y="1136234"/>
          <a:ext cx="9540516" cy="4107596"/>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576064">
                  <a:extLst>
                    <a:ext uri="{9D8B030D-6E8A-4147-A177-3AD203B41FA5}">
                      <a16:colId xmlns:a16="http://schemas.microsoft.com/office/drawing/2014/main" val="20002"/>
                    </a:ext>
                  </a:extLst>
                </a:gridCol>
                <a:gridCol w="3672408">
                  <a:extLst>
                    <a:ext uri="{9D8B030D-6E8A-4147-A177-3AD203B41FA5}">
                      <a16:colId xmlns:a16="http://schemas.microsoft.com/office/drawing/2014/main" val="20003"/>
                    </a:ext>
                  </a:extLst>
                </a:gridCol>
                <a:gridCol w="2987788">
                  <a:extLst>
                    <a:ext uri="{9D8B030D-6E8A-4147-A177-3AD203B41FA5}">
                      <a16:colId xmlns:a16="http://schemas.microsoft.com/office/drawing/2014/main" val="20004"/>
                    </a:ext>
                  </a:extLst>
                </a:gridCol>
              </a:tblGrid>
              <a:tr h="359191">
                <a:tc>
                  <a:txBody>
                    <a:bodyPr/>
                    <a:lstStyle/>
                    <a:p>
                      <a:pPr algn="ctr" fontAlgn="ctr" hangingPunct="0"/>
                      <a:r>
                        <a:rPr kumimoji="1" lang="en-US" altLang="ja-JP" sz="11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p>
                  </a:txBody>
                  <a:tcPr marL="0" marR="0"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製品</a:t>
                      </a:r>
                    </a:p>
                  </a:txBody>
                  <a:tcPr marL="0" marR="0"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取扱メーカー</a:t>
                      </a:r>
                    </a:p>
                  </a:txBody>
                  <a:tcPr marL="0" marR="0"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53455">
                <a:tc>
                  <a:txBody>
                    <a:bodyPr/>
                    <a:lstStyle/>
                    <a:p>
                      <a:pPr algn="ctr" fontAlgn="ctr"/>
                      <a:r>
                        <a:rPr lang="en-US" altLang="ja-JP" sz="1000" b="0" i="0" u="none" strike="noStrike" dirty="0">
                          <a:solidFill>
                            <a:srgbClr val="000000"/>
                          </a:solidFill>
                          <a:effectLst/>
                          <a:latin typeface="+mn-lt"/>
                          <a:ea typeface="+mn-ea"/>
                        </a:rPr>
                        <a:t>24</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dirty="0">
                          <a:solidFill>
                            <a:srgbClr val="000000"/>
                          </a:solidFill>
                          <a:effectLst/>
                          <a:latin typeface="+mn-lt"/>
                          <a:ea typeface="+mn-ea"/>
                        </a:rPr>
                        <a:t>RKTEC – REPRESENTAÇÕES COMERCIAIS LTDA-ME / ILHATEC Produtos e Serviços Hospitalares</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mn-lt"/>
                          <a:ea typeface="+mn-ea"/>
                        </a:rPr>
                        <a:t>1998</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spc="0" baseline="0" dirty="0">
                          <a:solidFill>
                            <a:srgbClr val="000000"/>
                          </a:solidFill>
                          <a:effectLst/>
                          <a:latin typeface="+mn-lt"/>
                          <a:ea typeface="+mn-ea"/>
                        </a:rPr>
                        <a:t>モニター、除細動器、</a:t>
                      </a:r>
                      <a:r>
                        <a:rPr lang="en-US" altLang="ja-JP" sz="950" b="0" i="0" u="none" strike="noStrike" spc="0" baseline="0" dirty="0">
                          <a:solidFill>
                            <a:srgbClr val="000000"/>
                          </a:solidFill>
                          <a:effectLst/>
                          <a:latin typeface="+mn-lt"/>
                          <a:ea typeface="+mn-ea"/>
                        </a:rPr>
                        <a:t>AED</a:t>
                      </a:r>
                      <a:r>
                        <a:rPr lang="ja-JP" altLang="en-US" sz="950" b="0" i="0" u="none" strike="noStrike" spc="0" baseline="0" dirty="0" err="1">
                          <a:solidFill>
                            <a:srgbClr val="000000"/>
                          </a:solidFill>
                          <a:effectLst/>
                          <a:latin typeface="+mn-lt"/>
                          <a:ea typeface="+mn-ea"/>
                        </a:rPr>
                        <a:t>、</a:t>
                      </a:r>
                      <a:r>
                        <a:rPr lang="ja-JP" altLang="en-US" sz="950" b="0" i="0" u="none" strike="noStrike" spc="0" baseline="0" dirty="0">
                          <a:solidFill>
                            <a:srgbClr val="000000"/>
                          </a:solidFill>
                          <a:effectLst/>
                          <a:latin typeface="+mn-lt"/>
                          <a:ea typeface="+mn-ea"/>
                        </a:rPr>
                        <a:t>麻酔器具、</a:t>
                      </a:r>
                      <a:br>
                        <a:rPr lang="en-US" altLang="ja-JP" sz="950" b="0" i="0" u="none" strike="noStrike" spc="0" baseline="0" dirty="0">
                          <a:solidFill>
                            <a:srgbClr val="000000"/>
                          </a:solidFill>
                          <a:effectLst/>
                          <a:latin typeface="+mn-lt"/>
                          <a:ea typeface="+mn-ea"/>
                        </a:rPr>
                      </a:br>
                      <a:r>
                        <a:rPr lang="ja-JP" altLang="en-US" sz="950" b="0" i="0" u="none" strike="noStrike" spc="0" baseline="0" dirty="0">
                          <a:solidFill>
                            <a:srgbClr val="000000"/>
                          </a:solidFill>
                          <a:effectLst/>
                          <a:latin typeface="+mn-lt"/>
                          <a:ea typeface="+mn-ea"/>
                        </a:rPr>
                        <a:t>心電図装置、病院用家具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dirty="0">
                          <a:solidFill>
                            <a:srgbClr val="000000"/>
                          </a:solidFill>
                          <a:effectLst/>
                          <a:latin typeface="+mn-lt"/>
                          <a:ea typeface="+mn-ea"/>
                        </a:rPr>
                        <a:t>PHILIPS</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DIXTAL</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ERWIN GUTH</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COSIMO</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CATALDO</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LANCO</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WEM</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HOSPITALMED</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INPROMED</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VOLKER</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TRUMPF</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RWR</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EQUIPAMEN-TOS</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78470">
                <a:tc>
                  <a:txBody>
                    <a:bodyPr/>
                    <a:lstStyle/>
                    <a:p>
                      <a:pPr algn="ctr" fontAlgn="ctr"/>
                      <a:r>
                        <a:rPr lang="en-US" altLang="ja-JP" sz="1000" b="0" i="0" u="none" strike="noStrike">
                          <a:solidFill>
                            <a:srgbClr val="000000"/>
                          </a:solidFill>
                          <a:effectLst/>
                          <a:latin typeface="+mn-lt"/>
                          <a:ea typeface="+mn-ea"/>
                        </a:rPr>
                        <a:t>25</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dirty="0">
                          <a:solidFill>
                            <a:srgbClr val="000000"/>
                          </a:solidFill>
                          <a:effectLst/>
                          <a:latin typeface="+mn-lt"/>
                          <a:ea typeface="+mn-ea"/>
                        </a:rPr>
                        <a:t>SINAL VITAL Comercial de Produtos Médico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mn-lt"/>
                          <a:ea typeface="+mn-ea"/>
                        </a:rPr>
                        <a:t>20</a:t>
                      </a:r>
                      <a:r>
                        <a:rPr lang="ja-JP" altLang="en-US" sz="1000" b="0" i="0" u="none" strike="noStrike" dirty="0">
                          <a:solidFill>
                            <a:srgbClr val="000000"/>
                          </a:solidFill>
                          <a:effectLst/>
                          <a:latin typeface="+mn-lt"/>
                          <a:ea typeface="+mn-ea"/>
                        </a:rPr>
                        <a:t>年</a:t>
                      </a:r>
                      <a:endParaRPr lang="en-US" altLang="ja-JP" sz="1000" b="0" i="0" u="none" strike="noStrike" dirty="0">
                        <a:solidFill>
                          <a:srgbClr val="000000"/>
                        </a:solidFill>
                        <a:effectLst/>
                        <a:latin typeface="+mn-lt"/>
                        <a:ea typeface="+mn-ea"/>
                      </a:endParaRPr>
                    </a:p>
                    <a:p>
                      <a:pPr algn="ctr" fontAlgn="ctr"/>
                      <a:r>
                        <a:rPr lang="ja-JP" altLang="en-US" sz="1000" b="0" i="0" u="none" strike="noStrike" dirty="0">
                          <a:solidFill>
                            <a:srgbClr val="000000"/>
                          </a:solidFill>
                          <a:effectLst/>
                          <a:latin typeface="+mn-lt"/>
                          <a:ea typeface="+mn-ea"/>
                        </a:rPr>
                        <a:t>以上</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dirty="0">
                          <a:solidFill>
                            <a:srgbClr val="000000"/>
                          </a:solidFill>
                          <a:effectLst/>
                          <a:latin typeface="+mn-lt"/>
                          <a:ea typeface="+mn-ea"/>
                        </a:rPr>
                        <a:t>麻酔器具、除細動器、心電図装置、胎児モニター、</a:t>
                      </a:r>
                      <a:br>
                        <a:rPr lang="en-US" altLang="ja-JP" sz="950" b="0" i="0" u="none" strike="noStrike" dirty="0">
                          <a:solidFill>
                            <a:srgbClr val="000000"/>
                          </a:solidFill>
                          <a:effectLst/>
                          <a:latin typeface="+mn-lt"/>
                          <a:ea typeface="+mn-ea"/>
                        </a:rPr>
                      </a:br>
                      <a:r>
                        <a:rPr lang="ja-JP" altLang="en-US" sz="950" b="0" i="0" u="none" strike="noStrike" dirty="0">
                          <a:solidFill>
                            <a:srgbClr val="000000"/>
                          </a:solidFill>
                          <a:effectLst/>
                          <a:latin typeface="+mn-lt"/>
                          <a:ea typeface="+mn-ea"/>
                        </a:rPr>
                        <a:t>マルチパラメーター装置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dirty="0">
                          <a:solidFill>
                            <a:srgbClr val="000000"/>
                          </a:solidFill>
                          <a:effectLst/>
                          <a:latin typeface="+mn-lt"/>
                          <a:ea typeface="+mn-ea"/>
                        </a:rPr>
                        <a:t>PHILIPS</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DIXTAL</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83474">
                <a:tc>
                  <a:txBody>
                    <a:bodyPr/>
                    <a:lstStyle/>
                    <a:p>
                      <a:pPr algn="ctr" fontAlgn="ctr"/>
                      <a:r>
                        <a:rPr lang="en-US" altLang="ja-JP" sz="1000" b="0" i="0" u="none" strike="noStrike" dirty="0">
                          <a:solidFill>
                            <a:srgbClr val="000000"/>
                          </a:solidFill>
                          <a:effectLst/>
                          <a:latin typeface="+mn-lt"/>
                          <a:ea typeface="+mn-ea"/>
                        </a:rPr>
                        <a:t>26</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dirty="0">
                          <a:solidFill>
                            <a:srgbClr val="000000"/>
                          </a:solidFill>
                          <a:effectLst/>
                          <a:latin typeface="+mn-lt"/>
                          <a:ea typeface="+mn-ea"/>
                        </a:rPr>
                        <a:t>Stencor Comércio Produtos Hospitalares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mn-lt"/>
                          <a:ea typeface="+mn-ea"/>
                        </a:rPr>
                        <a:t>2002</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dirty="0">
                          <a:solidFill>
                            <a:srgbClr val="000000"/>
                          </a:solidFill>
                          <a:effectLst/>
                          <a:latin typeface="+mn-lt"/>
                          <a:ea typeface="+mn-ea"/>
                        </a:rPr>
                        <a:t>カテーテルなど</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dirty="0">
                          <a:solidFill>
                            <a:srgbClr val="000000"/>
                          </a:solidFill>
                          <a:effectLst/>
                          <a:latin typeface="+mn-lt"/>
                          <a:ea typeface="+mn-ea"/>
                        </a:rPr>
                        <a:t>TERUMO</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DATASCOPE IN-OUE-BALLOON-TORAY</a:t>
                      </a:r>
                      <a:r>
                        <a:rPr lang="ja-JP" altLang="en-US" sz="950" b="0" i="0" u="none" strike="noStrike" dirty="0" err="1">
                          <a:solidFill>
                            <a:srgbClr val="000000"/>
                          </a:solidFill>
                          <a:effectLst/>
                          <a:latin typeface="+mn-lt"/>
                          <a:ea typeface="+mn-ea"/>
                        </a:rPr>
                        <a:t>、</a:t>
                      </a:r>
                      <a:r>
                        <a:rPr lang="en-US" sz="950" b="0" i="0" u="none" strike="noStrike" dirty="0">
                          <a:solidFill>
                            <a:srgbClr val="000000"/>
                          </a:solidFill>
                          <a:effectLst/>
                          <a:latin typeface="+mn-lt"/>
                          <a:ea typeface="+mn-ea"/>
                        </a:rPr>
                        <a:t>ATRION MEDICAL</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74766">
                <a:tc>
                  <a:txBody>
                    <a:bodyPr/>
                    <a:lstStyle/>
                    <a:p>
                      <a:pPr algn="ctr" fontAlgn="ctr"/>
                      <a:r>
                        <a:rPr lang="en-US" altLang="ja-JP" sz="1000" b="0" i="0" u="none" strike="noStrike" dirty="0">
                          <a:solidFill>
                            <a:srgbClr val="000000"/>
                          </a:solidFill>
                          <a:effectLst/>
                          <a:latin typeface="+mn-lt"/>
                          <a:ea typeface="+mn-ea"/>
                        </a:rPr>
                        <a:t>27</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sz="1000" b="0" i="0" u="none" strike="noStrike" dirty="0">
                          <a:solidFill>
                            <a:srgbClr val="000000"/>
                          </a:solidFill>
                          <a:effectLst/>
                          <a:latin typeface="+mn-lt"/>
                          <a:ea typeface="+mn-ea"/>
                        </a:rPr>
                        <a:t>Stock </a:t>
                      </a:r>
                      <a:r>
                        <a:rPr lang="en-US" sz="1000" b="0" i="0" u="none" strike="noStrike" dirty="0" err="1">
                          <a:solidFill>
                            <a:srgbClr val="000000"/>
                          </a:solidFill>
                          <a:effectLst/>
                          <a:latin typeface="+mn-lt"/>
                          <a:ea typeface="+mn-ea"/>
                        </a:rPr>
                        <a:t>Hospitalar</a:t>
                      </a:r>
                      <a:r>
                        <a:rPr lang="en-US" sz="1000" b="0" i="0" u="none" strike="noStrike" dirty="0">
                          <a:solidFill>
                            <a:srgbClr val="000000"/>
                          </a:solidFill>
                          <a:effectLst/>
                          <a:latin typeface="+mn-lt"/>
                          <a:ea typeface="+mn-ea"/>
                        </a:rPr>
                        <a:t> </a:t>
                      </a:r>
                      <a:r>
                        <a:rPr lang="en-US" sz="1000" b="0" i="0" u="none" strike="noStrike" dirty="0" err="1">
                          <a:solidFill>
                            <a:srgbClr val="000000"/>
                          </a:solidFill>
                          <a:effectLst/>
                          <a:latin typeface="+mn-lt"/>
                          <a:ea typeface="+mn-ea"/>
                        </a:rPr>
                        <a:t>Comercial</a:t>
                      </a:r>
                      <a:r>
                        <a:rPr lang="en-US" sz="1000" b="0" i="0" u="none" strike="noStrike" dirty="0">
                          <a:solidFill>
                            <a:srgbClr val="000000"/>
                          </a:solidFill>
                          <a:effectLst/>
                          <a:latin typeface="+mn-lt"/>
                          <a:ea typeface="+mn-ea"/>
                        </a:rPr>
                        <a:t>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mn-lt"/>
                          <a:ea typeface="+mn-ea"/>
                        </a:rPr>
                        <a:t>1999</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dirty="0">
                          <a:solidFill>
                            <a:srgbClr val="000000"/>
                          </a:solidFill>
                          <a:effectLst/>
                          <a:latin typeface="+mn-lt"/>
                          <a:ea typeface="+mn-ea"/>
                        </a:rPr>
                        <a:t>不明</a:t>
                      </a:r>
                      <a:endParaRPr lang="en-US" sz="950" b="0" i="0" u="none" strike="noStrike" dirty="0">
                        <a:solidFill>
                          <a:srgbClr val="000000"/>
                        </a:solidFill>
                        <a:effectLst/>
                        <a:latin typeface="+mn-lt"/>
                        <a:ea typeface="+mn-ea"/>
                      </a:endParaRP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dirty="0" err="1">
                          <a:solidFill>
                            <a:srgbClr val="000000"/>
                          </a:solidFill>
                          <a:effectLst/>
                          <a:latin typeface="+mn-lt"/>
                          <a:ea typeface="+mn-ea"/>
                        </a:rPr>
                        <a:t>Critália</a:t>
                      </a:r>
                      <a:r>
                        <a:rPr lang="ja-JP" altLang="en-US" sz="950" b="0" i="0" u="none" strike="noStrike" dirty="0" err="1">
                          <a:solidFill>
                            <a:srgbClr val="000000"/>
                          </a:solidFill>
                          <a:effectLst/>
                          <a:latin typeface="+mn-lt"/>
                          <a:ea typeface="+mn-ea"/>
                        </a:rPr>
                        <a:t>、</a:t>
                      </a:r>
                      <a:r>
                        <a:rPr lang="en-US" sz="950" b="0" i="0" u="none" strike="noStrike" dirty="0" err="1">
                          <a:solidFill>
                            <a:srgbClr val="000000"/>
                          </a:solidFill>
                          <a:effectLst/>
                          <a:latin typeface="+mn-lt"/>
                          <a:ea typeface="+mn-ea"/>
                        </a:rPr>
                        <a:t>Embramed</a:t>
                      </a:r>
                      <a:r>
                        <a:rPr lang="ja-JP" altLang="en-US" sz="950" b="0" i="0" u="none" strike="noStrike" dirty="0" err="1">
                          <a:solidFill>
                            <a:srgbClr val="000000"/>
                          </a:solidFill>
                          <a:effectLst/>
                          <a:latin typeface="+mn-lt"/>
                          <a:ea typeface="+mn-ea"/>
                        </a:rPr>
                        <a:t>、</a:t>
                      </a:r>
                      <a:r>
                        <a:rPr lang="en-US" sz="950" b="0" i="0" u="none" strike="noStrike" dirty="0" err="1">
                          <a:solidFill>
                            <a:srgbClr val="000000"/>
                          </a:solidFill>
                          <a:effectLst/>
                          <a:latin typeface="+mn-lt"/>
                          <a:ea typeface="+mn-ea"/>
                        </a:rPr>
                        <a:t>Cirúrgica</a:t>
                      </a:r>
                      <a:r>
                        <a:rPr lang="en-US" sz="950" b="0" i="0" u="none" strike="noStrike" dirty="0">
                          <a:solidFill>
                            <a:srgbClr val="000000"/>
                          </a:solidFill>
                          <a:effectLst/>
                          <a:latin typeface="+mn-lt"/>
                          <a:ea typeface="+mn-ea"/>
                        </a:rPr>
                        <a:t> Fernandes</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83474">
                <a:tc>
                  <a:txBody>
                    <a:bodyPr/>
                    <a:lstStyle/>
                    <a:p>
                      <a:pPr algn="ctr" fontAlgn="ctr"/>
                      <a:r>
                        <a:rPr lang="en-US" altLang="ja-JP" sz="1000" b="0" i="0" u="none" strike="noStrike" dirty="0">
                          <a:solidFill>
                            <a:srgbClr val="000000"/>
                          </a:solidFill>
                          <a:effectLst/>
                          <a:latin typeface="+mn-lt"/>
                          <a:ea typeface="+mn-ea"/>
                        </a:rPr>
                        <a:t>28</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dirty="0">
                          <a:solidFill>
                            <a:srgbClr val="000000"/>
                          </a:solidFill>
                          <a:effectLst/>
                          <a:latin typeface="+mn-lt"/>
                          <a:ea typeface="+mn-ea"/>
                        </a:rPr>
                        <a:t>Top Med Comércio e Representação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mn-lt"/>
                          <a:ea typeface="+mn-ea"/>
                        </a:rPr>
                        <a:t>2005</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dirty="0">
                          <a:solidFill>
                            <a:srgbClr val="000000"/>
                          </a:solidFill>
                          <a:effectLst/>
                          <a:latin typeface="+mn-lt"/>
                          <a:ea typeface="+mn-ea"/>
                        </a:rPr>
                        <a:t>アーチ手術用機材、骨密度測定器、マンモグラフィ、</a:t>
                      </a:r>
                      <a:br>
                        <a:rPr lang="en-US" altLang="ja-JP" sz="950" b="0" i="0" u="none" strike="noStrike" dirty="0">
                          <a:solidFill>
                            <a:srgbClr val="000000"/>
                          </a:solidFill>
                          <a:effectLst/>
                          <a:latin typeface="+mn-lt"/>
                          <a:ea typeface="+mn-ea"/>
                        </a:rPr>
                      </a:br>
                      <a:r>
                        <a:rPr lang="ja-JP" altLang="en-US" sz="950" b="0" i="0" u="none" strike="noStrike" dirty="0">
                          <a:solidFill>
                            <a:srgbClr val="000000"/>
                          </a:solidFill>
                          <a:effectLst/>
                          <a:latin typeface="+mn-lt"/>
                          <a:ea typeface="+mn-ea"/>
                        </a:rPr>
                        <a:t>核医学、</a:t>
                      </a:r>
                      <a:r>
                        <a:rPr lang="en-US" altLang="ja-JP" sz="950" b="0" i="0" u="none" strike="noStrike" dirty="0">
                          <a:solidFill>
                            <a:srgbClr val="000000"/>
                          </a:solidFill>
                          <a:effectLst/>
                          <a:latin typeface="+mn-lt"/>
                          <a:ea typeface="+mn-ea"/>
                        </a:rPr>
                        <a:t>X</a:t>
                      </a:r>
                      <a:r>
                        <a:rPr lang="ja-JP" altLang="en-US" sz="950" b="0" i="0" u="none" strike="noStrike" dirty="0">
                          <a:solidFill>
                            <a:srgbClr val="000000"/>
                          </a:solidFill>
                          <a:effectLst/>
                          <a:latin typeface="+mn-lt"/>
                          <a:ea typeface="+mn-ea"/>
                        </a:rPr>
                        <a:t>線装置、</a:t>
                      </a:r>
                      <a:r>
                        <a:rPr lang="en-US" altLang="ja-JP" sz="950" b="0" i="0" u="none" strike="noStrike" dirty="0">
                          <a:solidFill>
                            <a:srgbClr val="000000"/>
                          </a:solidFill>
                          <a:effectLst/>
                          <a:latin typeface="+mn-lt"/>
                          <a:ea typeface="+mn-ea"/>
                        </a:rPr>
                        <a:t>MRI</a:t>
                      </a:r>
                      <a:r>
                        <a:rPr lang="ja-JP" altLang="en-US" sz="950" b="0" i="0" u="none" strike="noStrike" dirty="0" err="1">
                          <a:solidFill>
                            <a:srgbClr val="000000"/>
                          </a:solidFill>
                          <a:effectLst/>
                          <a:latin typeface="+mn-lt"/>
                          <a:ea typeface="+mn-ea"/>
                        </a:rPr>
                        <a:t>、</a:t>
                      </a:r>
                      <a:r>
                        <a:rPr lang="en-US" altLang="ja-JP" sz="950" b="0" i="0" u="none" strike="noStrike" dirty="0">
                          <a:solidFill>
                            <a:srgbClr val="000000"/>
                          </a:solidFill>
                          <a:effectLst/>
                          <a:latin typeface="+mn-lt"/>
                          <a:ea typeface="+mn-ea"/>
                        </a:rPr>
                        <a:t>CT</a:t>
                      </a:r>
                      <a:r>
                        <a:rPr lang="ja-JP" altLang="en-US" sz="950" b="0" i="0" u="none" strike="noStrike" dirty="0" err="1">
                          <a:solidFill>
                            <a:srgbClr val="000000"/>
                          </a:solidFill>
                          <a:effectLst/>
                          <a:latin typeface="+mn-lt"/>
                          <a:ea typeface="+mn-ea"/>
                        </a:rPr>
                        <a:t>、</a:t>
                      </a:r>
                      <a:r>
                        <a:rPr lang="ja-JP" altLang="en-US" sz="950" b="0" i="0" u="none" strike="noStrike" dirty="0">
                          <a:solidFill>
                            <a:srgbClr val="000000"/>
                          </a:solidFill>
                          <a:effectLst/>
                          <a:latin typeface="+mn-lt"/>
                          <a:ea typeface="+mn-ea"/>
                        </a:rPr>
                        <a:t>超音波機器</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dirty="0">
                          <a:solidFill>
                            <a:srgbClr val="000000"/>
                          </a:solidFill>
                          <a:effectLst/>
                          <a:latin typeface="+mn-lt"/>
                          <a:ea typeface="+mn-ea"/>
                        </a:rPr>
                        <a:t>GE HEALTHCARE</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74766">
                <a:tc>
                  <a:txBody>
                    <a:bodyPr/>
                    <a:lstStyle/>
                    <a:p>
                      <a:pPr algn="ctr" fontAlgn="ctr"/>
                      <a:r>
                        <a:rPr lang="en-US" altLang="ja-JP" sz="1000" b="0" i="0" u="none" strike="noStrike" dirty="0">
                          <a:solidFill>
                            <a:srgbClr val="000000"/>
                          </a:solidFill>
                          <a:effectLst/>
                          <a:latin typeface="+mn-lt"/>
                          <a:ea typeface="+mn-ea"/>
                        </a:rPr>
                        <a:t>29</a:t>
                      </a:r>
                    </a:p>
                  </a:txBody>
                  <a:tcPr marL="9525" marR="9525" marT="9525"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pt-BR" sz="1000" b="0" i="0" u="none" strike="noStrike" dirty="0">
                          <a:solidFill>
                            <a:srgbClr val="000000"/>
                          </a:solidFill>
                          <a:effectLst/>
                          <a:latin typeface="+mn-lt"/>
                          <a:ea typeface="+mn-ea"/>
                        </a:rPr>
                        <a:t>VITAE TECNOLOGIA EM MEDICINA LTDA</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mn-lt"/>
                          <a:ea typeface="+mn-ea"/>
                        </a:rPr>
                        <a:t>1998</a:t>
                      </a:r>
                    </a:p>
                  </a:txBody>
                  <a:tcPr marL="36000" marR="36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8E8E8"/>
                    </a:solidFill>
                  </a:tcPr>
                </a:tc>
                <a:tc>
                  <a:txBody>
                    <a:bodyPr/>
                    <a:lstStyle/>
                    <a:p>
                      <a:pPr algn="l" fontAlgn="ctr"/>
                      <a:r>
                        <a:rPr lang="ja-JP" altLang="en-US" sz="950" b="0" i="0" u="none" strike="noStrike" dirty="0">
                          <a:solidFill>
                            <a:srgbClr val="000000"/>
                          </a:solidFill>
                          <a:effectLst/>
                          <a:latin typeface="+mn-lt"/>
                          <a:ea typeface="+mn-ea"/>
                        </a:rPr>
                        <a:t>圧力シミュレーター、オキシメトリシミュレーター、</a:t>
                      </a:r>
                      <a:br>
                        <a:rPr lang="en-US" altLang="ja-JP" sz="950" b="0" i="0" u="none" strike="noStrike" dirty="0">
                          <a:solidFill>
                            <a:srgbClr val="000000"/>
                          </a:solidFill>
                          <a:effectLst/>
                          <a:latin typeface="+mn-lt"/>
                          <a:ea typeface="+mn-ea"/>
                        </a:rPr>
                      </a:br>
                      <a:r>
                        <a:rPr lang="ja-JP" altLang="en-US" sz="950" b="0" i="0" u="none" strike="noStrike" dirty="0">
                          <a:solidFill>
                            <a:srgbClr val="000000"/>
                          </a:solidFill>
                          <a:effectLst/>
                          <a:latin typeface="+mn-lt"/>
                          <a:ea typeface="+mn-ea"/>
                        </a:rPr>
                        <a:t>肺換気装置シミュレーター、除細動器シミュレーター、</a:t>
                      </a:r>
                      <a:br>
                        <a:rPr lang="en-US" altLang="ja-JP" sz="950" b="0" i="0" u="none" strike="noStrike" dirty="0">
                          <a:solidFill>
                            <a:srgbClr val="000000"/>
                          </a:solidFill>
                          <a:effectLst/>
                          <a:latin typeface="+mn-lt"/>
                          <a:ea typeface="+mn-ea"/>
                        </a:rPr>
                      </a:br>
                      <a:r>
                        <a:rPr lang="ja-JP" altLang="en-US" sz="950" b="0" i="0" u="none" strike="noStrike" dirty="0">
                          <a:solidFill>
                            <a:srgbClr val="000000"/>
                          </a:solidFill>
                          <a:effectLst/>
                          <a:latin typeface="+mn-lt"/>
                          <a:ea typeface="+mn-ea"/>
                        </a:rPr>
                        <a:t>輸液ポンプシミュレーター</a:t>
                      </a:r>
                    </a:p>
                  </a:txBody>
                  <a:tcPr marL="108000" marR="72000" marT="9525" marB="10800" anchor="ctr">
                    <a:lnL w="6350" cap="flat" cmpd="sng" algn="ctr">
                      <a:solidFill>
                        <a:srgbClr val="FFFFFF"/>
                      </a:solidFill>
                      <a:prstDash val="solid"/>
                      <a:round/>
                      <a:headEnd type="none" w="med" len="med"/>
                      <a:tailEnd type="none" w="med" len="med"/>
                    </a:lnL>
                    <a:lnR w="1905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tc>
                  <a:txBody>
                    <a:bodyPr/>
                    <a:lstStyle/>
                    <a:p>
                      <a:pPr algn="l" fontAlgn="ctr"/>
                      <a:r>
                        <a:rPr lang="en-US" sz="950" b="0" i="0" u="none" strike="noStrike" dirty="0" err="1">
                          <a:solidFill>
                            <a:srgbClr val="000000"/>
                          </a:solidFill>
                          <a:effectLst/>
                          <a:latin typeface="+mn-lt"/>
                          <a:ea typeface="+mn-ea"/>
                        </a:rPr>
                        <a:t>Linha</a:t>
                      </a:r>
                      <a:r>
                        <a:rPr lang="en-US" sz="950" b="0" i="0" u="none" strike="noStrike" dirty="0">
                          <a:solidFill>
                            <a:srgbClr val="000000"/>
                          </a:solidFill>
                          <a:effectLst/>
                          <a:latin typeface="+mn-lt"/>
                          <a:ea typeface="+mn-ea"/>
                        </a:rPr>
                        <a:t> de </a:t>
                      </a:r>
                      <a:r>
                        <a:rPr lang="en-US" sz="950" b="0" i="0" u="none" strike="noStrike" dirty="0" err="1">
                          <a:solidFill>
                            <a:srgbClr val="000000"/>
                          </a:solidFill>
                          <a:effectLst/>
                          <a:latin typeface="+mn-lt"/>
                          <a:ea typeface="+mn-ea"/>
                        </a:rPr>
                        <a:t>Produtos</a:t>
                      </a:r>
                      <a:r>
                        <a:rPr lang="en-US" sz="950" b="0" i="0" u="none" strike="noStrike" dirty="0">
                          <a:solidFill>
                            <a:srgbClr val="000000"/>
                          </a:solidFill>
                          <a:effectLst/>
                          <a:latin typeface="+mn-lt"/>
                          <a:ea typeface="+mn-ea"/>
                        </a:rPr>
                        <a:t> de </a:t>
                      </a:r>
                      <a:r>
                        <a:rPr lang="en-US" sz="950" b="0" i="0" u="none" strike="noStrike" dirty="0" err="1">
                          <a:solidFill>
                            <a:srgbClr val="000000"/>
                          </a:solidFill>
                          <a:effectLst/>
                          <a:latin typeface="+mn-lt"/>
                          <a:ea typeface="+mn-ea"/>
                        </a:rPr>
                        <a:t>Imagem</a:t>
                      </a:r>
                      <a:r>
                        <a:rPr lang="en-US" sz="950" b="0" i="0" u="none" strike="noStrike" dirty="0">
                          <a:solidFill>
                            <a:srgbClr val="000000"/>
                          </a:solidFill>
                          <a:effectLst/>
                          <a:latin typeface="+mn-lt"/>
                          <a:ea typeface="+mn-ea"/>
                        </a:rPr>
                        <a:t> Philips</a:t>
                      </a:r>
                    </a:p>
                  </a:txBody>
                  <a:tcPr marL="36000" marR="36000" marT="9525" marB="10800" anchor="ctr">
                    <a:lnL w="190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ブラジルの医療機器市場と規制」（</a:t>
            </a:r>
            <a:r>
              <a:rPr lang="en-US" altLang="ja-JP" sz="800" dirty="0"/>
              <a:t>2012</a:t>
            </a:r>
            <a:r>
              <a:rPr lang="ja-JP" altLang="en-US" sz="800" dirty="0"/>
              <a:t>）</a:t>
            </a:r>
          </a:p>
        </p:txBody>
      </p:sp>
    </p:spTree>
    <p:extLst>
      <p:ext uri="{BB962C8B-B14F-4D97-AF65-F5344CB8AC3E}">
        <p14:creationId xmlns:p14="http://schemas.microsoft.com/office/powerpoint/2010/main" val="342857399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7"/>
          <p:cNvSpPr>
            <a:spLocks/>
          </p:cNvSpPr>
          <p:nvPr/>
        </p:nvSpPr>
        <p:spPr bwMode="auto">
          <a:xfrm>
            <a:off x="2504728" y="1704682"/>
            <a:ext cx="4411520" cy="4584954"/>
          </a:xfrm>
          <a:custGeom>
            <a:avLst/>
            <a:gdLst>
              <a:gd name="T0" fmla="*/ 2242 w 2391"/>
              <a:gd name="T1" fmla="*/ 667 h 2485"/>
              <a:gd name="T2" fmla="*/ 2099 w 2391"/>
              <a:gd name="T3" fmla="*/ 573 h 2485"/>
              <a:gd name="T4" fmla="*/ 1956 w 2391"/>
              <a:gd name="T5" fmla="*/ 524 h 2485"/>
              <a:gd name="T6" fmla="*/ 1818 w 2391"/>
              <a:gd name="T7" fmla="*/ 481 h 2485"/>
              <a:gd name="T8" fmla="*/ 1723 w 2391"/>
              <a:gd name="T9" fmla="*/ 381 h 2485"/>
              <a:gd name="T10" fmla="*/ 1575 w 2391"/>
              <a:gd name="T11" fmla="*/ 332 h 2485"/>
              <a:gd name="T12" fmla="*/ 1483 w 2391"/>
              <a:gd name="T13" fmla="*/ 238 h 2485"/>
              <a:gd name="T14" fmla="*/ 1388 w 2391"/>
              <a:gd name="T15" fmla="*/ 100 h 2485"/>
              <a:gd name="T16" fmla="*/ 1289 w 2391"/>
              <a:gd name="T17" fmla="*/ 143 h 2485"/>
              <a:gd name="T18" fmla="*/ 1197 w 2391"/>
              <a:gd name="T19" fmla="*/ 189 h 2485"/>
              <a:gd name="T20" fmla="*/ 1048 w 2391"/>
              <a:gd name="T21" fmla="*/ 238 h 2485"/>
              <a:gd name="T22" fmla="*/ 910 w 2391"/>
              <a:gd name="T23" fmla="*/ 238 h 2485"/>
              <a:gd name="T24" fmla="*/ 910 w 2391"/>
              <a:gd name="T25" fmla="*/ 100 h 2485"/>
              <a:gd name="T26" fmla="*/ 859 w 2391"/>
              <a:gd name="T27" fmla="*/ 0 h 2485"/>
              <a:gd name="T28" fmla="*/ 716 w 2391"/>
              <a:gd name="T29" fmla="*/ 95 h 2485"/>
              <a:gd name="T30" fmla="*/ 573 w 2391"/>
              <a:gd name="T31" fmla="*/ 46 h 2485"/>
              <a:gd name="T32" fmla="*/ 524 w 2391"/>
              <a:gd name="T33" fmla="*/ 194 h 2485"/>
              <a:gd name="T34" fmla="*/ 573 w 2391"/>
              <a:gd name="T35" fmla="*/ 286 h 2485"/>
              <a:gd name="T36" fmla="*/ 481 w 2391"/>
              <a:gd name="T37" fmla="*/ 238 h 2485"/>
              <a:gd name="T38" fmla="*/ 333 w 2391"/>
              <a:gd name="T39" fmla="*/ 238 h 2485"/>
              <a:gd name="T40" fmla="*/ 287 w 2391"/>
              <a:gd name="T41" fmla="*/ 332 h 2485"/>
              <a:gd name="T42" fmla="*/ 287 w 2391"/>
              <a:gd name="T43" fmla="*/ 476 h 2485"/>
              <a:gd name="T44" fmla="*/ 190 w 2391"/>
              <a:gd name="T45" fmla="*/ 573 h 2485"/>
              <a:gd name="T46" fmla="*/ 46 w 2391"/>
              <a:gd name="T47" fmla="*/ 716 h 2485"/>
              <a:gd name="T48" fmla="*/ 0 w 2391"/>
              <a:gd name="T49" fmla="*/ 859 h 2485"/>
              <a:gd name="T50" fmla="*/ 100 w 2391"/>
              <a:gd name="T51" fmla="*/ 959 h 2485"/>
              <a:gd name="T52" fmla="*/ 238 w 2391"/>
              <a:gd name="T53" fmla="*/ 954 h 2485"/>
              <a:gd name="T54" fmla="*/ 292 w 2391"/>
              <a:gd name="T55" fmla="*/ 1053 h 2485"/>
              <a:gd name="T56" fmla="*/ 435 w 2391"/>
              <a:gd name="T57" fmla="*/ 959 h 2485"/>
              <a:gd name="T58" fmla="*/ 524 w 2391"/>
              <a:gd name="T59" fmla="*/ 1048 h 2485"/>
              <a:gd name="T60" fmla="*/ 619 w 2391"/>
              <a:gd name="T61" fmla="*/ 1151 h 2485"/>
              <a:gd name="T62" fmla="*/ 762 w 2391"/>
              <a:gd name="T63" fmla="*/ 1245 h 2485"/>
              <a:gd name="T64" fmla="*/ 811 w 2391"/>
              <a:gd name="T65" fmla="*/ 1388 h 2485"/>
              <a:gd name="T66" fmla="*/ 954 w 2391"/>
              <a:gd name="T67" fmla="*/ 1483 h 2485"/>
              <a:gd name="T68" fmla="*/ 1002 w 2391"/>
              <a:gd name="T69" fmla="*/ 1621 h 2485"/>
              <a:gd name="T70" fmla="*/ 1054 w 2391"/>
              <a:gd name="T71" fmla="*/ 1723 h 2485"/>
              <a:gd name="T72" fmla="*/ 1146 w 2391"/>
              <a:gd name="T73" fmla="*/ 1866 h 2485"/>
              <a:gd name="T74" fmla="*/ 1240 w 2391"/>
              <a:gd name="T75" fmla="*/ 2004 h 2485"/>
              <a:gd name="T76" fmla="*/ 1146 w 2391"/>
              <a:gd name="T77" fmla="*/ 2099 h 2485"/>
              <a:gd name="T78" fmla="*/ 1002 w 2391"/>
              <a:gd name="T79" fmla="*/ 2242 h 2485"/>
              <a:gd name="T80" fmla="*/ 1102 w 2391"/>
              <a:gd name="T81" fmla="*/ 2342 h 2485"/>
              <a:gd name="T82" fmla="*/ 1240 w 2391"/>
              <a:gd name="T83" fmla="*/ 2485 h 2485"/>
              <a:gd name="T84" fmla="*/ 1388 w 2391"/>
              <a:gd name="T85" fmla="*/ 2342 h 2485"/>
              <a:gd name="T86" fmla="*/ 1437 w 2391"/>
              <a:gd name="T87" fmla="*/ 2199 h 2485"/>
              <a:gd name="T88" fmla="*/ 1532 w 2391"/>
              <a:gd name="T89" fmla="*/ 2056 h 2485"/>
              <a:gd name="T90" fmla="*/ 1580 w 2391"/>
              <a:gd name="T91" fmla="*/ 1912 h 2485"/>
              <a:gd name="T92" fmla="*/ 1723 w 2391"/>
              <a:gd name="T93" fmla="*/ 1866 h 2485"/>
              <a:gd name="T94" fmla="*/ 1867 w 2391"/>
              <a:gd name="T95" fmla="*/ 1818 h 2485"/>
              <a:gd name="T96" fmla="*/ 2010 w 2391"/>
              <a:gd name="T97" fmla="*/ 1675 h 2485"/>
              <a:gd name="T98" fmla="*/ 2104 w 2391"/>
              <a:gd name="T99" fmla="*/ 1531 h 2485"/>
              <a:gd name="T100" fmla="*/ 2104 w 2391"/>
              <a:gd name="T101" fmla="*/ 1388 h 2485"/>
              <a:gd name="T102" fmla="*/ 2153 w 2391"/>
              <a:gd name="T103" fmla="*/ 1245 h 2485"/>
              <a:gd name="T104" fmla="*/ 2247 w 2391"/>
              <a:gd name="T105" fmla="*/ 1102 h 2485"/>
              <a:gd name="T106" fmla="*/ 2342 w 2391"/>
              <a:gd name="T107" fmla="*/ 959 h 2485"/>
              <a:gd name="T108" fmla="*/ 2391 w 2391"/>
              <a:gd name="T109" fmla="*/ 816 h 2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91" h="2485">
                <a:moveTo>
                  <a:pt x="2342" y="716"/>
                </a:moveTo>
                <a:lnTo>
                  <a:pt x="2342" y="667"/>
                </a:lnTo>
                <a:lnTo>
                  <a:pt x="2296" y="667"/>
                </a:lnTo>
                <a:lnTo>
                  <a:pt x="2291" y="667"/>
                </a:lnTo>
                <a:lnTo>
                  <a:pt x="2247" y="667"/>
                </a:lnTo>
                <a:lnTo>
                  <a:pt x="2242" y="667"/>
                </a:lnTo>
                <a:lnTo>
                  <a:pt x="2199" y="667"/>
                </a:lnTo>
                <a:lnTo>
                  <a:pt x="2199" y="619"/>
                </a:lnTo>
                <a:lnTo>
                  <a:pt x="2153" y="619"/>
                </a:lnTo>
                <a:lnTo>
                  <a:pt x="2153" y="573"/>
                </a:lnTo>
                <a:lnTo>
                  <a:pt x="2104" y="573"/>
                </a:lnTo>
                <a:lnTo>
                  <a:pt x="2099" y="573"/>
                </a:lnTo>
                <a:lnTo>
                  <a:pt x="2056" y="573"/>
                </a:lnTo>
                <a:lnTo>
                  <a:pt x="2056" y="524"/>
                </a:lnTo>
                <a:lnTo>
                  <a:pt x="2010" y="524"/>
                </a:lnTo>
                <a:lnTo>
                  <a:pt x="2005" y="524"/>
                </a:lnTo>
                <a:lnTo>
                  <a:pt x="1961" y="524"/>
                </a:lnTo>
                <a:lnTo>
                  <a:pt x="1956" y="524"/>
                </a:lnTo>
                <a:lnTo>
                  <a:pt x="1913" y="524"/>
                </a:lnTo>
                <a:lnTo>
                  <a:pt x="1907" y="524"/>
                </a:lnTo>
                <a:lnTo>
                  <a:pt x="1867" y="524"/>
                </a:lnTo>
                <a:lnTo>
                  <a:pt x="1861" y="524"/>
                </a:lnTo>
                <a:lnTo>
                  <a:pt x="1818" y="524"/>
                </a:lnTo>
                <a:lnTo>
                  <a:pt x="1818" y="481"/>
                </a:lnTo>
                <a:lnTo>
                  <a:pt x="1818" y="476"/>
                </a:lnTo>
                <a:lnTo>
                  <a:pt x="1818" y="430"/>
                </a:lnTo>
                <a:lnTo>
                  <a:pt x="1769" y="430"/>
                </a:lnTo>
                <a:lnTo>
                  <a:pt x="1764" y="430"/>
                </a:lnTo>
                <a:lnTo>
                  <a:pt x="1723" y="430"/>
                </a:lnTo>
                <a:lnTo>
                  <a:pt x="1723" y="381"/>
                </a:lnTo>
                <a:lnTo>
                  <a:pt x="1675" y="381"/>
                </a:lnTo>
                <a:lnTo>
                  <a:pt x="1670" y="381"/>
                </a:lnTo>
                <a:lnTo>
                  <a:pt x="1626" y="381"/>
                </a:lnTo>
                <a:lnTo>
                  <a:pt x="1626" y="332"/>
                </a:lnTo>
                <a:lnTo>
                  <a:pt x="1580" y="332"/>
                </a:lnTo>
                <a:lnTo>
                  <a:pt x="1575" y="332"/>
                </a:lnTo>
                <a:lnTo>
                  <a:pt x="1532" y="332"/>
                </a:lnTo>
                <a:lnTo>
                  <a:pt x="1527" y="332"/>
                </a:lnTo>
                <a:lnTo>
                  <a:pt x="1483" y="332"/>
                </a:lnTo>
                <a:lnTo>
                  <a:pt x="1483" y="292"/>
                </a:lnTo>
                <a:lnTo>
                  <a:pt x="1483" y="286"/>
                </a:lnTo>
                <a:lnTo>
                  <a:pt x="1483" y="238"/>
                </a:lnTo>
                <a:lnTo>
                  <a:pt x="1437" y="238"/>
                </a:lnTo>
                <a:lnTo>
                  <a:pt x="1437" y="194"/>
                </a:lnTo>
                <a:lnTo>
                  <a:pt x="1437" y="189"/>
                </a:lnTo>
                <a:lnTo>
                  <a:pt x="1437" y="143"/>
                </a:lnTo>
                <a:lnTo>
                  <a:pt x="1388" y="143"/>
                </a:lnTo>
                <a:lnTo>
                  <a:pt x="1388" y="100"/>
                </a:lnTo>
                <a:lnTo>
                  <a:pt x="1388" y="95"/>
                </a:lnTo>
                <a:lnTo>
                  <a:pt x="1388" y="46"/>
                </a:lnTo>
                <a:lnTo>
                  <a:pt x="1335" y="46"/>
                </a:lnTo>
                <a:lnTo>
                  <a:pt x="1335" y="95"/>
                </a:lnTo>
                <a:lnTo>
                  <a:pt x="1289" y="95"/>
                </a:lnTo>
                <a:lnTo>
                  <a:pt x="1289" y="143"/>
                </a:lnTo>
                <a:lnTo>
                  <a:pt x="1289" y="148"/>
                </a:lnTo>
                <a:lnTo>
                  <a:pt x="1289" y="189"/>
                </a:lnTo>
                <a:lnTo>
                  <a:pt x="1240" y="189"/>
                </a:lnTo>
                <a:lnTo>
                  <a:pt x="1240" y="238"/>
                </a:lnTo>
                <a:lnTo>
                  <a:pt x="1197" y="238"/>
                </a:lnTo>
                <a:lnTo>
                  <a:pt x="1197" y="189"/>
                </a:lnTo>
                <a:lnTo>
                  <a:pt x="1151" y="189"/>
                </a:lnTo>
                <a:lnTo>
                  <a:pt x="1146" y="189"/>
                </a:lnTo>
                <a:lnTo>
                  <a:pt x="1102" y="189"/>
                </a:lnTo>
                <a:lnTo>
                  <a:pt x="1097" y="189"/>
                </a:lnTo>
                <a:lnTo>
                  <a:pt x="1048" y="189"/>
                </a:lnTo>
                <a:lnTo>
                  <a:pt x="1048" y="238"/>
                </a:lnTo>
                <a:lnTo>
                  <a:pt x="1008" y="238"/>
                </a:lnTo>
                <a:lnTo>
                  <a:pt x="1002" y="238"/>
                </a:lnTo>
                <a:lnTo>
                  <a:pt x="954" y="238"/>
                </a:lnTo>
                <a:lnTo>
                  <a:pt x="954" y="286"/>
                </a:lnTo>
                <a:lnTo>
                  <a:pt x="910" y="286"/>
                </a:lnTo>
                <a:lnTo>
                  <a:pt x="910" y="238"/>
                </a:lnTo>
                <a:lnTo>
                  <a:pt x="864" y="238"/>
                </a:lnTo>
                <a:lnTo>
                  <a:pt x="864" y="194"/>
                </a:lnTo>
                <a:lnTo>
                  <a:pt x="864" y="189"/>
                </a:lnTo>
                <a:lnTo>
                  <a:pt x="864" y="148"/>
                </a:lnTo>
                <a:lnTo>
                  <a:pt x="910" y="148"/>
                </a:lnTo>
                <a:lnTo>
                  <a:pt x="910" y="100"/>
                </a:lnTo>
                <a:lnTo>
                  <a:pt x="910" y="95"/>
                </a:lnTo>
                <a:lnTo>
                  <a:pt x="910" y="51"/>
                </a:lnTo>
                <a:lnTo>
                  <a:pt x="910" y="46"/>
                </a:lnTo>
                <a:lnTo>
                  <a:pt x="910" y="0"/>
                </a:lnTo>
                <a:lnTo>
                  <a:pt x="864" y="0"/>
                </a:lnTo>
                <a:lnTo>
                  <a:pt x="859" y="0"/>
                </a:lnTo>
                <a:lnTo>
                  <a:pt x="811" y="0"/>
                </a:lnTo>
                <a:lnTo>
                  <a:pt x="811" y="46"/>
                </a:lnTo>
                <a:lnTo>
                  <a:pt x="767" y="46"/>
                </a:lnTo>
                <a:lnTo>
                  <a:pt x="762" y="46"/>
                </a:lnTo>
                <a:lnTo>
                  <a:pt x="716" y="46"/>
                </a:lnTo>
                <a:lnTo>
                  <a:pt x="716" y="95"/>
                </a:lnTo>
                <a:lnTo>
                  <a:pt x="673" y="95"/>
                </a:lnTo>
                <a:lnTo>
                  <a:pt x="668" y="95"/>
                </a:lnTo>
                <a:lnTo>
                  <a:pt x="624" y="95"/>
                </a:lnTo>
                <a:lnTo>
                  <a:pt x="624" y="46"/>
                </a:lnTo>
                <a:lnTo>
                  <a:pt x="578" y="46"/>
                </a:lnTo>
                <a:lnTo>
                  <a:pt x="573" y="46"/>
                </a:lnTo>
                <a:lnTo>
                  <a:pt x="524" y="46"/>
                </a:lnTo>
                <a:lnTo>
                  <a:pt x="524" y="95"/>
                </a:lnTo>
                <a:lnTo>
                  <a:pt x="524" y="100"/>
                </a:lnTo>
                <a:lnTo>
                  <a:pt x="524" y="143"/>
                </a:lnTo>
                <a:lnTo>
                  <a:pt x="524" y="148"/>
                </a:lnTo>
                <a:lnTo>
                  <a:pt x="524" y="194"/>
                </a:lnTo>
                <a:lnTo>
                  <a:pt x="573" y="194"/>
                </a:lnTo>
                <a:lnTo>
                  <a:pt x="578" y="194"/>
                </a:lnTo>
                <a:lnTo>
                  <a:pt x="619" y="194"/>
                </a:lnTo>
                <a:lnTo>
                  <a:pt x="619" y="238"/>
                </a:lnTo>
                <a:lnTo>
                  <a:pt x="573" y="238"/>
                </a:lnTo>
                <a:lnTo>
                  <a:pt x="573" y="286"/>
                </a:lnTo>
                <a:lnTo>
                  <a:pt x="524" y="286"/>
                </a:lnTo>
                <a:lnTo>
                  <a:pt x="524" y="332"/>
                </a:lnTo>
                <a:lnTo>
                  <a:pt x="481" y="332"/>
                </a:lnTo>
                <a:lnTo>
                  <a:pt x="481" y="292"/>
                </a:lnTo>
                <a:lnTo>
                  <a:pt x="481" y="286"/>
                </a:lnTo>
                <a:lnTo>
                  <a:pt x="481" y="238"/>
                </a:lnTo>
                <a:lnTo>
                  <a:pt x="435" y="238"/>
                </a:lnTo>
                <a:lnTo>
                  <a:pt x="435" y="189"/>
                </a:lnTo>
                <a:lnTo>
                  <a:pt x="386" y="189"/>
                </a:lnTo>
                <a:lnTo>
                  <a:pt x="381" y="189"/>
                </a:lnTo>
                <a:lnTo>
                  <a:pt x="333" y="189"/>
                </a:lnTo>
                <a:lnTo>
                  <a:pt x="333" y="238"/>
                </a:lnTo>
                <a:lnTo>
                  <a:pt x="292" y="238"/>
                </a:lnTo>
                <a:lnTo>
                  <a:pt x="287" y="238"/>
                </a:lnTo>
                <a:lnTo>
                  <a:pt x="238" y="238"/>
                </a:lnTo>
                <a:lnTo>
                  <a:pt x="238" y="292"/>
                </a:lnTo>
                <a:lnTo>
                  <a:pt x="287" y="292"/>
                </a:lnTo>
                <a:lnTo>
                  <a:pt x="287" y="332"/>
                </a:lnTo>
                <a:lnTo>
                  <a:pt x="238" y="332"/>
                </a:lnTo>
                <a:lnTo>
                  <a:pt x="238" y="386"/>
                </a:lnTo>
                <a:lnTo>
                  <a:pt x="287" y="386"/>
                </a:lnTo>
                <a:lnTo>
                  <a:pt x="287" y="430"/>
                </a:lnTo>
                <a:lnTo>
                  <a:pt x="287" y="435"/>
                </a:lnTo>
                <a:lnTo>
                  <a:pt x="287" y="476"/>
                </a:lnTo>
                <a:lnTo>
                  <a:pt x="287" y="481"/>
                </a:lnTo>
                <a:lnTo>
                  <a:pt x="287" y="524"/>
                </a:lnTo>
                <a:lnTo>
                  <a:pt x="238" y="524"/>
                </a:lnTo>
                <a:lnTo>
                  <a:pt x="238" y="573"/>
                </a:lnTo>
                <a:lnTo>
                  <a:pt x="195" y="573"/>
                </a:lnTo>
                <a:lnTo>
                  <a:pt x="190" y="573"/>
                </a:lnTo>
                <a:lnTo>
                  <a:pt x="143" y="573"/>
                </a:lnTo>
                <a:lnTo>
                  <a:pt x="143" y="619"/>
                </a:lnTo>
                <a:lnTo>
                  <a:pt x="95" y="619"/>
                </a:lnTo>
                <a:lnTo>
                  <a:pt x="95" y="667"/>
                </a:lnTo>
                <a:lnTo>
                  <a:pt x="46" y="667"/>
                </a:lnTo>
                <a:lnTo>
                  <a:pt x="46" y="716"/>
                </a:lnTo>
                <a:lnTo>
                  <a:pt x="46" y="721"/>
                </a:lnTo>
                <a:lnTo>
                  <a:pt x="46" y="762"/>
                </a:lnTo>
                <a:lnTo>
                  <a:pt x="0" y="762"/>
                </a:lnTo>
                <a:lnTo>
                  <a:pt x="0" y="811"/>
                </a:lnTo>
                <a:lnTo>
                  <a:pt x="0" y="816"/>
                </a:lnTo>
                <a:lnTo>
                  <a:pt x="0" y="859"/>
                </a:lnTo>
                <a:lnTo>
                  <a:pt x="0" y="864"/>
                </a:lnTo>
                <a:lnTo>
                  <a:pt x="0" y="910"/>
                </a:lnTo>
                <a:lnTo>
                  <a:pt x="46" y="910"/>
                </a:lnTo>
                <a:lnTo>
                  <a:pt x="46" y="959"/>
                </a:lnTo>
                <a:lnTo>
                  <a:pt x="95" y="959"/>
                </a:lnTo>
                <a:lnTo>
                  <a:pt x="100" y="959"/>
                </a:lnTo>
                <a:lnTo>
                  <a:pt x="143" y="959"/>
                </a:lnTo>
                <a:lnTo>
                  <a:pt x="149" y="959"/>
                </a:lnTo>
                <a:lnTo>
                  <a:pt x="195" y="959"/>
                </a:lnTo>
                <a:lnTo>
                  <a:pt x="195" y="910"/>
                </a:lnTo>
                <a:lnTo>
                  <a:pt x="238" y="910"/>
                </a:lnTo>
                <a:lnTo>
                  <a:pt x="238" y="954"/>
                </a:lnTo>
                <a:lnTo>
                  <a:pt x="238" y="959"/>
                </a:lnTo>
                <a:lnTo>
                  <a:pt x="238" y="1002"/>
                </a:lnTo>
                <a:lnTo>
                  <a:pt x="238" y="1007"/>
                </a:lnTo>
                <a:lnTo>
                  <a:pt x="238" y="1053"/>
                </a:lnTo>
                <a:lnTo>
                  <a:pt x="287" y="1053"/>
                </a:lnTo>
                <a:lnTo>
                  <a:pt x="292" y="1053"/>
                </a:lnTo>
                <a:lnTo>
                  <a:pt x="333" y="1053"/>
                </a:lnTo>
                <a:lnTo>
                  <a:pt x="338" y="1053"/>
                </a:lnTo>
                <a:lnTo>
                  <a:pt x="386" y="1053"/>
                </a:lnTo>
                <a:lnTo>
                  <a:pt x="386" y="1007"/>
                </a:lnTo>
                <a:lnTo>
                  <a:pt x="435" y="1007"/>
                </a:lnTo>
                <a:lnTo>
                  <a:pt x="435" y="959"/>
                </a:lnTo>
                <a:lnTo>
                  <a:pt x="476" y="959"/>
                </a:lnTo>
                <a:lnTo>
                  <a:pt x="481" y="959"/>
                </a:lnTo>
                <a:lnTo>
                  <a:pt x="524" y="959"/>
                </a:lnTo>
                <a:lnTo>
                  <a:pt x="524" y="1002"/>
                </a:lnTo>
                <a:lnTo>
                  <a:pt x="524" y="1007"/>
                </a:lnTo>
                <a:lnTo>
                  <a:pt x="524" y="1048"/>
                </a:lnTo>
                <a:lnTo>
                  <a:pt x="524" y="1053"/>
                </a:lnTo>
                <a:lnTo>
                  <a:pt x="524" y="1102"/>
                </a:lnTo>
                <a:lnTo>
                  <a:pt x="573" y="1102"/>
                </a:lnTo>
                <a:lnTo>
                  <a:pt x="578" y="1102"/>
                </a:lnTo>
                <a:lnTo>
                  <a:pt x="619" y="1102"/>
                </a:lnTo>
                <a:lnTo>
                  <a:pt x="619" y="1151"/>
                </a:lnTo>
                <a:lnTo>
                  <a:pt x="668" y="1151"/>
                </a:lnTo>
                <a:lnTo>
                  <a:pt x="673" y="1151"/>
                </a:lnTo>
                <a:lnTo>
                  <a:pt x="716" y="1151"/>
                </a:lnTo>
                <a:lnTo>
                  <a:pt x="716" y="1197"/>
                </a:lnTo>
                <a:lnTo>
                  <a:pt x="762" y="1197"/>
                </a:lnTo>
                <a:lnTo>
                  <a:pt x="762" y="1245"/>
                </a:lnTo>
                <a:lnTo>
                  <a:pt x="811" y="1245"/>
                </a:lnTo>
                <a:lnTo>
                  <a:pt x="811" y="1289"/>
                </a:lnTo>
                <a:lnTo>
                  <a:pt x="811" y="1294"/>
                </a:lnTo>
                <a:lnTo>
                  <a:pt x="811" y="1335"/>
                </a:lnTo>
                <a:lnTo>
                  <a:pt x="811" y="1340"/>
                </a:lnTo>
                <a:lnTo>
                  <a:pt x="811" y="1388"/>
                </a:lnTo>
                <a:lnTo>
                  <a:pt x="859" y="1388"/>
                </a:lnTo>
                <a:lnTo>
                  <a:pt x="864" y="1388"/>
                </a:lnTo>
                <a:lnTo>
                  <a:pt x="905" y="1388"/>
                </a:lnTo>
                <a:lnTo>
                  <a:pt x="905" y="1437"/>
                </a:lnTo>
                <a:lnTo>
                  <a:pt x="954" y="1437"/>
                </a:lnTo>
                <a:lnTo>
                  <a:pt x="954" y="1483"/>
                </a:lnTo>
                <a:lnTo>
                  <a:pt x="1002" y="1483"/>
                </a:lnTo>
                <a:lnTo>
                  <a:pt x="1002" y="1526"/>
                </a:lnTo>
                <a:lnTo>
                  <a:pt x="1002" y="1531"/>
                </a:lnTo>
                <a:lnTo>
                  <a:pt x="1002" y="1575"/>
                </a:lnTo>
                <a:lnTo>
                  <a:pt x="1002" y="1580"/>
                </a:lnTo>
                <a:lnTo>
                  <a:pt x="1002" y="1621"/>
                </a:lnTo>
                <a:lnTo>
                  <a:pt x="1002" y="1626"/>
                </a:lnTo>
                <a:lnTo>
                  <a:pt x="1002" y="1670"/>
                </a:lnTo>
                <a:lnTo>
                  <a:pt x="1002" y="1675"/>
                </a:lnTo>
                <a:lnTo>
                  <a:pt x="1002" y="1723"/>
                </a:lnTo>
                <a:lnTo>
                  <a:pt x="1048" y="1723"/>
                </a:lnTo>
                <a:lnTo>
                  <a:pt x="1054" y="1723"/>
                </a:lnTo>
                <a:lnTo>
                  <a:pt x="1097" y="1723"/>
                </a:lnTo>
                <a:lnTo>
                  <a:pt x="1097" y="1764"/>
                </a:lnTo>
                <a:lnTo>
                  <a:pt x="1097" y="1769"/>
                </a:lnTo>
                <a:lnTo>
                  <a:pt x="1097" y="1818"/>
                </a:lnTo>
                <a:lnTo>
                  <a:pt x="1146" y="1818"/>
                </a:lnTo>
                <a:lnTo>
                  <a:pt x="1146" y="1866"/>
                </a:lnTo>
                <a:lnTo>
                  <a:pt x="1192" y="1866"/>
                </a:lnTo>
                <a:lnTo>
                  <a:pt x="1192" y="1907"/>
                </a:lnTo>
                <a:lnTo>
                  <a:pt x="1192" y="1912"/>
                </a:lnTo>
                <a:lnTo>
                  <a:pt x="1192" y="1961"/>
                </a:lnTo>
                <a:lnTo>
                  <a:pt x="1240" y="1961"/>
                </a:lnTo>
                <a:lnTo>
                  <a:pt x="1240" y="2004"/>
                </a:lnTo>
                <a:lnTo>
                  <a:pt x="1240" y="2010"/>
                </a:lnTo>
                <a:lnTo>
                  <a:pt x="1240" y="2050"/>
                </a:lnTo>
                <a:lnTo>
                  <a:pt x="1197" y="2050"/>
                </a:lnTo>
                <a:lnTo>
                  <a:pt x="1192" y="2050"/>
                </a:lnTo>
                <a:lnTo>
                  <a:pt x="1146" y="2050"/>
                </a:lnTo>
                <a:lnTo>
                  <a:pt x="1146" y="2099"/>
                </a:lnTo>
                <a:lnTo>
                  <a:pt x="1097" y="2099"/>
                </a:lnTo>
                <a:lnTo>
                  <a:pt x="1097" y="2148"/>
                </a:lnTo>
                <a:lnTo>
                  <a:pt x="1048" y="2148"/>
                </a:lnTo>
                <a:lnTo>
                  <a:pt x="1048" y="2194"/>
                </a:lnTo>
                <a:lnTo>
                  <a:pt x="1002" y="2194"/>
                </a:lnTo>
                <a:lnTo>
                  <a:pt x="1002" y="2242"/>
                </a:lnTo>
                <a:lnTo>
                  <a:pt x="1002" y="2247"/>
                </a:lnTo>
                <a:lnTo>
                  <a:pt x="1002" y="2296"/>
                </a:lnTo>
                <a:lnTo>
                  <a:pt x="1048" y="2296"/>
                </a:lnTo>
                <a:lnTo>
                  <a:pt x="1048" y="2342"/>
                </a:lnTo>
                <a:lnTo>
                  <a:pt x="1097" y="2342"/>
                </a:lnTo>
                <a:lnTo>
                  <a:pt x="1102" y="2342"/>
                </a:lnTo>
                <a:lnTo>
                  <a:pt x="1146" y="2342"/>
                </a:lnTo>
                <a:lnTo>
                  <a:pt x="1146" y="2390"/>
                </a:lnTo>
                <a:lnTo>
                  <a:pt x="1192" y="2390"/>
                </a:lnTo>
                <a:lnTo>
                  <a:pt x="1192" y="2439"/>
                </a:lnTo>
                <a:lnTo>
                  <a:pt x="1240" y="2439"/>
                </a:lnTo>
                <a:lnTo>
                  <a:pt x="1240" y="2485"/>
                </a:lnTo>
                <a:lnTo>
                  <a:pt x="1294" y="2485"/>
                </a:lnTo>
                <a:lnTo>
                  <a:pt x="1294" y="2439"/>
                </a:lnTo>
                <a:lnTo>
                  <a:pt x="1340" y="2439"/>
                </a:lnTo>
                <a:lnTo>
                  <a:pt x="1340" y="2390"/>
                </a:lnTo>
                <a:lnTo>
                  <a:pt x="1388" y="2390"/>
                </a:lnTo>
                <a:lnTo>
                  <a:pt x="1388" y="2342"/>
                </a:lnTo>
                <a:lnTo>
                  <a:pt x="1388" y="2337"/>
                </a:lnTo>
                <a:lnTo>
                  <a:pt x="1388" y="2296"/>
                </a:lnTo>
                <a:lnTo>
                  <a:pt x="1437" y="2296"/>
                </a:lnTo>
                <a:lnTo>
                  <a:pt x="1437" y="2247"/>
                </a:lnTo>
                <a:lnTo>
                  <a:pt x="1437" y="2242"/>
                </a:lnTo>
                <a:lnTo>
                  <a:pt x="1437" y="2199"/>
                </a:lnTo>
                <a:lnTo>
                  <a:pt x="1483" y="2199"/>
                </a:lnTo>
                <a:lnTo>
                  <a:pt x="1483" y="2153"/>
                </a:lnTo>
                <a:lnTo>
                  <a:pt x="1532" y="2153"/>
                </a:lnTo>
                <a:lnTo>
                  <a:pt x="1532" y="2104"/>
                </a:lnTo>
                <a:lnTo>
                  <a:pt x="1532" y="2099"/>
                </a:lnTo>
                <a:lnTo>
                  <a:pt x="1532" y="2056"/>
                </a:lnTo>
                <a:lnTo>
                  <a:pt x="1532" y="2050"/>
                </a:lnTo>
                <a:lnTo>
                  <a:pt x="1532" y="2010"/>
                </a:lnTo>
                <a:lnTo>
                  <a:pt x="1532" y="2004"/>
                </a:lnTo>
                <a:lnTo>
                  <a:pt x="1532" y="1961"/>
                </a:lnTo>
                <a:lnTo>
                  <a:pt x="1580" y="1961"/>
                </a:lnTo>
                <a:lnTo>
                  <a:pt x="1580" y="1912"/>
                </a:lnTo>
                <a:lnTo>
                  <a:pt x="1626" y="1912"/>
                </a:lnTo>
                <a:lnTo>
                  <a:pt x="1626" y="1866"/>
                </a:lnTo>
                <a:lnTo>
                  <a:pt x="1670" y="1866"/>
                </a:lnTo>
                <a:lnTo>
                  <a:pt x="1675" y="1866"/>
                </a:lnTo>
                <a:lnTo>
                  <a:pt x="1718" y="1866"/>
                </a:lnTo>
                <a:lnTo>
                  <a:pt x="1723" y="1866"/>
                </a:lnTo>
                <a:lnTo>
                  <a:pt x="1764" y="1866"/>
                </a:lnTo>
                <a:lnTo>
                  <a:pt x="1769" y="1866"/>
                </a:lnTo>
                <a:lnTo>
                  <a:pt x="1818" y="1866"/>
                </a:lnTo>
                <a:lnTo>
                  <a:pt x="1818" y="1818"/>
                </a:lnTo>
                <a:lnTo>
                  <a:pt x="1861" y="1818"/>
                </a:lnTo>
                <a:lnTo>
                  <a:pt x="1867" y="1818"/>
                </a:lnTo>
                <a:lnTo>
                  <a:pt x="1913" y="1818"/>
                </a:lnTo>
                <a:lnTo>
                  <a:pt x="1913" y="1769"/>
                </a:lnTo>
                <a:lnTo>
                  <a:pt x="1961" y="1769"/>
                </a:lnTo>
                <a:lnTo>
                  <a:pt x="1961" y="1723"/>
                </a:lnTo>
                <a:lnTo>
                  <a:pt x="2010" y="1723"/>
                </a:lnTo>
                <a:lnTo>
                  <a:pt x="2010" y="1675"/>
                </a:lnTo>
                <a:lnTo>
                  <a:pt x="2056" y="1675"/>
                </a:lnTo>
                <a:lnTo>
                  <a:pt x="2056" y="1626"/>
                </a:lnTo>
                <a:lnTo>
                  <a:pt x="2056" y="1621"/>
                </a:lnTo>
                <a:lnTo>
                  <a:pt x="2056" y="1580"/>
                </a:lnTo>
                <a:lnTo>
                  <a:pt x="2104" y="1580"/>
                </a:lnTo>
                <a:lnTo>
                  <a:pt x="2104" y="1531"/>
                </a:lnTo>
                <a:lnTo>
                  <a:pt x="2104" y="1526"/>
                </a:lnTo>
                <a:lnTo>
                  <a:pt x="2104" y="1483"/>
                </a:lnTo>
                <a:lnTo>
                  <a:pt x="2104" y="1478"/>
                </a:lnTo>
                <a:lnTo>
                  <a:pt x="2104" y="1437"/>
                </a:lnTo>
                <a:lnTo>
                  <a:pt x="2104" y="1432"/>
                </a:lnTo>
                <a:lnTo>
                  <a:pt x="2104" y="1388"/>
                </a:lnTo>
                <a:lnTo>
                  <a:pt x="2153" y="1388"/>
                </a:lnTo>
                <a:lnTo>
                  <a:pt x="2153" y="1340"/>
                </a:lnTo>
                <a:lnTo>
                  <a:pt x="2153" y="1335"/>
                </a:lnTo>
                <a:lnTo>
                  <a:pt x="2153" y="1294"/>
                </a:lnTo>
                <a:lnTo>
                  <a:pt x="2153" y="1289"/>
                </a:lnTo>
                <a:lnTo>
                  <a:pt x="2153" y="1245"/>
                </a:lnTo>
                <a:lnTo>
                  <a:pt x="2153" y="1240"/>
                </a:lnTo>
                <a:lnTo>
                  <a:pt x="2153" y="1197"/>
                </a:lnTo>
                <a:lnTo>
                  <a:pt x="2199" y="1197"/>
                </a:lnTo>
                <a:lnTo>
                  <a:pt x="2199" y="1151"/>
                </a:lnTo>
                <a:lnTo>
                  <a:pt x="2247" y="1151"/>
                </a:lnTo>
                <a:lnTo>
                  <a:pt x="2247" y="1102"/>
                </a:lnTo>
                <a:lnTo>
                  <a:pt x="2296" y="1102"/>
                </a:lnTo>
                <a:lnTo>
                  <a:pt x="2296" y="1053"/>
                </a:lnTo>
                <a:lnTo>
                  <a:pt x="2296" y="1048"/>
                </a:lnTo>
                <a:lnTo>
                  <a:pt x="2296" y="1007"/>
                </a:lnTo>
                <a:lnTo>
                  <a:pt x="2342" y="1007"/>
                </a:lnTo>
                <a:lnTo>
                  <a:pt x="2342" y="959"/>
                </a:lnTo>
                <a:lnTo>
                  <a:pt x="2391" y="959"/>
                </a:lnTo>
                <a:lnTo>
                  <a:pt x="2391" y="910"/>
                </a:lnTo>
                <a:lnTo>
                  <a:pt x="2391" y="905"/>
                </a:lnTo>
                <a:lnTo>
                  <a:pt x="2391" y="864"/>
                </a:lnTo>
                <a:lnTo>
                  <a:pt x="2391" y="859"/>
                </a:lnTo>
                <a:lnTo>
                  <a:pt x="2391" y="816"/>
                </a:lnTo>
                <a:lnTo>
                  <a:pt x="2391" y="811"/>
                </a:lnTo>
                <a:lnTo>
                  <a:pt x="2391" y="767"/>
                </a:lnTo>
                <a:lnTo>
                  <a:pt x="2391" y="762"/>
                </a:lnTo>
                <a:lnTo>
                  <a:pt x="2391" y="716"/>
                </a:lnTo>
                <a:lnTo>
                  <a:pt x="2342" y="71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 name="Freeform 5"/>
          <p:cNvSpPr>
            <a:spLocks/>
          </p:cNvSpPr>
          <p:nvPr/>
        </p:nvSpPr>
        <p:spPr bwMode="auto">
          <a:xfrm>
            <a:off x="2510216" y="1675196"/>
            <a:ext cx="4410075" cy="4584700"/>
          </a:xfrm>
          <a:custGeom>
            <a:avLst/>
            <a:gdLst>
              <a:gd name="T0" fmla="*/ 2606 w 2778"/>
              <a:gd name="T1" fmla="*/ 776 h 2888"/>
              <a:gd name="T2" fmla="*/ 2439 w 2778"/>
              <a:gd name="T3" fmla="*/ 666 h 2888"/>
              <a:gd name="T4" fmla="*/ 2273 w 2778"/>
              <a:gd name="T5" fmla="*/ 609 h 2888"/>
              <a:gd name="T6" fmla="*/ 2112 w 2778"/>
              <a:gd name="T7" fmla="*/ 559 h 2888"/>
              <a:gd name="T8" fmla="*/ 2003 w 2778"/>
              <a:gd name="T9" fmla="*/ 443 h 2888"/>
              <a:gd name="T10" fmla="*/ 1830 w 2778"/>
              <a:gd name="T11" fmla="*/ 386 h 2888"/>
              <a:gd name="T12" fmla="*/ 1723 w 2778"/>
              <a:gd name="T13" fmla="*/ 276 h 2888"/>
              <a:gd name="T14" fmla="*/ 1613 w 2778"/>
              <a:gd name="T15" fmla="*/ 116 h 2888"/>
              <a:gd name="T16" fmla="*/ 1497 w 2778"/>
              <a:gd name="T17" fmla="*/ 166 h 2888"/>
              <a:gd name="T18" fmla="*/ 1390 w 2778"/>
              <a:gd name="T19" fmla="*/ 220 h 2888"/>
              <a:gd name="T20" fmla="*/ 1218 w 2778"/>
              <a:gd name="T21" fmla="*/ 276 h 2888"/>
              <a:gd name="T22" fmla="*/ 1058 w 2778"/>
              <a:gd name="T23" fmla="*/ 276 h 2888"/>
              <a:gd name="T24" fmla="*/ 1058 w 2778"/>
              <a:gd name="T25" fmla="*/ 116 h 2888"/>
              <a:gd name="T26" fmla="*/ 998 w 2778"/>
              <a:gd name="T27" fmla="*/ 0 h 2888"/>
              <a:gd name="T28" fmla="*/ 832 w 2778"/>
              <a:gd name="T29" fmla="*/ 110 h 2888"/>
              <a:gd name="T30" fmla="*/ 665 w 2778"/>
              <a:gd name="T31" fmla="*/ 54 h 2888"/>
              <a:gd name="T32" fmla="*/ 609 w 2778"/>
              <a:gd name="T33" fmla="*/ 226 h 2888"/>
              <a:gd name="T34" fmla="*/ 665 w 2778"/>
              <a:gd name="T35" fmla="*/ 333 h 2888"/>
              <a:gd name="T36" fmla="*/ 558 w 2778"/>
              <a:gd name="T37" fmla="*/ 276 h 2888"/>
              <a:gd name="T38" fmla="*/ 386 w 2778"/>
              <a:gd name="T39" fmla="*/ 276 h 2888"/>
              <a:gd name="T40" fmla="*/ 333 w 2778"/>
              <a:gd name="T41" fmla="*/ 386 h 2888"/>
              <a:gd name="T42" fmla="*/ 333 w 2778"/>
              <a:gd name="T43" fmla="*/ 553 h 2888"/>
              <a:gd name="T44" fmla="*/ 220 w 2778"/>
              <a:gd name="T45" fmla="*/ 666 h 2888"/>
              <a:gd name="T46" fmla="*/ 53 w 2778"/>
              <a:gd name="T47" fmla="*/ 832 h 2888"/>
              <a:gd name="T48" fmla="*/ 0 w 2778"/>
              <a:gd name="T49" fmla="*/ 998 h 2888"/>
              <a:gd name="T50" fmla="*/ 116 w 2778"/>
              <a:gd name="T51" fmla="*/ 1114 h 2888"/>
              <a:gd name="T52" fmla="*/ 276 w 2778"/>
              <a:gd name="T53" fmla="*/ 1108 h 2888"/>
              <a:gd name="T54" fmla="*/ 339 w 2778"/>
              <a:gd name="T55" fmla="*/ 1224 h 2888"/>
              <a:gd name="T56" fmla="*/ 505 w 2778"/>
              <a:gd name="T57" fmla="*/ 1114 h 2888"/>
              <a:gd name="T58" fmla="*/ 609 w 2778"/>
              <a:gd name="T59" fmla="*/ 1218 h 2888"/>
              <a:gd name="T60" fmla="*/ 719 w 2778"/>
              <a:gd name="T61" fmla="*/ 1337 h 2888"/>
              <a:gd name="T62" fmla="*/ 885 w 2778"/>
              <a:gd name="T63" fmla="*/ 1447 h 2888"/>
              <a:gd name="T64" fmla="*/ 942 w 2778"/>
              <a:gd name="T65" fmla="*/ 1613 h 2888"/>
              <a:gd name="T66" fmla="*/ 1108 w 2778"/>
              <a:gd name="T67" fmla="*/ 1723 h 2888"/>
              <a:gd name="T68" fmla="*/ 1165 w 2778"/>
              <a:gd name="T69" fmla="*/ 1884 h 2888"/>
              <a:gd name="T70" fmla="*/ 1224 w 2778"/>
              <a:gd name="T71" fmla="*/ 2003 h 2888"/>
              <a:gd name="T72" fmla="*/ 1331 w 2778"/>
              <a:gd name="T73" fmla="*/ 2169 h 2888"/>
              <a:gd name="T74" fmla="*/ 1441 w 2778"/>
              <a:gd name="T75" fmla="*/ 2329 h 2888"/>
              <a:gd name="T76" fmla="*/ 1331 w 2778"/>
              <a:gd name="T77" fmla="*/ 2439 h 2888"/>
              <a:gd name="T78" fmla="*/ 1165 w 2778"/>
              <a:gd name="T79" fmla="*/ 2606 h 2888"/>
              <a:gd name="T80" fmla="*/ 1280 w 2778"/>
              <a:gd name="T81" fmla="*/ 2722 h 2888"/>
              <a:gd name="T82" fmla="*/ 1441 w 2778"/>
              <a:gd name="T83" fmla="*/ 2888 h 2888"/>
              <a:gd name="T84" fmla="*/ 1613 w 2778"/>
              <a:gd name="T85" fmla="*/ 2722 h 2888"/>
              <a:gd name="T86" fmla="*/ 1670 w 2778"/>
              <a:gd name="T87" fmla="*/ 2555 h 2888"/>
              <a:gd name="T88" fmla="*/ 1780 w 2778"/>
              <a:gd name="T89" fmla="*/ 2389 h 2888"/>
              <a:gd name="T90" fmla="*/ 1836 w 2778"/>
              <a:gd name="T91" fmla="*/ 2223 h 2888"/>
              <a:gd name="T92" fmla="*/ 2003 w 2778"/>
              <a:gd name="T93" fmla="*/ 2169 h 2888"/>
              <a:gd name="T94" fmla="*/ 2169 w 2778"/>
              <a:gd name="T95" fmla="*/ 2113 h 2888"/>
              <a:gd name="T96" fmla="*/ 2335 w 2778"/>
              <a:gd name="T97" fmla="*/ 1946 h 2888"/>
              <a:gd name="T98" fmla="*/ 2445 w 2778"/>
              <a:gd name="T99" fmla="*/ 1780 h 2888"/>
              <a:gd name="T100" fmla="*/ 2445 w 2778"/>
              <a:gd name="T101" fmla="*/ 1613 h 2888"/>
              <a:gd name="T102" fmla="*/ 2502 w 2778"/>
              <a:gd name="T103" fmla="*/ 1447 h 2888"/>
              <a:gd name="T104" fmla="*/ 2612 w 2778"/>
              <a:gd name="T105" fmla="*/ 1281 h 2888"/>
              <a:gd name="T106" fmla="*/ 2722 w 2778"/>
              <a:gd name="T107" fmla="*/ 1114 h 2888"/>
              <a:gd name="T108" fmla="*/ 2778 w 2778"/>
              <a:gd name="T109" fmla="*/ 948 h 2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78" h="2888">
                <a:moveTo>
                  <a:pt x="2722" y="832"/>
                </a:moveTo>
                <a:lnTo>
                  <a:pt x="2722" y="776"/>
                </a:lnTo>
                <a:lnTo>
                  <a:pt x="2668" y="776"/>
                </a:lnTo>
                <a:lnTo>
                  <a:pt x="2662" y="776"/>
                </a:lnTo>
                <a:lnTo>
                  <a:pt x="2612" y="776"/>
                </a:lnTo>
                <a:lnTo>
                  <a:pt x="2606" y="776"/>
                </a:lnTo>
                <a:lnTo>
                  <a:pt x="2555" y="776"/>
                </a:lnTo>
                <a:lnTo>
                  <a:pt x="2555" y="719"/>
                </a:lnTo>
                <a:lnTo>
                  <a:pt x="2502" y="719"/>
                </a:lnTo>
                <a:lnTo>
                  <a:pt x="2502" y="666"/>
                </a:lnTo>
                <a:lnTo>
                  <a:pt x="2445" y="666"/>
                </a:lnTo>
                <a:lnTo>
                  <a:pt x="2439" y="666"/>
                </a:lnTo>
                <a:lnTo>
                  <a:pt x="2389" y="666"/>
                </a:lnTo>
                <a:lnTo>
                  <a:pt x="2389" y="609"/>
                </a:lnTo>
                <a:lnTo>
                  <a:pt x="2335" y="609"/>
                </a:lnTo>
                <a:lnTo>
                  <a:pt x="2329" y="609"/>
                </a:lnTo>
                <a:lnTo>
                  <a:pt x="2279" y="609"/>
                </a:lnTo>
                <a:lnTo>
                  <a:pt x="2273" y="609"/>
                </a:lnTo>
                <a:lnTo>
                  <a:pt x="2222" y="609"/>
                </a:lnTo>
                <a:lnTo>
                  <a:pt x="2216" y="609"/>
                </a:lnTo>
                <a:lnTo>
                  <a:pt x="2169" y="609"/>
                </a:lnTo>
                <a:lnTo>
                  <a:pt x="2163" y="609"/>
                </a:lnTo>
                <a:lnTo>
                  <a:pt x="2112" y="609"/>
                </a:lnTo>
                <a:lnTo>
                  <a:pt x="2112" y="559"/>
                </a:lnTo>
                <a:lnTo>
                  <a:pt x="2112" y="553"/>
                </a:lnTo>
                <a:lnTo>
                  <a:pt x="2112" y="499"/>
                </a:lnTo>
                <a:lnTo>
                  <a:pt x="2056" y="499"/>
                </a:lnTo>
                <a:lnTo>
                  <a:pt x="2050" y="499"/>
                </a:lnTo>
                <a:lnTo>
                  <a:pt x="2003" y="499"/>
                </a:lnTo>
                <a:lnTo>
                  <a:pt x="2003" y="443"/>
                </a:lnTo>
                <a:lnTo>
                  <a:pt x="1946" y="443"/>
                </a:lnTo>
                <a:lnTo>
                  <a:pt x="1940" y="443"/>
                </a:lnTo>
                <a:lnTo>
                  <a:pt x="1890" y="443"/>
                </a:lnTo>
                <a:lnTo>
                  <a:pt x="1890" y="386"/>
                </a:lnTo>
                <a:lnTo>
                  <a:pt x="1836" y="386"/>
                </a:lnTo>
                <a:lnTo>
                  <a:pt x="1830" y="386"/>
                </a:lnTo>
                <a:lnTo>
                  <a:pt x="1780" y="386"/>
                </a:lnTo>
                <a:lnTo>
                  <a:pt x="1774" y="386"/>
                </a:lnTo>
                <a:lnTo>
                  <a:pt x="1723" y="386"/>
                </a:lnTo>
                <a:lnTo>
                  <a:pt x="1723" y="339"/>
                </a:lnTo>
                <a:lnTo>
                  <a:pt x="1723" y="333"/>
                </a:lnTo>
                <a:lnTo>
                  <a:pt x="1723" y="276"/>
                </a:lnTo>
                <a:lnTo>
                  <a:pt x="1670" y="276"/>
                </a:lnTo>
                <a:lnTo>
                  <a:pt x="1670" y="226"/>
                </a:lnTo>
                <a:lnTo>
                  <a:pt x="1670" y="220"/>
                </a:lnTo>
                <a:lnTo>
                  <a:pt x="1670" y="166"/>
                </a:lnTo>
                <a:lnTo>
                  <a:pt x="1613" y="166"/>
                </a:lnTo>
                <a:lnTo>
                  <a:pt x="1613" y="116"/>
                </a:lnTo>
                <a:lnTo>
                  <a:pt x="1613" y="110"/>
                </a:lnTo>
                <a:lnTo>
                  <a:pt x="1613" y="54"/>
                </a:lnTo>
                <a:lnTo>
                  <a:pt x="1551" y="54"/>
                </a:lnTo>
                <a:lnTo>
                  <a:pt x="1551" y="110"/>
                </a:lnTo>
                <a:lnTo>
                  <a:pt x="1497" y="110"/>
                </a:lnTo>
                <a:lnTo>
                  <a:pt x="1497" y="166"/>
                </a:lnTo>
                <a:lnTo>
                  <a:pt x="1497" y="172"/>
                </a:lnTo>
                <a:lnTo>
                  <a:pt x="1497" y="220"/>
                </a:lnTo>
                <a:lnTo>
                  <a:pt x="1441" y="220"/>
                </a:lnTo>
                <a:lnTo>
                  <a:pt x="1441" y="276"/>
                </a:lnTo>
                <a:lnTo>
                  <a:pt x="1390" y="276"/>
                </a:lnTo>
                <a:lnTo>
                  <a:pt x="1390" y="220"/>
                </a:lnTo>
                <a:lnTo>
                  <a:pt x="1337" y="220"/>
                </a:lnTo>
                <a:lnTo>
                  <a:pt x="1331" y="220"/>
                </a:lnTo>
                <a:lnTo>
                  <a:pt x="1280" y="220"/>
                </a:lnTo>
                <a:lnTo>
                  <a:pt x="1275" y="220"/>
                </a:lnTo>
                <a:lnTo>
                  <a:pt x="1218" y="220"/>
                </a:lnTo>
                <a:lnTo>
                  <a:pt x="1218" y="276"/>
                </a:lnTo>
                <a:lnTo>
                  <a:pt x="1171" y="276"/>
                </a:lnTo>
                <a:lnTo>
                  <a:pt x="1165" y="276"/>
                </a:lnTo>
                <a:lnTo>
                  <a:pt x="1108" y="276"/>
                </a:lnTo>
                <a:lnTo>
                  <a:pt x="1108" y="333"/>
                </a:lnTo>
                <a:lnTo>
                  <a:pt x="1058" y="333"/>
                </a:lnTo>
                <a:lnTo>
                  <a:pt x="1058" y="276"/>
                </a:lnTo>
                <a:lnTo>
                  <a:pt x="1004" y="276"/>
                </a:lnTo>
                <a:lnTo>
                  <a:pt x="1004" y="226"/>
                </a:lnTo>
                <a:lnTo>
                  <a:pt x="1004" y="220"/>
                </a:lnTo>
                <a:lnTo>
                  <a:pt x="1004" y="172"/>
                </a:lnTo>
                <a:lnTo>
                  <a:pt x="1058" y="172"/>
                </a:lnTo>
                <a:lnTo>
                  <a:pt x="1058" y="116"/>
                </a:lnTo>
                <a:lnTo>
                  <a:pt x="1058" y="110"/>
                </a:lnTo>
                <a:lnTo>
                  <a:pt x="1058" y="59"/>
                </a:lnTo>
                <a:lnTo>
                  <a:pt x="1058" y="54"/>
                </a:lnTo>
                <a:lnTo>
                  <a:pt x="1058" y="0"/>
                </a:lnTo>
                <a:lnTo>
                  <a:pt x="1004" y="0"/>
                </a:lnTo>
                <a:lnTo>
                  <a:pt x="998" y="0"/>
                </a:lnTo>
                <a:lnTo>
                  <a:pt x="942" y="0"/>
                </a:lnTo>
                <a:lnTo>
                  <a:pt x="942" y="54"/>
                </a:lnTo>
                <a:lnTo>
                  <a:pt x="891" y="54"/>
                </a:lnTo>
                <a:lnTo>
                  <a:pt x="885" y="54"/>
                </a:lnTo>
                <a:lnTo>
                  <a:pt x="832" y="54"/>
                </a:lnTo>
                <a:lnTo>
                  <a:pt x="832" y="110"/>
                </a:lnTo>
                <a:lnTo>
                  <a:pt x="781" y="110"/>
                </a:lnTo>
                <a:lnTo>
                  <a:pt x="775" y="110"/>
                </a:lnTo>
                <a:lnTo>
                  <a:pt x="725" y="110"/>
                </a:lnTo>
                <a:lnTo>
                  <a:pt x="725" y="54"/>
                </a:lnTo>
                <a:lnTo>
                  <a:pt x="671" y="54"/>
                </a:lnTo>
                <a:lnTo>
                  <a:pt x="665" y="54"/>
                </a:lnTo>
                <a:lnTo>
                  <a:pt x="609" y="54"/>
                </a:lnTo>
                <a:lnTo>
                  <a:pt x="609" y="110"/>
                </a:lnTo>
                <a:lnTo>
                  <a:pt x="609" y="116"/>
                </a:lnTo>
                <a:lnTo>
                  <a:pt x="609" y="166"/>
                </a:lnTo>
                <a:lnTo>
                  <a:pt x="609" y="172"/>
                </a:lnTo>
                <a:lnTo>
                  <a:pt x="609" y="226"/>
                </a:lnTo>
                <a:lnTo>
                  <a:pt x="665" y="226"/>
                </a:lnTo>
                <a:lnTo>
                  <a:pt x="671" y="226"/>
                </a:lnTo>
                <a:lnTo>
                  <a:pt x="719" y="226"/>
                </a:lnTo>
                <a:lnTo>
                  <a:pt x="719" y="276"/>
                </a:lnTo>
                <a:lnTo>
                  <a:pt x="665" y="276"/>
                </a:lnTo>
                <a:lnTo>
                  <a:pt x="665" y="333"/>
                </a:lnTo>
                <a:lnTo>
                  <a:pt x="609" y="333"/>
                </a:lnTo>
                <a:lnTo>
                  <a:pt x="609" y="386"/>
                </a:lnTo>
                <a:lnTo>
                  <a:pt x="558" y="386"/>
                </a:lnTo>
                <a:lnTo>
                  <a:pt x="558" y="339"/>
                </a:lnTo>
                <a:lnTo>
                  <a:pt x="558" y="333"/>
                </a:lnTo>
                <a:lnTo>
                  <a:pt x="558" y="276"/>
                </a:lnTo>
                <a:lnTo>
                  <a:pt x="505" y="276"/>
                </a:lnTo>
                <a:lnTo>
                  <a:pt x="505" y="220"/>
                </a:lnTo>
                <a:lnTo>
                  <a:pt x="449" y="220"/>
                </a:lnTo>
                <a:lnTo>
                  <a:pt x="443" y="220"/>
                </a:lnTo>
                <a:lnTo>
                  <a:pt x="386" y="220"/>
                </a:lnTo>
                <a:lnTo>
                  <a:pt x="386" y="276"/>
                </a:lnTo>
                <a:lnTo>
                  <a:pt x="339" y="276"/>
                </a:lnTo>
                <a:lnTo>
                  <a:pt x="333" y="276"/>
                </a:lnTo>
                <a:lnTo>
                  <a:pt x="276" y="276"/>
                </a:lnTo>
                <a:lnTo>
                  <a:pt x="276" y="339"/>
                </a:lnTo>
                <a:lnTo>
                  <a:pt x="333" y="339"/>
                </a:lnTo>
                <a:lnTo>
                  <a:pt x="333" y="386"/>
                </a:lnTo>
                <a:lnTo>
                  <a:pt x="276" y="386"/>
                </a:lnTo>
                <a:lnTo>
                  <a:pt x="276" y="449"/>
                </a:lnTo>
                <a:lnTo>
                  <a:pt x="333" y="449"/>
                </a:lnTo>
                <a:lnTo>
                  <a:pt x="333" y="499"/>
                </a:lnTo>
                <a:lnTo>
                  <a:pt x="333" y="505"/>
                </a:lnTo>
                <a:lnTo>
                  <a:pt x="333" y="553"/>
                </a:lnTo>
                <a:lnTo>
                  <a:pt x="333" y="559"/>
                </a:lnTo>
                <a:lnTo>
                  <a:pt x="333" y="609"/>
                </a:lnTo>
                <a:lnTo>
                  <a:pt x="276" y="609"/>
                </a:lnTo>
                <a:lnTo>
                  <a:pt x="276" y="666"/>
                </a:lnTo>
                <a:lnTo>
                  <a:pt x="226" y="666"/>
                </a:lnTo>
                <a:lnTo>
                  <a:pt x="220" y="666"/>
                </a:lnTo>
                <a:lnTo>
                  <a:pt x="166" y="666"/>
                </a:lnTo>
                <a:lnTo>
                  <a:pt x="166" y="719"/>
                </a:lnTo>
                <a:lnTo>
                  <a:pt x="110" y="719"/>
                </a:lnTo>
                <a:lnTo>
                  <a:pt x="110" y="776"/>
                </a:lnTo>
                <a:lnTo>
                  <a:pt x="53" y="776"/>
                </a:lnTo>
                <a:lnTo>
                  <a:pt x="53" y="832"/>
                </a:lnTo>
                <a:lnTo>
                  <a:pt x="53" y="838"/>
                </a:lnTo>
                <a:lnTo>
                  <a:pt x="53" y="885"/>
                </a:lnTo>
                <a:lnTo>
                  <a:pt x="0" y="885"/>
                </a:lnTo>
                <a:lnTo>
                  <a:pt x="0" y="942"/>
                </a:lnTo>
                <a:lnTo>
                  <a:pt x="0" y="948"/>
                </a:lnTo>
                <a:lnTo>
                  <a:pt x="0" y="998"/>
                </a:lnTo>
                <a:lnTo>
                  <a:pt x="0" y="1004"/>
                </a:lnTo>
                <a:lnTo>
                  <a:pt x="0" y="1058"/>
                </a:lnTo>
                <a:lnTo>
                  <a:pt x="53" y="1058"/>
                </a:lnTo>
                <a:lnTo>
                  <a:pt x="53" y="1114"/>
                </a:lnTo>
                <a:lnTo>
                  <a:pt x="110" y="1114"/>
                </a:lnTo>
                <a:lnTo>
                  <a:pt x="116" y="1114"/>
                </a:lnTo>
                <a:lnTo>
                  <a:pt x="166" y="1114"/>
                </a:lnTo>
                <a:lnTo>
                  <a:pt x="172" y="1114"/>
                </a:lnTo>
                <a:lnTo>
                  <a:pt x="226" y="1114"/>
                </a:lnTo>
                <a:lnTo>
                  <a:pt x="226" y="1058"/>
                </a:lnTo>
                <a:lnTo>
                  <a:pt x="276" y="1058"/>
                </a:lnTo>
                <a:lnTo>
                  <a:pt x="276" y="1108"/>
                </a:lnTo>
                <a:lnTo>
                  <a:pt x="276" y="1114"/>
                </a:lnTo>
                <a:lnTo>
                  <a:pt x="276" y="1165"/>
                </a:lnTo>
                <a:lnTo>
                  <a:pt x="276" y="1171"/>
                </a:lnTo>
                <a:lnTo>
                  <a:pt x="276" y="1224"/>
                </a:lnTo>
                <a:lnTo>
                  <a:pt x="333" y="1224"/>
                </a:lnTo>
                <a:lnTo>
                  <a:pt x="339" y="1224"/>
                </a:lnTo>
                <a:lnTo>
                  <a:pt x="386" y="1224"/>
                </a:lnTo>
                <a:lnTo>
                  <a:pt x="392" y="1224"/>
                </a:lnTo>
                <a:lnTo>
                  <a:pt x="449" y="1224"/>
                </a:lnTo>
                <a:lnTo>
                  <a:pt x="449" y="1171"/>
                </a:lnTo>
                <a:lnTo>
                  <a:pt x="505" y="1171"/>
                </a:lnTo>
                <a:lnTo>
                  <a:pt x="505" y="1114"/>
                </a:lnTo>
                <a:lnTo>
                  <a:pt x="553" y="1114"/>
                </a:lnTo>
                <a:lnTo>
                  <a:pt x="558" y="1114"/>
                </a:lnTo>
                <a:lnTo>
                  <a:pt x="609" y="1114"/>
                </a:lnTo>
                <a:lnTo>
                  <a:pt x="609" y="1165"/>
                </a:lnTo>
                <a:lnTo>
                  <a:pt x="609" y="1171"/>
                </a:lnTo>
                <a:lnTo>
                  <a:pt x="609" y="1218"/>
                </a:lnTo>
                <a:lnTo>
                  <a:pt x="609" y="1224"/>
                </a:lnTo>
                <a:lnTo>
                  <a:pt x="609" y="1281"/>
                </a:lnTo>
                <a:lnTo>
                  <a:pt x="665" y="1281"/>
                </a:lnTo>
                <a:lnTo>
                  <a:pt x="671" y="1281"/>
                </a:lnTo>
                <a:lnTo>
                  <a:pt x="719" y="1281"/>
                </a:lnTo>
                <a:lnTo>
                  <a:pt x="719" y="1337"/>
                </a:lnTo>
                <a:lnTo>
                  <a:pt x="775" y="1337"/>
                </a:lnTo>
                <a:lnTo>
                  <a:pt x="781" y="1337"/>
                </a:lnTo>
                <a:lnTo>
                  <a:pt x="832" y="1337"/>
                </a:lnTo>
                <a:lnTo>
                  <a:pt x="832" y="1391"/>
                </a:lnTo>
                <a:lnTo>
                  <a:pt x="885" y="1391"/>
                </a:lnTo>
                <a:lnTo>
                  <a:pt x="885" y="1447"/>
                </a:lnTo>
                <a:lnTo>
                  <a:pt x="942" y="1447"/>
                </a:lnTo>
                <a:lnTo>
                  <a:pt x="942" y="1498"/>
                </a:lnTo>
                <a:lnTo>
                  <a:pt x="942" y="1503"/>
                </a:lnTo>
                <a:lnTo>
                  <a:pt x="942" y="1551"/>
                </a:lnTo>
                <a:lnTo>
                  <a:pt x="942" y="1557"/>
                </a:lnTo>
                <a:lnTo>
                  <a:pt x="942" y="1613"/>
                </a:lnTo>
                <a:lnTo>
                  <a:pt x="998" y="1613"/>
                </a:lnTo>
                <a:lnTo>
                  <a:pt x="1004" y="1613"/>
                </a:lnTo>
                <a:lnTo>
                  <a:pt x="1052" y="1613"/>
                </a:lnTo>
                <a:lnTo>
                  <a:pt x="1052" y="1670"/>
                </a:lnTo>
                <a:lnTo>
                  <a:pt x="1108" y="1670"/>
                </a:lnTo>
                <a:lnTo>
                  <a:pt x="1108" y="1723"/>
                </a:lnTo>
                <a:lnTo>
                  <a:pt x="1165" y="1723"/>
                </a:lnTo>
                <a:lnTo>
                  <a:pt x="1165" y="1774"/>
                </a:lnTo>
                <a:lnTo>
                  <a:pt x="1165" y="1780"/>
                </a:lnTo>
                <a:lnTo>
                  <a:pt x="1165" y="1830"/>
                </a:lnTo>
                <a:lnTo>
                  <a:pt x="1165" y="1836"/>
                </a:lnTo>
                <a:lnTo>
                  <a:pt x="1165" y="1884"/>
                </a:lnTo>
                <a:lnTo>
                  <a:pt x="1165" y="1890"/>
                </a:lnTo>
                <a:lnTo>
                  <a:pt x="1165" y="1940"/>
                </a:lnTo>
                <a:lnTo>
                  <a:pt x="1165" y="1946"/>
                </a:lnTo>
                <a:lnTo>
                  <a:pt x="1165" y="2003"/>
                </a:lnTo>
                <a:lnTo>
                  <a:pt x="1218" y="2003"/>
                </a:lnTo>
                <a:lnTo>
                  <a:pt x="1224" y="2003"/>
                </a:lnTo>
                <a:lnTo>
                  <a:pt x="1275" y="2003"/>
                </a:lnTo>
                <a:lnTo>
                  <a:pt x="1275" y="2050"/>
                </a:lnTo>
                <a:lnTo>
                  <a:pt x="1275" y="2056"/>
                </a:lnTo>
                <a:lnTo>
                  <a:pt x="1275" y="2113"/>
                </a:lnTo>
                <a:lnTo>
                  <a:pt x="1331" y="2113"/>
                </a:lnTo>
                <a:lnTo>
                  <a:pt x="1331" y="2169"/>
                </a:lnTo>
                <a:lnTo>
                  <a:pt x="1384" y="2169"/>
                </a:lnTo>
                <a:lnTo>
                  <a:pt x="1384" y="2217"/>
                </a:lnTo>
                <a:lnTo>
                  <a:pt x="1384" y="2223"/>
                </a:lnTo>
                <a:lnTo>
                  <a:pt x="1384" y="2279"/>
                </a:lnTo>
                <a:lnTo>
                  <a:pt x="1441" y="2279"/>
                </a:lnTo>
                <a:lnTo>
                  <a:pt x="1441" y="2329"/>
                </a:lnTo>
                <a:lnTo>
                  <a:pt x="1441" y="2335"/>
                </a:lnTo>
                <a:lnTo>
                  <a:pt x="1441" y="2383"/>
                </a:lnTo>
                <a:lnTo>
                  <a:pt x="1390" y="2383"/>
                </a:lnTo>
                <a:lnTo>
                  <a:pt x="1384" y="2383"/>
                </a:lnTo>
                <a:lnTo>
                  <a:pt x="1331" y="2383"/>
                </a:lnTo>
                <a:lnTo>
                  <a:pt x="1331" y="2439"/>
                </a:lnTo>
                <a:lnTo>
                  <a:pt x="1275" y="2439"/>
                </a:lnTo>
                <a:lnTo>
                  <a:pt x="1275" y="2496"/>
                </a:lnTo>
                <a:lnTo>
                  <a:pt x="1218" y="2496"/>
                </a:lnTo>
                <a:lnTo>
                  <a:pt x="1218" y="2549"/>
                </a:lnTo>
                <a:lnTo>
                  <a:pt x="1165" y="2549"/>
                </a:lnTo>
                <a:lnTo>
                  <a:pt x="1165" y="2606"/>
                </a:lnTo>
                <a:lnTo>
                  <a:pt x="1165" y="2612"/>
                </a:lnTo>
                <a:lnTo>
                  <a:pt x="1165" y="2668"/>
                </a:lnTo>
                <a:lnTo>
                  <a:pt x="1218" y="2668"/>
                </a:lnTo>
                <a:lnTo>
                  <a:pt x="1218" y="2722"/>
                </a:lnTo>
                <a:lnTo>
                  <a:pt x="1275" y="2722"/>
                </a:lnTo>
                <a:lnTo>
                  <a:pt x="1280" y="2722"/>
                </a:lnTo>
                <a:lnTo>
                  <a:pt x="1331" y="2722"/>
                </a:lnTo>
                <a:lnTo>
                  <a:pt x="1331" y="2778"/>
                </a:lnTo>
                <a:lnTo>
                  <a:pt x="1384" y="2778"/>
                </a:lnTo>
                <a:lnTo>
                  <a:pt x="1384" y="2835"/>
                </a:lnTo>
                <a:lnTo>
                  <a:pt x="1441" y="2835"/>
                </a:lnTo>
                <a:lnTo>
                  <a:pt x="1441" y="2888"/>
                </a:lnTo>
                <a:lnTo>
                  <a:pt x="1503" y="2888"/>
                </a:lnTo>
                <a:lnTo>
                  <a:pt x="1503" y="2835"/>
                </a:lnTo>
                <a:lnTo>
                  <a:pt x="1557" y="2835"/>
                </a:lnTo>
                <a:lnTo>
                  <a:pt x="1557" y="2778"/>
                </a:lnTo>
                <a:lnTo>
                  <a:pt x="1613" y="2778"/>
                </a:lnTo>
                <a:lnTo>
                  <a:pt x="1613" y="2722"/>
                </a:lnTo>
                <a:lnTo>
                  <a:pt x="1613" y="2716"/>
                </a:lnTo>
                <a:lnTo>
                  <a:pt x="1613" y="2668"/>
                </a:lnTo>
                <a:lnTo>
                  <a:pt x="1670" y="2668"/>
                </a:lnTo>
                <a:lnTo>
                  <a:pt x="1670" y="2612"/>
                </a:lnTo>
                <a:lnTo>
                  <a:pt x="1670" y="2606"/>
                </a:lnTo>
                <a:lnTo>
                  <a:pt x="1670" y="2555"/>
                </a:lnTo>
                <a:lnTo>
                  <a:pt x="1723" y="2555"/>
                </a:lnTo>
                <a:lnTo>
                  <a:pt x="1723" y="2502"/>
                </a:lnTo>
                <a:lnTo>
                  <a:pt x="1780" y="2502"/>
                </a:lnTo>
                <a:lnTo>
                  <a:pt x="1780" y="2445"/>
                </a:lnTo>
                <a:lnTo>
                  <a:pt x="1780" y="2439"/>
                </a:lnTo>
                <a:lnTo>
                  <a:pt x="1780" y="2389"/>
                </a:lnTo>
                <a:lnTo>
                  <a:pt x="1780" y="2383"/>
                </a:lnTo>
                <a:lnTo>
                  <a:pt x="1780" y="2335"/>
                </a:lnTo>
                <a:lnTo>
                  <a:pt x="1780" y="2329"/>
                </a:lnTo>
                <a:lnTo>
                  <a:pt x="1780" y="2279"/>
                </a:lnTo>
                <a:lnTo>
                  <a:pt x="1836" y="2279"/>
                </a:lnTo>
                <a:lnTo>
                  <a:pt x="1836" y="2223"/>
                </a:lnTo>
                <a:lnTo>
                  <a:pt x="1890" y="2223"/>
                </a:lnTo>
                <a:lnTo>
                  <a:pt x="1890" y="2169"/>
                </a:lnTo>
                <a:lnTo>
                  <a:pt x="1940" y="2169"/>
                </a:lnTo>
                <a:lnTo>
                  <a:pt x="1946" y="2169"/>
                </a:lnTo>
                <a:lnTo>
                  <a:pt x="1997" y="2169"/>
                </a:lnTo>
                <a:lnTo>
                  <a:pt x="2003" y="2169"/>
                </a:lnTo>
                <a:lnTo>
                  <a:pt x="2050" y="2169"/>
                </a:lnTo>
                <a:lnTo>
                  <a:pt x="2056" y="2169"/>
                </a:lnTo>
                <a:lnTo>
                  <a:pt x="2112" y="2169"/>
                </a:lnTo>
                <a:lnTo>
                  <a:pt x="2112" y="2113"/>
                </a:lnTo>
                <a:lnTo>
                  <a:pt x="2163" y="2113"/>
                </a:lnTo>
                <a:lnTo>
                  <a:pt x="2169" y="2113"/>
                </a:lnTo>
                <a:lnTo>
                  <a:pt x="2222" y="2113"/>
                </a:lnTo>
                <a:lnTo>
                  <a:pt x="2222" y="2056"/>
                </a:lnTo>
                <a:lnTo>
                  <a:pt x="2279" y="2056"/>
                </a:lnTo>
                <a:lnTo>
                  <a:pt x="2279" y="2003"/>
                </a:lnTo>
                <a:lnTo>
                  <a:pt x="2335" y="2003"/>
                </a:lnTo>
                <a:lnTo>
                  <a:pt x="2335" y="1946"/>
                </a:lnTo>
                <a:lnTo>
                  <a:pt x="2389" y="1946"/>
                </a:lnTo>
                <a:lnTo>
                  <a:pt x="2389" y="1890"/>
                </a:lnTo>
                <a:lnTo>
                  <a:pt x="2389" y="1884"/>
                </a:lnTo>
                <a:lnTo>
                  <a:pt x="2389" y="1836"/>
                </a:lnTo>
                <a:lnTo>
                  <a:pt x="2445" y="1836"/>
                </a:lnTo>
                <a:lnTo>
                  <a:pt x="2445" y="1780"/>
                </a:lnTo>
                <a:lnTo>
                  <a:pt x="2445" y="1774"/>
                </a:lnTo>
                <a:lnTo>
                  <a:pt x="2445" y="1723"/>
                </a:lnTo>
                <a:lnTo>
                  <a:pt x="2445" y="1717"/>
                </a:lnTo>
                <a:lnTo>
                  <a:pt x="2445" y="1670"/>
                </a:lnTo>
                <a:lnTo>
                  <a:pt x="2445" y="1664"/>
                </a:lnTo>
                <a:lnTo>
                  <a:pt x="2445" y="1613"/>
                </a:lnTo>
                <a:lnTo>
                  <a:pt x="2502" y="1613"/>
                </a:lnTo>
                <a:lnTo>
                  <a:pt x="2502" y="1557"/>
                </a:lnTo>
                <a:lnTo>
                  <a:pt x="2502" y="1551"/>
                </a:lnTo>
                <a:lnTo>
                  <a:pt x="2502" y="1503"/>
                </a:lnTo>
                <a:lnTo>
                  <a:pt x="2502" y="1498"/>
                </a:lnTo>
                <a:lnTo>
                  <a:pt x="2502" y="1447"/>
                </a:lnTo>
                <a:lnTo>
                  <a:pt x="2502" y="1441"/>
                </a:lnTo>
                <a:lnTo>
                  <a:pt x="2502" y="1391"/>
                </a:lnTo>
                <a:lnTo>
                  <a:pt x="2555" y="1391"/>
                </a:lnTo>
                <a:lnTo>
                  <a:pt x="2555" y="1337"/>
                </a:lnTo>
                <a:lnTo>
                  <a:pt x="2612" y="1337"/>
                </a:lnTo>
                <a:lnTo>
                  <a:pt x="2612" y="1281"/>
                </a:lnTo>
                <a:lnTo>
                  <a:pt x="2668" y="1281"/>
                </a:lnTo>
                <a:lnTo>
                  <a:pt x="2668" y="1224"/>
                </a:lnTo>
                <a:lnTo>
                  <a:pt x="2668" y="1218"/>
                </a:lnTo>
                <a:lnTo>
                  <a:pt x="2668" y="1171"/>
                </a:lnTo>
                <a:lnTo>
                  <a:pt x="2722" y="1171"/>
                </a:lnTo>
                <a:lnTo>
                  <a:pt x="2722" y="1114"/>
                </a:lnTo>
                <a:lnTo>
                  <a:pt x="2778" y="1114"/>
                </a:lnTo>
                <a:lnTo>
                  <a:pt x="2778" y="1058"/>
                </a:lnTo>
                <a:lnTo>
                  <a:pt x="2778" y="1052"/>
                </a:lnTo>
                <a:lnTo>
                  <a:pt x="2778" y="1004"/>
                </a:lnTo>
                <a:lnTo>
                  <a:pt x="2778" y="998"/>
                </a:lnTo>
                <a:lnTo>
                  <a:pt x="2778" y="948"/>
                </a:lnTo>
                <a:lnTo>
                  <a:pt x="2778" y="942"/>
                </a:lnTo>
                <a:lnTo>
                  <a:pt x="2778" y="891"/>
                </a:lnTo>
                <a:lnTo>
                  <a:pt x="2778" y="885"/>
                </a:lnTo>
                <a:lnTo>
                  <a:pt x="2778" y="832"/>
                </a:lnTo>
                <a:lnTo>
                  <a:pt x="2722" y="832"/>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二等辺三角形 16"/>
          <p:cNvSpPr/>
          <p:nvPr/>
        </p:nvSpPr>
        <p:spPr>
          <a:xfrm rot="10800000">
            <a:off x="3656856" y="3553332"/>
            <a:ext cx="2464297" cy="576063"/>
          </a:xfrm>
          <a:prstGeom prst="triangle">
            <a:avLst/>
          </a:prstGeom>
          <a:gradFill flip="none" rotWithShape="1">
            <a:gsLst>
              <a:gs pos="0">
                <a:srgbClr val="6A6A6A"/>
              </a:gs>
              <a:gs pos="100000">
                <a:srgbClr val="BAE4D9"/>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solidFill>
                <a:schemeClr val="tx1"/>
              </a:solidFill>
              <a:latin typeface="Arial" panose="020B0604020202020204" pitchFamily="34" charset="0"/>
              <a:ea typeface="ＭＳ Ｐゴシック"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ブラジル／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zh-TW" altLang="en-US" dirty="0"/>
              <a:t>業界構造 </a:t>
            </a:r>
            <a:r>
              <a:rPr lang="en-US" altLang="zh-TW" dirty="0"/>
              <a:t>- </a:t>
            </a:r>
            <a:r>
              <a:rPr lang="zh-TW" altLang="en-US" dirty="0"/>
              <a:t>中古医療機器</a:t>
            </a:r>
          </a:p>
        </p:txBody>
      </p:sp>
      <p:sp>
        <p:nvSpPr>
          <p:cNvPr id="12" name="角丸四角形 11"/>
          <p:cNvSpPr/>
          <p:nvPr/>
        </p:nvSpPr>
        <p:spPr>
          <a:xfrm>
            <a:off x="3650241" y="2329196"/>
            <a:ext cx="2464296" cy="1008112"/>
          </a:xfrm>
          <a:prstGeom prst="roundRect">
            <a:avLst>
              <a:gd name="adj" fmla="val 9824"/>
            </a:avLst>
          </a:prstGeom>
          <a:solidFill>
            <a:srgbClr val="F24A38"/>
          </a:solidFill>
        </p:spPr>
        <p:txBody>
          <a:bodyPr wrap="none" anchor="ctr" anchorCtr="0">
            <a:noAutofit/>
          </a:bodyPr>
          <a:lstStyle/>
          <a:p>
            <a:pPr algn="ctr"/>
            <a:endParaRPr lang="ja-JP" altLang="en-US" sz="16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3" name="十字形 12"/>
          <p:cNvSpPr/>
          <p:nvPr/>
        </p:nvSpPr>
        <p:spPr>
          <a:xfrm rot="2700000">
            <a:off x="3902267" y="1867761"/>
            <a:ext cx="1944216" cy="1944216"/>
          </a:xfrm>
          <a:prstGeom prst="plus">
            <a:avLst>
              <a:gd name="adj" fmla="val 44196"/>
            </a:avLst>
          </a:prstGeom>
          <a:solidFill>
            <a:srgbClr val="868686">
              <a:alpha val="50000"/>
            </a:srgbClr>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は、原則、中古医療機器は購入しない。ただし民間の小規模な病院や診療所では購入されることもある。</a:t>
            </a:r>
          </a:p>
        </p:txBody>
      </p:sp>
      <p:sp>
        <p:nvSpPr>
          <p:cNvPr id="16" name="円/楕円 15"/>
          <p:cNvSpPr/>
          <p:nvPr/>
        </p:nvSpPr>
        <p:spPr>
          <a:xfrm>
            <a:off x="4086624" y="4303280"/>
            <a:ext cx="1567542" cy="1567542"/>
          </a:xfrm>
          <a:prstGeom prst="ellipse">
            <a:avLst/>
          </a:prstGeom>
          <a:noFill/>
          <a:ln w="228600" cap="flat" cmpd="sng" algn="ctr">
            <a:solidFill>
              <a:srgbClr val="77D4ED"/>
            </a:solidFill>
            <a:prstDash val="solid"/>
            <a:round/>
            <a:headEnd type="none" w="med" len="med"/>
            <a:tailEnd type="none" w="med" len="med"/>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3650241" y="4582995"/>
            <a:ext cx="2464296" cy="1008112"/>
          </a:xfrm>
          <a:prstGeom prst="roundRect">
            <a:avLst>
              <a:gd name="adj" fmla="val 9824"/>
            </a:avLst>
          </a:prstGeom>
          <a:solidFill>
            <a:srgbClr val="3D6AA7"/>
          </a:solidFill>
        </p:spPr>
        <p:txBody>
          <a:bodyPr wrap="square" anchor="ctr" anchorCtr="0">
            <a:noAutofit/>
          </a:bodyPr>
          <a:lstStyle/>
          <a:p>
            <a:pPr algn="ctr"/>
            <a:endParaRPr lang="ja-JP" altLang="en-US" sz="16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9" name="正方形/長方形 18"/>
          <p:cNvSpPr/>
          <p:nvPr/>
        </p:nvSpPr>
        <p:spPr>
          <a:xfrm>
            <a:off x="3802269" y="3660356"/>
            <a:ext cx="2160240" cy="397032"/>
          </a:xfrm>
          <a:prstGeom prst="rect">
            <a:avLst/>
          </a:prstGeom>
        </p:spPr>
        <p:txBody>
          <a:bodyPr wrap="square">
            <a:spAutoFit/>
          </a:bodyPr>
          <a:lstStyle/>
          <a:p>
            <a:pPr algn="ctr">
              <a:lnSpc>
                <a:spcPct val="110000"/>
              </a:lnSpc>
              <a:spcAft>
                <a:spcPts val="600"/>
              </a:spcAft>
            </a:pPr>
            <a:r>
              <a:rPr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rPr>
              <a:t>ただし</a:t>
            </a:r>
          </a:p>
        </p:txBody>
      </p:sp>
      <p:sp>
        <p:nvSpPr>
          <p:cNvPr id="20" name="円/楕円 19"/>
          <p:cNvSpPr/>
          <p:nvPr/>
        </p:nvSpPr>
        <p:spPr>
          <a:xfrm>
            <a:off x="4106935" y="4302496"/>
            <a:ext cx="1567542" cy="1567542"/>
          </a:xfrm>
          <a:prstGeom prst="ellipse">
            <a:avLst/>
          </a:prstGeom>
          <a:noFill/>
          <a:ln w="228600" cap="flat" cmpd="sng" algn="ctr">
            <a:solidFill>
              <a:srgbClr val="77D4ED">
                <a:alpha val="50000"/>
              </a:srgbClr>
            </a:solidFill>
            <a:prstDash val="solid"/>
            <a:round/>
            <a:headEnd type="none" w="med" len="med"/>
            <a:tailEnd type="none" w="med" len="med"/>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角丸四角形 20"/>
          <p:cNvSpPr/>
          <p:nvPr/>
        </p:nvSpPr>
        <p:spPr>
          <a:xfrm>
            <a:off x="3650241" y="2329196"/>
            <a:ext cx="2464296" cy="1008112"/>
          </a:xfrm>
          <a:prstGeom prst="roundRect">
            <a:avLst>
              <a:gd name="adj" fmla="val 9824"/>
            </a:avLst>
          </a:prstGeom>
          <a:noFill/>
          <a:extLst>
            <a:ext uri="{909E8E84-426E-40DD-AFC4-6F175D3DCCD1}">
              <a14:hiddenFill xmlns:a14="http://schemas.microsoft.com/office/drawing/2010/main">
                <a:solidFill>
                  <a:srgbClr val="F24A38"/>
                </a:solidFill>
              </a14:hiddenFill>
            </a:ext>
          </a:extLst>
        </p:spPr>
        <p:txBody>
          <a:bodyPr wrap="none" anchor="ctr" anchorCtr="0">
            <a:noAutofit/>
          </a:bodyPr>
          <a:lstStyle/>
          <a:p>
            <a:pPr algn="ctr"/>
            <a:r>
              <a:rPr lang="ja-JP" altLang="ja-JP" sz="1600" dirty="0">
                <a:solidFill>
                  <a:schemeClr val="bg1"/>
                </a:solidFill>
                <a:latin typeface="HGP創英角ｺﾞｼｯｸUB" panose="020B0900000000000000" pitchFamily="50" charset="-128"/>
                <a:ea typeface="HGP創英角ｺﾞｼｯｸUB" panose="020B0900000000000000" pitchFamily="50" charset="-128"/>
              </a:rPr>
              <a:t>中古医療機器の</a:t>
            </a: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購入</a:t>
            </a:r>
          </a:p>
        </p:txBody>
      </p:sp>
      <p:sp>
        <p:nvSpPr>
          <p:cNvPr id="22" name="角丸四角形 21"/>
          <p:cNvSpPr/>
          <p:nvPr/>
        </p:nvSpPr>
        <p:spPr>
          <a:xfrm>
            <a:off x="3650241" y="4582995"/>
            <a:ext cx="2464296" cy="1008112"/>
          </a:xfrm>
          <a:prstGeom prst="roundRect">
            <a:avLst>
              <a:gd name="adj" fmla="val 9824"/>
            </a:avLst>
          </a:prstGeom>
          <a:noFill/>
          <a:extLst>
            <a:ext uri="{909E8E84-426E-40DD-AFC4-6F175D3DCCD1}">
              <a14:hiddenFill xmlns:a14="http://schemas.microsoft.com/office/drawing/2010/main">
                <a:solidFill>
                  <a:srgbClr val="3D6AA7"/>
                </a:solidFill>
              </a14:hiddenFill>
            </a:ext>
          </a:extLst>
        </p:spPr>
        <p:txBody>
          <a:bodyPr wrap="square" anchor="ctr" anchorCtr="0">
            <a:noAutofit/>
          </a:bodyPr>
          <a:lstStyle/>
          <a:p>
            <a:pPr algn="ctr"/>
            <a:r>
              <a:rPr lang="ja-JP" altLang="en-US" sz="1200"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民間の小規模な病院や診療所では</a:t>
            </a:r>
            <a:b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購入されることもある</a:t>
            </a:r>
          </a:p>
        </p:txBody>
      </p:sp>
      <p:sp>
        <p:nvSpPr>
          <p:cNvPr id="4" name="テキスト ボックス 3"/>
          <p:cNvSpPr txBox="1"/>
          <p:nvPr/>
        </p:nvSpPr>
        <p:spPr>
          <a:xfrm>
            <a:off x="6753200" y="4245758"/>
            <a:ext cx="2919663" cy="2292935"/>
          </a:xfrm>
          <a:prstGeom prst="rect">
            <a:avLst/>
          </a:prstGeom>
          <a:noFill/>
        </p:spPr>
        <p:txBody>
          <a:bodyPr wrap="square" rtlCol="0">
            <a:spAutoFit/>
          </a:bodyPr>
          <a:lstStyle/>
          <a:p>
            <a:r>
              <a:rPr lang="en-US" altLang="ja-JP" sz="11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輸入規制について</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11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時点では、</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ANVISA</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国家衛生監督庁）での製品登録時の技術的・操作条件を満たすために必要な処理の加えられた中古医療製品については、輸入販売が可能。（つまり、処理の加えられていない中古製品の輸入販売は禁止。）</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1100" dirty="0">
                <a:latin typeface="Arial" panose="020B0604020202020204" pitchFamily="34" charset="0"/>
                <a:ea typeface="ＭＳ Ｐゴシック" panose="020B0600070205080204" pitchFamily="50" charset="-128"/>
                <a:cs typeface="Arial" panose="020B0604020202020204" pitchFamily="34" charset="0"/>
              </a:rPr>
              <a:t>　ただ、当規制は</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公聴第</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3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号が発表された場合に変更となる可能性があった。正式に施行された場合は、</a:t>
            </a:r>
            <a:r>
              <a:rPr lang="ja-JP" altLang="en-US" sz="1100" dirty="0"/>
              <a:t>再調整済み医療機器でも輸入・販売に何らかの制限が加わることが予想されていたものの、現時点で公表があったかは不明。</a:t>
            </a:r>
          </a:p>
        </p:txBody>
      </p:sp>
    </p:spTree>
    <p:extLst>
      <p:ext uri="{BB962C8B-B14F-4D97-AF65-F5344CB8AC3E}">
        <p14:creationId xmlns:p14="http://schemas.microsoft.com/office/powerpoint/2010/main" val="27895340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45" imgW="360" imgH="360" progId="TCLayout.ActiveDocument.1">
                  <p:embed/>
                </p:oleObj>
              </mc:Choice>
              <mc:Fallback>
                <p:oleObj name="think-cell Slide" r:id="rId45" imgW="360" imgH="360" progId="TCLayout.ActiveDocument.1">
                  <p:embed/>
                  <p:pic>
                    <p:nvPicPr>
                      <p:cNvPr id="4" name="Object 3" hidden="1"/>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63" name="Chart 62">
            <a:extLst>
              <a:ext uri="{FF2B5EF4-FFF2-40B4-BE49-F238E27FC236}">
                <a16:creationId xmlns:a16="http://schemas.microsoft.com/office/drawing/2014/main" id="{C17E5D82-9DF7-40C1-98EF-D74BBD4FCC54}"/>
              </a:ext>
            </a:extLst>
          </p:cNvPr>
          <p:cNvGraphicFramePr/>
          <p:nvPr>
            <p:custDataLst>
              <p:tags r:id="rId4"/>
            </p:custDataLst>
          </p:nvPr>
        </p:nvGraphicFramePr>
        <p:xfrm>
          <a:off x="549275" y="2482850"/>
          <a:ext cx="5595938" cy="3557588"/>
        </p:xfrm>
        <a:graphic>
          <a:graphicData uri="http://schemas.openxmlformats.org/drawingml/2006/chart">
            <c:chart xmlns:c="http://schemas.openxmlformats.org/drawingml/2006/chart" xmlns:r="http://schemas.openxmlformats.org/officeDocument/2006/relationships" r:id="rId47"/>
          </a:graphicData>
        </a:graphic>
      </p:graphicFrame>
      <p:sp>
        <p:nvSpPr>
          <p:cNvPr id="179" name="テキスト プレースホルダ 9">
            <a:extLst>
              <a:ext uri="{FF2B5EF4-FFF2-40B4-BE49-F238E27FC236}">
                <a16:creationId xmlns:a16="http://schemas.microsoft.com/office/drawing/2014/main" id="{4CCE66A1-CAF4-4AD4-B761-80773231CA43}"/>
              </a:ext>
            </a:extLst>
          </p:cNvPr>
          <p:cNvSpPr>
            <a:spLocks noGrp="1"/>
          </p:cNvSpPr>
          <p:nvPr>
            <p:custDataLst>
              <p:tags r:id="rId5"/>
            </p:custDataLst>
          </p:nvPr>
        </p:nvSpPr>
        <p:spPr bwMode="gray">
          <a:xfrm>
            <a:off x="363538" y="44672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37A3A04-63D3-409E-AF99-D7DD14017CFB}" type="datetime'''''''5''0'">
              <a:rPr lang="en-US" altLang="en-US" sz="1000" smtClean="0"/>
              <a:pPr/>
              <a:t>50</a:t>
            </a:fld>
            <a:endParaRPr lang="ja-JP" altLang="en-US" sz="1000" dirty="0">
              <a:sym typeface="+mn-lt"/>
            </a:endParaRPr>
          </a:p>
        </p:txBody>
      </p:sp>
      <p:sp>
        <p:nvSpPr>
          <p:cNvPr id="174" name="テキスト プレースホルダ 9">
            <a:extLst>
              <a:ext uri="{FF2B5EF4-FFF2-40B4-BE49-F238E27FC236}">
                <a16:creationId xmlns:a16="http://schemas.microsoft.com/office/drawing/2014/main" id="{48A05A9C-DC84-4310-8F96-EE7FA93126C9}"/>
              </a:ext>
            </a:extLst>
          </p:cNvPr>
          <p:cNvSpPr>
            <a:spLocks noGrp="1"/>
          </p:cNvSpPr>
          <p:nvPr>
            <p:custDataLst>
              <p:tags r:id="rId6"/>
            </p:custDataLst>
          </p:nvPr>
        </p:nvSpPr>
        <p:spPr bwMode="gray">
          <a:xfrm>
            <a:off x="433388"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0DF574F-D3B7-4803-BC75-32D318C01251}" type="datetime'''0'''''''''''''''''''''''''''''''''''''''''''''">
              <a:rPr lang="en-US" altLang="en-US" sz="1000" smtClean="0"/>
              <a:pPr/>
              <a:t>0</a:t>
            </a:fld>
            <a:endParaRPr lang="ja-JP" altLang="en-US" sz="1000" dirty="0">
              <a:sym typeface="+mn-lt"/>
            </a:endParaRPr>
          </a:p>
        </p:txBody>
      </p:sp>
      <p:sp>
        <p:nvSpPr>
          <p:cNvPr id="178" name="テキスト プレースホルダ 9">
            <a:extLst>
              <a:ext uri="{FF2B5EF4-FFF2-40B4-BE49-F238E27FC236}">
                <a16:creationId xmlns:a16="http://schemas.microsoft.com/office/drawing/2014/main" id="{3D1426BE-9436-4C61-95C8-2E9A8A123CC4}"/>
              </a:ext>
            </a:extLst>
          </p:cNvPr>
          <p:cNvSpPr>
            <a:spLocks noGrp="1"/>
          </p:cNvSpPr>
          <p:nvPr>
            <p:custDataLst>
              <p:tags r:id="rId7"/>
            </p:custDataLst>
          </p:nvPr>
        </p:nvSpPr>
        <p:spPr bwMode="gray">
          <a:xfrm>
            <a:off x="363538" y="4751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E95243F-78BB-460B-BFA8-CE4CB254A53C}" type="datetime'''''''''4''''''''''''''''''''''''''''''0'''''">
              <a:rPr lang="en-US" altLang="en-US" sz="1000" smtClean="0"/>
              <a:pPr/>
              <a:t>40</a:t>
            </a:fld>
            <a:endParaRPr lang="ja-JP" altLang="en-US" sz="1000" dirty="0">
              <a:sym typeface="+mn-lt"/>
            </a:endParaRPr>
          </a:p>
        </p:txBody>
      </p:sp>
      <p:sp>
        <p:nvSpPr>
          <p:cNvPr id="175" name="テキスト プレースホルダ 9">
            <a:extLst>
              <a:ext uri="{FF2B5EF4-FFF2-40B4-BE49-F238E27FC236}">
                <a16:creationId xmlns:a16="http://schemas.microsoft.com/office/drawing/2014/main" id="{362960AF-355B-4A46-A912-897CAF780852}"/>
              </a:ext>
            </a:extLst>
          </p:cNvPr>
          <p:cNvSpPr>
            <a:spLocks noGrp="1"/>
          </p:cNvSpPr>
          <p:nvPr>
            <p:custDataLst>
              <p:tags r:id="rId8"/>
            </p:custDataLst>
          </p:nvPr>
        </p:nvSpPr>
        <p:spPr bwMode="gray">
          <a:xfrm>
            <a:off x="363538" y="55991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6FB60F1-2280-4136-B11C-BD3A1F862263}" type="datetime'''''''''''''''''''''''''''1''''''0'''''''''''''">
              <a:rPr lang="en-US" altLang="en-US" sz="1000" smtClean="0"/>
              <a:pPr/>
              <a:t>10</a:t>
            </a:fld>
            <a:endParaRPr lang="ja-JP" altLang="en-US" sz="1000" dirty="0">
              <a:sym typeface="+mn-lt"/>
            </a:endParaRPr>
          </a:p>
        </p:txBody>
      </p:sp>
      <p:sp>
        <p:nvSpPr>
          <p:cNvPr id="176" name="テキスト プレースホルダ 9">
            <a:extLst>
              <a:ext uri="{FF2B5EF4-FFF2-40B4-BE49-F238E27FC236}">
                <a16:creationId xmlns:a16="http://schemas.microsoft.com/office/drawing/2014/main" id="{E4941980-C90B-4D7D-AB79-DB7752496F8A}"/>
              </a:ext>
            </a:extLst>
          </p:cNvPr>
          <p:cNvSpPr>
            <a:spLocks noGrp="1"/>
          </p:cNvSpPr>
          <p:nvPr>
            <p:custDataLst>
              <p:tags r:id="rId9"/>
            </p:custDataLst>
          </p:nvPr>
        </p:nvSpPr>
        <p:spPr bwMode="gray">
          <a:xfrm>
            <a:off x="363538" y="53165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1AC3543-2ACD-4E78-B860-4732557B1A8F}" type="datetime'''''''''''2''''''''''''''''''''''''0'''''''''''''''''''''">
              <a:rPr lang="en-US" altLang="en-US" sz="1000" smtClean="0"/>
              <a:pPr/>
              <a:t>20</a:t>
            </a:fld>
            <a:endParaRPr lang="ja-JP" altLang="en-US" sz="1000" dirty="0">
              <a:sym typeface="+mn-lt"/>
            </a:endParaRPr>
          </a:p>
        </p:txBody>
      </p:sp>
      <p:sp>
        <p:nvSpPr>
          <p:cNvPr id="180" name="テキスト プレースホルダ 9">
            <a:extLst>
              <a:ext uri="{FF2B5EF4-FFF2-40B4-BE49-F238E27FC236}">
                <a16:creationId xmlns:a16="http://schemas.microsoft.com/office/drawing/2014/main" id="{5B05F1F7-CEBA-429F-A156-D015DF1630FC}"/>
              </a:ext>
            </a:extLst>
          </p:cNvPr>
          <p:cNvSpPr>
            <a:spLocks noGrp="1"/>
          </p:cNvSpPr>
          <p:nvPr>
            <p:custDataLst>
              <p:tags r:id="rId10"/>
            </p:custDataLst>
          </p:nvPr>
        </p:nvSpPr>
        <p:spPr bwMode="gray">
          <a:xfrm>
            <a:off x="363538" y="41846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19B0D54-D60A-43C3-B625-81F3490DA4B1}" type="datetime'''''''''''6''''''''''''''0'''''''''''''''''''''">
              <a:rPr lang="en-US" altLang="en-US" sz="1000" smtClean="0"/>
              <a:pPr/>
              <a:t>60</a:t>
            </a:fld>
            <a:endParaRPr lang="ja-JP" altLang="en-US" sz="1000" dirty="0">
              <a:sym typeface="+mn-lt"/>
            </a:endParaRPr>
          </a:p>
        </p:txBody>
      </p:sp>
      <p:sp>
        <p:nvSpPr>
          <p:cNvPr id="181" name="テキスト プレースホルダ 9">
            <a:extLst>
              <a:ext uri="{FF2B5EF4-FFF2-40B4-BE49-F238E27FC236}">
                <a16:creationId xmlns:a16="http://schemas.microsoft.com/office/drawing/2014/main" id="{554259D4-F229-40DE-B3E8-850E13A35A65}"/>
              </a:ext>
            </a:extLst>
          </p:cNvPr>
          <p:cNvSpPr>
            <a:spLocks noGrp="1"/>
          </p:cNvSpPr>
          <p:nvPr>
            <p:custDataLst>
              <p:tags r:id="rId11"/>
            </p:custDataLst>
          </p:nvPr>
        </p:nvSpPr>
        <p:spPr bwMode="gray">
          <a:xfrm>
            <a:off x="363538" y="3902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21BED2C-8AA5-4108-9719-B910FB8F74CC}" type="datetime'''''''''7''''''''''''0'''''''''''''">
              <a:rPr lang="en-US" altLang="en-US" sz="1000" smtClean="0"/>
              <a:pPr/>
              <a:t>70</a:t>
            </a:fld>
            <a:endParaRPr lang="ja-JP" altLang="en-US" sz="1000" dirty="0">
              <a:sym typeface="+mn-lt"/>
            </a:endParaRPr>
          </a:p>
        </p:txBody>
      </p:sp>
      <p:sp>
        <p:nvSpPr>
          <p:cNvPr id="177" name="テキスト プレースホルダ 9">
            <a:extLst>
              <a:ext uri="{FF2B5EF4-FFF2-40B4-BE49-F238E27FC236}">
                <a16:creationId xmlns:a16="http://schemas.microsoft.com/office/drawing/2014/main" id="{7CC061DF-9AC1-4D39-99BE-1722EBB5D633}"/>
              </a:ext>
            </a:extLst>
          </p:cNvPr>
          <p:cNvSpPr>
            <a:spLocks noGrp="1"/>
          </p:cNvSpPr>
          <p:nvPr>
            <p:custDataLst>
              <p:tags r:id="rId12"/>
            </p:custDataLst>
          </p:nvPr>
        </p:nvSpPr>
        <p:spPr bwMode="gray">
          <a:xfrm>
            <a:off x="363538" y="50339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497ACE2-08B7-4211-B80D-0B59FAC85505}" type="datetime'''''''''''''''3''''''''''''''''''''''''''''''''''''0'''">
              <a:rPr lang="en-US" altLang="en-US" sz="1000" smtClean="0"/>
              <a:pPr/>
              <a:t>30</a:t>
            </a:fld>
            <a:endParaRPr lang="ja-JP" altLang="en-US" sz="1000" dirty="0">
              <a:sym typeface="+mn-lt"/>
            </a:endParaRPr>
          </a:p>
        </p:txBody>
      </p:sp>
      <p:sp>
        <p:nvSpPr>
          <p:cNvPr id="182" name="テキスト プレースホルダ 9">
            <a:extLst>
              <a:ext uri="{FF2B5EF4-FFF2-40B4-BE49-F238E27FC236}">
                <a16:creationId xmlns:a16="http://schemas.microsoft.com/office/drawing/2014/main" id="{3C84FEA7-E900-41F4-8194-B6750CDB9CB1}"/>
              </a:ext>
            </a:extLst>
          </p:cNvPr>
          <p:cNvSpPr>
            <a:spLocks noGrp="1"/>
          </p:cNvSpPr>
          <p:nvPr>
            <p:custDataLst>
              <p:tags r:id="rId13"/>
            </p:custDataLst>
          </p:nvPr>
        </p:nvSpPr>
        <p:spPr bwMode="gray">
          <a:xfrm>
            <a:off x="363538" y="3619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965B5EB-95FA-4A5B-8844-4262B4CAA04D}" type="datetime'''8''''''''''''''''''''''0'''''''''''''">
              <a:rPr lang="en-US" altLang="en-US" sz="1000" smtClean="0"/>
              <a:pPr/>
              <a:t>80</a:t>
            </a:fld>
            <a:endParaRPr lang="ja-JP" altLang="en-US" sz="1000" dirty="0">
              <a:sym typeface="+mn-lt"/>
            </a:endParaRPr>
          </a:p>
        </p:txBody>
      </p:sp>
      <p:sp>
        <p:nvSpPr>
          <p:cNvPr id="183" name="テキスト プレースホルダ 9">
            <a:extLst>
              <a:ext uri="{FF2B5EF4-FFF2-40B4-BE49-F238E27FC236}">
                <a16:creationId xmlns:a16="http://schemas.microsoft.com/office/drawing/2014/main" id="{E54F749E-9A64-47B3-9943-E88B276D6020}"/>
              </a:ext>
            </a:extLst>
          </p:cNvPr>
          <p:cNvSpPr>
            <a:spLocks noGrp="1"/>
          </p:cNvSpPr>
          <p:nvPr>
            <p:custDataLst>
              <p:tags r:id="rId14"/>
            </p:custDataLst>
          </p:nvPr>
        </p:nvSpPr>
        <p:spPr bwMode="gray">
          <a:xfrm>
            <a:off x="363538" y="33369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2084155-3F79-4647-88E5-F7E54D0AF732}" type="datetime'''''''''''90'''''''''''''''''''">
              <a:rPr lang="en-US" altLang="en-US" sz="1000" smtClean="0"/>
              <a:pPr/>
              <a:t>90</a:t>
            </a:fld>
            <a:endParaRPr lang="ja-JP" altLang="en-US" sz="1000" dirty="0">
              <a:sym typeface="+mn-lt"/>
            </a:endParaRPr>
          </a:p>
        </p:txBody>
      </p:sp>
      <p:sp>
        <p:nvSpPr>
          <p:cNvPr id="184" name="テキスト プレースホルダ 9">
            <a:extLst>
              <a:ext uri="{FF2B5EF4-FFF2-40B4-BE49-F238E27FC236}">
                <a16:creationId xmlns:a16="http://schemas.microsoft.com/office/drawing/2014/main" id="{95F3FAA5-BF9A-4A19-B70B-75554D96A41C}"/>
              </a:ext>
            </a:extLst>
          </p:cNvPr>
          <p:cNvSpPr>
            <a:spLocks noGrp="1"/>
          </p:cNvSpPr>
          <p:nvPr>
            <p:custDataLst>
              <p:tags r:id="rId15"/>
            </p:custDataLst>
          </p:nvPr>
        </p:nvSpPr>
        <p:spPr bwMode="gray">
          <a:xfrm>
            <a:off x="293688" y="30543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82E1FF9-D1C7-4A56-88CD-A29342007DAD}" type="datetime'''''''''1''''''''''''''''''0''''''''''''0'''''''''''">
              <a:rPr lang="en-US" altLang="en-US" sz="1000" smtClean="0"/>
              <a:pPr/>
              <a:t>100</a:t>
            </a:fld>
            <a:endParaRPr lang="ja-JP" altLang="en-US" sz="1000" dirty="0">
              <a:sym typeface="+mn-lt"/>
            </a:endParaRPr>
          </a:p>
        </p:txBody>
      </p:sp>
      <p:sp>
        <p:nvSpPr>
          <p:cNvPr id="185" name="テキスト プレースホルダ 9">
            <a:extLst>
              <a:ext uri="{FF2B5EF4-FFF2-40B4-BE49-F238E27FC236}">
                <a16:creationId xmlns:a16="http://schemas.microsoft.com/office/drawing/2014/main" id="{3ABDEEAC-DA95-4068-8693-E85B6089ECA6}"/>
              </a:ext>
            </a:extLst>
          </p:cNvPr>
          <p:cNvSpPr>
            <a:spLocks noGrp="1"/>
          </p:cNvSpPr>
          <p:nvPr>
            <p:custDataLst>
              <p:tags r:id="rId16"/>
            </p:custDataLst>
          </p:nvPr>
        </p:nvSpPr>
        <p:spPr bwMode="gray">
          <a:xfrm>
            <a:off x="293688" y="27717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1647AA2-B10E-455E-9EC6-D095484FFA15}" type="datetime'''''''''''''1''1''''''0'''''''''''''''''">
              <a:rPr lang="en-US" altLang="en-US" sz="1000" smtClean="0"/>
              <a:pPr/>
              <a:t>110</a:t>
            </a:fld>
            <a:endParaRPr lang="ja-JP" altLang="en-US" sz="1000" dirty="0">
              <a:sym typeface="+mn-lt"/>
            </a:endParaRPr>
          </a:p>
        </p:txBody>
      </p:sp>
      <p:sp>
        <p:nvSpPr>
          <p:cNvPr id="57" name="テキスト プレースホルダ 9">
            <a:extLst>
              <a:ext uri="{FF2B5EF4-FFF2-40B4-BE49-F238E27FC236}">
                <a16:creationId xmlns:a16="http://schemas.microsoft.com/office/drawing/2014/main" id="{19F7D648-76BA-4E1A-B108-466A9C8C8C79}"/>
              </a:ext>
            </a:extLst>
          </p:cNvPr>
          <p:cNvSpPr>
            <a:spLocks noGrp="1"/>
          </p:cNvSpPr>
          <p:nvPr>
            <p:custDataLst>
              <p:tags r:id="rId17"/>
            </p:custDataLst>
          </p:nvPr>
        </p:nvSpPr>
        <p:spPr bwMode="gray">
          <a:xfrm>
            <a:off x="293688" y="2489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25C498E-A563-4BA0-AB01-B51B479A99CF}" type="datetime'''''''''''''''''''''''1''''''''''''2''''''''''''0'''''">
              <a:rPr lang="en-US" altLang="en-US" sz="1000" smtClean="0"/>
              <a:pPr/>
              <a:t>120</a:t>
            </a:fld>
            <a:endParaRPr lang="ja-JP" altLang="en-US" sz="1000" dirty="0">
              <a:sym typeface="+mn-lt"/>
            </a:endParaRPr>
          </a:p>
        </p:txBody>
      </p:sp>
      <p:sp>
        <p:nvSpPr>
          <p:cNvPr id="167" name="テキスト プレースホルダ 9">
            <a:extLst>
              <a:ext uri="{FF2B5EF4-FFF2-40B4-BE49-F238E27FC236}">
                <a16:creationId xmlns:a16="http://schemas.microsoft.com/office/drawing/2014/main" id="{EFC825C5-DBD9-47DC-90A8-DF8C730D23DF}"/>
              </a:ext>
            </a:extLst>
          </p:cNvPr>
          <p:cNvSpPr>
            <a:spLocks noGrp="1"/>
          </p:cNvSpPr>
          <p:nvPr>
            <p:custDataLst>
              <p:tags r:id="rId18"/>
            </p:custDataLst>
          </p:nvPr>
        </p:nvSpPr>
        <p:spPr bwMode="gray">
          <a:xfrm>
            <a:off x="3416300" y="36496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C53BFB-BDBB-4B51-9C75-73B3AA0245CE}" type="datetime'''''''''''''7''''5.''''''''''''3'''''''''''">
              <a:rPr lang="en-US" altLang="en-US" sz="1000" smtClean="0"/>
              <a:pPr/>
              <a:t>75.3</a:t>
            </a:fld>
            <a:endParaRPr lang="ja-JP" altLang="en-US" sz="1000" dirty="0">
              <a:sym typeface="+mn-lt"/>
            </a:endParaRPr>
          </a:p>
        </p:txBody>
      </p:sp>
      <p:sp>
        <p:nvSpPr>
          <p:cNvPr id="159" name="テキスト プレースホルダ 9">
            <a:extLst>
              <a:ext uri="{FF2B5EF4-FFF2-40B4-BE49-F238E27FC236}">
                <a16:creationId xmlns:a16="http://schemas.microsoft.com/office/drawing/2014/main" id="{13BC69BC-C954-4DDE-B050-3409632379B5}"/>
              </a:ext>
            </a:extLst>
          </p:cNvPr>
          <p:cNvSpPr>
            <a:spLocks noGrp="1"/>
          </p:cNvSpPr>
          <p:nvPr>
            <p:custDataLst>
              <p:tags r:id="rId19"/>
            </p:custDataLst>
          </p:nvPr>
        </p:nvSpPr>
        <p:spPr bwMode="gray">
          <a:xfrm>
            <a:off x="1911350" y="544512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1C20C9-A50C-4CBC-8D9E-1678B2B0AC08}" type="datetime'1''''''''''''''''''''''''''''1''''''.''''''''''''''9'''">
              <a:rPr lang="en-US" altLang="en-US" sz="1000" smtClean="0"/>
              <a:pPr/>
              <a:t>11.9</a:t>
            </a:fld>
            <a:endParaRPr lang="ja-JP" altLang="en-US" sz="1000" dirty="0">
              <a:sym typeface="+mn-lt"/>
            </a:endParaRPr>
          </a:p>
        </p:txBody>
      </p:sp>
      <p:sp>
        <p:nvSpPr>
          <p:cNvPr id="24" name="テキスト プレースホルダ 9"/>
          <p:cNvSpPr>
            <a:spLocks noGrp="1"/>
          </p:cNvSpPr>
          <p:nvPr>
            <p:custDataLst>
              <p:tags r:id="rId20"/>
            </p:custDataLst>
          </p:nvPr>
        </p:nvSpPr>
        <p:spPr bwMode="auto">
          <a:xfrm>
            <a:off x="1027113"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BD9D09-2587-4472-B2DD-D772F551A515}" type="datetime'''''''''''''''''2''''''''0''''''''''''''1''''''''''''''''7'">
              <a:rPr lang="en-US" altLang="en-US" sz="1000" smtClean="0"/>
              <a:pPr/>
              <a:t>2017</a:t>
            </a:fld>
            <a:endParaRPr kumimoji="0" lang="ja-JP" altLang="en-US" sz="1000" dirty="0">
              <a:sym typeface="+mn-lt"/>
            </a:endParaRPr>
          </a:p>
        </p:txBody>
      </p:sp>
      <p:sp>
        <p:nvSpPr>
          <p:cNvPr id="171" name="テキスト プレースホルダ 9">
            <a:extLst>
              <a:ext uri="{FF2B5EF4-FFF2-40B4-BE49-F238E27FC236}">
                <a16:creationId xmlns:a16="http://schemas.microsoft.com/office/drawing/2014/main" id="{3B88F6C6-B98D-4DD7-BED7-320851488E93}"/>
              </a:ext>
            </a:extLst>
          </p:cNvPr>
          <p:cNvSpPr>
            <a:spLocks noGrp="1"/>
          </p:cNvSpPr>
          <p:nvPr>
            <p:custDataLst>
              <p:tags r:id="rId21"/>
            </p:custDataLst>
          </p:nvPr>
        </p:nvSpPr>
        <p:spPr bwMode="gray">
          <a:xfrm>
            <a:off x="2328863" y="36750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87F04B-0E23-4027-8083-D19F80821FB1}" type="datetime'''''''''7''4''''.''''''''''''4'''''''''''''''''''''''''''''">
              <a:rPr lang="en-US" altLang="en-US" sz="1000" smtClean="0"/>
              <a:pPr/>
              <a:t>74.4</a:t>
            </a:fld>
            <a:endParaRPr lang="ja-JP" altLang="en-US" sz="1000" dirty="0">
              <a:sym typeface="+mn-lt"/>
            </a:endParaRPr>
          </a:p>
        </p:txBody>
      </p:sp>
      <p:sp>
        <p:nvSpPr>
          <p:cNvPr id="23" name="テキスト プレースホルダ 9"/>
          <p:cNvSpPr>
            <a:spLocks noGrp="1"/>
          </p:cNvSpPr>
          <p:nvPr>
            <p:custDataLst>
              <p:tags r:id="rId22"/>
            </p:custDataLst>
          </p:nvPr>
        </p:nvSpPr>
        <p:spPr bwMode="auto">
          <a:xfrm>
            <a:off x="218281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6A8B35-F707-448A-9156-3ADE71727CF8}"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23"/>
            </p:custDataLst>
          </p:nvPr>
        </p:nvSpPr>
        <p:spPr bwMode="auto">
          <a:xfrm>
            <a:off x="327025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5FFABE-5C67-4C7F-A6CA-2A143B0D3321}"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24"/>
            </p:custDataLst>
          </p:nvPr>
        </p:nvSpPr>
        <p:spPr bwMode="auto">
          <a:xfrm>
            <a:off x="435610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F5CB61-1F1B-44AD-9B32-B20A6246D715}" type="datetime'''''''''''''''''''''''''2''''''''''''''0'''''''''''''''">
              <a:rPr lang="en-US" altLang="en-US" sz="1000" smtClean="0"/>
              <a:pPr/>
              <a:t>20</a:t>
            </a:fld>
            <a:endParaRPr kumimoji="0" lang="ja-JP" altLang="en-US" sz="1000" dirty="0">
              <a:sym typeface="+mn-lt"/>
            </a:endParaRPr>
          </a:p>
        </p:txBody>
      </p:sp>
      <p:sp>
        <p:nvSpPr>
          <p:cNvPr id="20" name="テキスト プレースホルダ 9"/>
          <p:cNvSpPr>
            <a:spLocks noGrp="1"/>
          </p:cNvSpPr>
          <p:nvPr>
            <p:custDataLst>
              <p:tags r:id="rId25"/>
            </p:custDataLst>
          </p:nvPr>
        </p:nvSpPr>
        <p:spPr bwMode="auto">
          <a:xfrm>
            <a:off x="544195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90D63B-F6F0-4B32-A1DB-9791B3BAAE22}" type="datetime'''''''''''''''''''''''''''2''''''''''''''''''''1'''''''''''''">
              <a:rPr lang="en-US" altLang="en-US" sz="1000" smtClean="0"/>
              <a:pPr/>
              <a:t>21</a:t>
            </a:fld>
            <a:endParaRPr kumimoji="0" lang="ja-JP" altLang="en-US" sz="1000" dirty="0">
              <a:sym typeface="+mn-lt"/>
            </a:endParaRPr>
          </a:p>
        </p:txBody>
      </p:sp>
      <p:sp>
        <p:nvSpPr>
          <p:cNvPr id="160" name="テキスト プレースホルダ 9">
            <a:extLst>
              <a:ext uri="{FF2B5EF4-FFF2-40B4-BE49-F238E27FC236}">
                <a16:creationId xmlns:a16="http://schemas.microsoft.com/office/drawing/2014/main" id="{8779D09F-6780-4AE1-98D9-E623B2812122}"/>
              </a:ext>
            </a:extLst>
          </p:cNvPr>
          <p:cNvSpPr>
            <a:spLocks noGrp="1"/>
          </p:cNvSpPr>
          <p:nvPr>
            <p:custDataLst>
              <p:tags r:id="rId26"/>
            </p:custDataLst>
          </p:nvPr>
        </p:nvSpPr>
        <p:spPr bwMode="gray">
          <a:xfrm>
            <a:off x="2998788" y="545147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9581E2-A340-47A1-BC71-43463EF176F1}" type="datetime'''1''''''1''''''''.''6'''''''''''''''''''''''">
              <a:rPr lang="en-US" altLang="en-US" sz="1000" smtClean="0"/>
              <a:pPr/>
              <a:t>11.6</a:t>
            </a:fld>
            <a:endParaRPr lang="ja-JP" altLang="en-US" sz="1000" dirty="0">
              <a:sym typeface="+mn-lt"/>
            </a:endParaRPr>
          </a:p>
        </p:txBody>
      </p:sp>
      <p:sp>
        <p:nvSpPr>
          <p:cNvPr id="158" name="テキスト プレースホルダ 9">
            <a:extLst>
              <a:ext uri="{FF2B5EF4-FFF2-40B4-BE49-F238E27FC236}">
                <a16:creationId xmlns:a16="http://schemas.microsoft.com/office/drawing/2014/main" id="{42DF43B9-59E2-4E32-9CC2-E7B2067548CB}"/>
              </a:ext>
            </a:extLst>
          </p:cNvPr>
          <p:cNvSpPr>
            <a:spLocks noGrp="1"/>
          </p:cNvSpPr>
          <p:nvPr>
            <p:custDataLst>
              <p:tags r:id="rId27"/>
            </p:custDataLst>
          </p:nvPr>
        </p:nvSpPr>
        <p:spPr bwMode="gray">
          <a:xfrm>
            <a:off x="825500" y="5427663"/>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310F59-4809-452F-A1C4-987002A3D486}" type="datetime'''''''''''''''''1''2''''''''.''''''''5'''''''''''">
              <a:rPr lang="en-US" altLang="en-US" sz="1000" smtClean="0"/>
              <a:pPr/>
              <a:t>12.5</a:t>
            </a:fld>
            <a:endParaRPr lang="ja-JP" altLang="en-US" sz="1000" dirty="0">
              <a:sym typeface="+mn-lt"/>
            </a:endParaRPr>
          </a:p>
        </p:txBody>
      </p:sp>
      <p:sp>
        <p:nvSpPr>
          <p:cNvPr id="170" name="テキスト プレースホルダ 9">
            <a:extLst>
              <a:ext uri="{FF2B5EF4-FFF2-40B4-BE49-F238E27FC236}">
                <a16:creationId xmlns:a16="http://schemas.microsoft.com/office/drawing/2014/main" id="{B83B3FA0-4579-4EC5-A5C1-C73B3E4533AA}"/>
              </a:ext>
            </a:extLst>
          </p:cNvPr>
          <p:cNvSpPr>
            <a:spLocks noGrp="1"/>
          </p:cNvSpPr>
          <p:nvPr>
            <p:custDataLst>
              <p:tags r:id="rId28"/>
            </p:custDataLst>
          </p:nvPr>
        </p:nvSpPr>
        <p:spPr bwMode="gray">
          <a:xfrm>
            <a:off x="1243013" y="38782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EB26A6-9A6C-4961-B7B9-165A59A4F830}" type="datetime'6''7''''''''.''''''''''''''''''''''''''''''3'''''''''">
              <a:rPr lang="en-US" altLang="en-US" sz="1000" smtClean="0"/>
              <a:pPr/>
              <a:t>67.3</a:t>
            </a:fld>
            <a:endParaRPr lang="ja-JP" altLang="en-US" sz="1000" dirty="0">
              <a:sym typeface="+mn-lt"/>
            </a:endParaRPr>
          </a:p>
        </p:txBody>
      </p:sp>
      <p:sp>
        <p:nvSpPr>
          <p:cNvPr id="117" name="テキスト プレースホルダ 9">
            <a:extLst>
              <a:ext uri="{FF2B5EF4-FFF2-40B4-BE49-F238E27FC236}">
                <a16:creationId xmlns:a16="http://schemas.microsoft.com/office/drawing/2014/main" id="{B4940900-85E5-46A3-BE4A-BA4A6305A64F}"/>
              </a:ext>
            </a:extLst>
          </p:cNvPr>
          <p:cNvSpPr>
            <a:spLocks noGrp="1"/>
          </p:cNvSpPr>
          <p:nvPr>
            <p:custDataLst>
              <p:tags r:id="rId29"/>
            </p:custDataLst>
          </p:nvPr>
        </p:nvSpPr>
        <p:spPr bwMode="gray">
          <a:xfrm>
            <a:off x="4084638" y="547528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5C8780-DD08-4BAC-A52E-7506DE84BF1A}" type="datetime'''''''''''''''''''''''''10''''''''''''''''''''''''.8'''''''">
              <a:rPr lang="en-US" altLang="en-US" sz="1000" smtClean="0"/>
              <a:pPr/>
              <a:t>10.8</a:t>
            </a:fld>
            <a:endParaRPr lang="ja-JP" altLang="en-US" sz="1000" dirty="0">
              <a:sym typeface="+mn-lt"/>
            </a:endParaRPr>
          </a:p>
        </p:txBody>
      </p:sp>
      <p:sp>
        <p:nvSpPr>
          <p:cNvPr id="172" name="テキスト プレースホルダ 9">
            <a:extLst>
              <a:ext uri="{FF2B5EF4-FFF2-40B4-BE49-F238E27FC236}">
                <a16:creationId xmlns:a16="http://schemas.microsoft.com/office/drawing/2014/main" id="{DB6EE2E7-1F71-4209-887E-6DF7CBD6F732}"/>
              </a:ext>
            </a:extLst>
          </p:cNvPr>
          <p:cNvSpPr>
            <a:spLocks noGrp="1"/>
          </p:cNvSpPr>
          <p:nvPr>
            <p:custDataLst>
              <p:tags r:id="rId30"/>
            </p:custDataLst>
          </p:nvPr>
        </p:nvSpPr>
        <p:spPr bwMode="gray">
          <a:xfrm>
            <a:off x="4502150" y="37099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935151-71CE-4D20-B656-51D2B610A353}" type="datetime'''''''''7''''''''''''''''''''''''''3''.''''''''''2'''">
              <a:rPr lang="en-US" altLang="en-US" sz="1000" smtClean="0"/>
              <a:pPr/>
              <a:t>73.2</a:t>
            </a:fld>
            <a:endParaRPr lang="ja-JP" altLang="en-US" sz="1000" dirty="0">
              <a:sym typeface="+mn-lt"/>
            </a:endParaRPr>
          </a:p>
        </p:txBody>
      </p:sp>
      <p:sp>
        <p:nvSpPr>
          <p:cNvPr id="161" name="テキスト プレースホルダ 9">
            <a:extLst>
              <a:ext uri="{FF2B5EF4-FFF2-40B4-BE49-F238E27FC236}">
                <a16:creationId xmlns:a16="http://schemas.microsoft.com/office/drawing/2014/main" id="{9367A074-6849-4A1D-93F9-289DD959501F}"/>
              </a:ext>
            </a:extLst>
          </p:cNvPr>
          <p:cNvSpPr>
            <a:spLocks noGrp="1"/>
          </p:cNvSpPr>
          <p:nvPr>
            <p:custDataLst>
              <p:tags r:id="rId31"/>
            </p:custDataLst>
          </p:nvPr>
        </p:nvSpPr>
        <p:spPr bwMode="gray">
          <a:xfrm>
            <a:off x="5170488" y="546893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4C8184-3FE9-474E-BC32-F5B7224CDEBC}" type="datetime'''''''''''1''''''''''''''''1''''''''.''''''0'''''''''''''">
              <a:rPr lang="en-US" altLang="en-US" sz="1000" smtClean="0"/>
              <a:pPr/>
              <a:t>11.0</a:t>
            </a:fld>
            <a:endParaRPr lang="ja-JP" altLang="en-US" sz="1000" dirty="0">
              <a:sym typeface="+mn-lt"/>
            </a:endParaRPr>
          </a:p>
        </p:txBody>
      </p:sp>
      <p:sp>
        <p:nvSpPr>
          <p:cNvPr id="173" name="テキスト プレースホルダ 9">
            <a:extLst>
              <a:ext uri="{FF2B5EF4-FFF2-40B4-BE49-F238E27FC236}">
                <a16:creationId xmlns:a16="http://schemas.microsoft.com/office/drawing/2014/main" id="{63C23EA5-FA80-4B67-9709-BBBD954171F2}"/>
              </a:ext>
            </a:extLst>
          </p:cNvPr>
          <p:cNvSpPr>
            <a:spLocks noGrp="1"/>
          </p:cNvSpPr>
          <p:nvPr>
            <p:custDataLst>
              <p:tags r:id="rId32"/>
            </p:custDataLst>
          </p:nvPr>
        </p:nvSpPr>
        <p:spPr bwMode="gray">
          <a:xfrm>
            <a:off x="5553075" y="25622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CC8E06-D22F-4C86-B63C-C06FFBA8595C}" type="datetime'''''''''1''''''1''''''''''3''''''''''''''''''.''''''''8'''''">
              <a:rPr lang="en-US" altLang="en-US" sz="1000" smtClean="0"/>
              <a:pPr/>
              <a:t>113.8</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ブラジル／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262842"/>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16832"/>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33"/>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34"/>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35"/>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36"/>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030882"/>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は、医薬品の市場規模が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にランクイン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売上高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市場については、輸入が大きく輸出を上回っており、輸入依存度が高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2" name="Chart 61">
            <a:extLst>
              <a:ext uri="{FF2B5EF4-FFF2-40B4-BE49-F238E27FC236}">
                <a16:creationId xmlns:a16="http://schemas.microsoft.com/office/drawing/2014/main" id="{5BDE2666-96E2-495D-B015-EA9BC6FF7460}"/>
              </a:ext>
            </a:extLst>
          </p:cNvPr>
          <p:cNvGraphicFramePr/>
          <p:nvPr>
            <p:custDataLst>
              <p:tags r:id="rId37"/>
            </p:custData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48"/>
          </a:graphicData>
        </a:graphic>
      </p:graphicFrame>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38"/>
            </p:custDataLst>
          </p:nvPr>
        </p:nvSpPr>
        <p:spPr bwMode="auto">
          <a:xfrm>
            <a:off x="7377113" y="5707063"/>
            <a:ext cx="4921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55DE3CD-D76B-419B-BF57-C509E2479739}" type="datetime'ベ''ル''''''''''''''ギ''''''''''''''ー'''''''''''''''''''''''''''">
              <a:rPr lang="ja-JP" altLang="en-US" sz="1000" smtClean="0"/>
              <a:pPr/>
              <a:t>ベルギー</a:t>
            </a:fld>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39"/>
            </p:custDataLst>
          </p:nvPr>
        </p:nvSpPr>
        <p:spPr bwMode="auto">
          <a:xfrm>
            <a:off x="8037513" y="5784850"/>
            <a:ext cx="411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3349D41-A231-40EE-9491-FB2A25D84FC2}" type="datetime'''''''''イ''''''''''''''''''タ''''''''''''リ''''''ア'''''''''''">
              <a:rPr lang="ja-JP" altLang="en-US" sz="1000" smtClean="0"/>
              <a:pPr marL="0" indent="0">
                <a:spcBef>
                  <a:spcPct val="0"/>
                </a:spcBef>
                <a:buNone/>
              </a:pPr>
              <a:t>イタリア</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40"/>
            </p:custDataLst>
          </p:nvPr>
        </p:nvSpPr>
        <p:spPr bwMode="auto">
          <a:xfrm>
            <a:off x="8942388" y="3440113"/>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C10D383-0EC5-4185-A625-97DF50500473}" type="datetime'''''''''ア''''''''''''''''''''''メ''リ''''''''カ'''''''''">
              <a:rPr lang="ja-JP" altLang="en-US" sz="1000" smtClean="0"/>
              <a:pPr/>
              <a:t>アメリカ</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41"/>
            </p:custDataLst>
          </p:nvPr>
        </p:nvSpPr>
        <p:spPr bwMode="auto">
          <a:xfrm>
            <a:off x="8796338" y="5632450"/>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025BE47-C588-41A8-B432-C2B8539A9648}" type="datetime'''''''''''''''''''''''ス''''''''''''イス'''''''">
              <a:rPr lang="ja-JP" altLang="en-US" sz="1000" smtClean="0"/>
              <a:pPr marL="0" indent="0">
                <a:spcBef>
                  <a:spcPct val="0"/>
                </a:spcBef>
                <a:buNone/>
              </a:pPr>
              <a:t>スイス</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42"/>
            </p:custDataLst>
          </p:nvPr>
        </p:nvSpPr>
        <p:spPr bwMode="auto">
          <a:xfrm>
            <a:off x="9453563" y="4779963"/>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CDCD42C-F3E7-496D-B4C7-3E5117CFB3D2}" type="datetime'''''''''''''''''''''''''ド''''''''イ''ツ'">
              <a:rPr lang="ja-JP" altLang="en-US" sz="1000" smtClean="0"/>
              <a:pPr/>
              <a:t>ドイツ</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43"/>
            </p:custDataLst>
          </p:nvPr>
        </p:nvSpPr>
        <p:spPr bwMode="auto">
          <a:xfrm>
            <a:off x="6702425" y="416242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9862649-7278-4352-A30D-BA2BD9FC72E6}" type="datetime'''''''''''''''''''''''''''''''そ''''''''''''''''''''の''他'''''">
              <a:rPr lang="ja-JP" altLang="en-US" sz="1000" smtClean="0"/>
              <a:pPr/>
              <a:t>その他</a:t>
            </a:fld>
            <a:endParaRPr kumimoji="0" lang="ja-JP" altLang="en-US" sz="1000" dirty="0">
              <a:sym typeface="+mn-lt"/>
            </a:endParaRPr>
          </a:p>
        </p:txBody>
      </p:sp>
      <p:sp>
        <p:nvSpPr>
          <p:cNvPr id="53" name="テキスト ボックス 21">
            <a:extLst>
              <a:ext uri="{FF2B5EF4-FFF2-40B4-BE49-F238E27FC236}">
                <a16:creationId xmlns:a16="http://schemas.microsoft.com/office/drawing/2014/main" id="{467F0418-542C-495E-A0EE-29842EE0A02A}"/>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endParaRPr lang="ja-JP" altLang="en-US" dirty="0"/>
          </a:p>
        </p:txBody>
      </p:sp>
    </p:spTree>
    <p:extLst>
      <p:ext uri="{BB962C8B-B14F-4D97-AF65-F5344CB8AC3E}">
        <p14:creationId xmlns:p14="http://schemas.microsoft.com/office/powerpoint/2010/main" val="24463423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医療関連／医薬品</a:t>
            </a:r>
          </a:p>
        </p:txBody>
      </p:sp>
      <p:sp>
        <p:nvSpPr>
          <p:cNvPr id="2" name="テキスト プレースホルダー 1"/>
          <p:cNvSpPr>
            <a:spLocks noGrp="1"/>
          </p:cNvSpPr>
          <p:nvPr>
            <p:ph type="body" sz="quarter" idx="15"/>
          </p:nvPr>
        </p:nvSpPr>
        <p:spPr/>
        <p:txBody>
          <a:bodyPr/>
          <a:lstStyle/>
          <a:p>
            <a:r>
              <a:rPr lang="ja-JP" altLang="en-US" dirty="0"/>
              <a:t>業界構造 </a:t>
            </a:r>
            <a:r>
              <a:rPr lang="en-US" altLang="ja-JP" dirty="0"/>
              <a:t>- </a:t>
            </a:r>
            <a:r>
              <a:rPr lang="ja-JP" altLang="en-US" dirty="0"/>
              <a:t>主要メーカー</a:t>
            </a:r>
          </a:p>
        </p:txBody>
      </p:sp>
      <p:graphicFrame>
        <p:nvGraphicFramePr>
          <p:cNvPr id="6" name="表 5"/>
          <p:cNvGraphicFramePr>
            <a:graphicFrameLocks noGrp="1"/>
          </p:cNvGraphicFramePr>
          <p:nvPr>
            <p:extLst>
              <p:ext uri="{D42A27DB-BD31-4B8C-83A1-F6EECF244321}">
                <p14:modId xmlns:p14="http://schemas.microsoft.com/office/powerpoint/2010/main" val="2195355630"/>
              </p:ext>
            </p:extLst>
          </p:nvPr>
        </p:nvGraphicFramePr>
        <p:xfrm>
          <a:off x="1352600" y="2060848"/>
          <a:ext cx="7632848" cy="4104452"/>
        </p:xfrm>
        <a:graphic>
          <a:graphicData uri="http://schemas.openxmlformats.org/drawingml/2006/table">
            <a:tbl>
              <a:tblPr firstRow="1" bandRow="1">
                <a:tableStyleId>{5C22544A-7EE6-4342-B048-85BDC9FD1C3A}</a:tableStyleId>
              </a:tblPr>
              <a:tblGrid>
                <a:gridCol w="1080120">
                  <a:extLst>
                    <a:ext uri="{9D8B030D-6E8A-4147-A177-3AD203B41FA5}">
                      <a16:colId xmlns:a16="http://schemas.microsoft.com/office/drawing/2014/main" val="20000"/>
                    </a:ext>
                  </a:extLst>
                </a:gridCol>
                <a:gridCol w="2592288">
                  <a:extLst>
                    <a:ext uri="{9D8B030D-6E8A-4147-A177-3AD203B41FA5}">
                      <a16:colId xmlns:a16="http://schemas.microsoft.com/office/drawing/2014/main" val="20001"/>
                    </a:ext>
                  </a:extLst>
                </a:gridCol>
                <a:gridCol w="1944216">
                  <a:extLst>
                    <a:ext uri="{9D8B030D-6E8A-4147-A177-3AD203B41FA5}">
                      <a16:colId xmlns:a16="http://schemas.microsoft.com/office/drawing/2014/main" val="20002"/>
                    </a:ext>
                  </a:extLst>
                </a:gridCol>
                <a:gridCol w="2016224">
                  <a:extLst>
                    <a:ext uri="{9D8B030D-6E8A-4147-A177-3AD203B41FA5}">
                      <a16:colId xmlns:a16="http://schemas.microsoft.com/office/drawing/2014/main" val="20003"/>
                    </a:ext>
                  </a:extLst>
                </a:gridCol>
              </a:tblGrid>
              <a:tr h="37313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mn-cs"/>
                        </a:rPr>
                        <a:t>シェア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mn-cs"/>
                        </a:rPr>
                        <a:t>企業名</a:t>
                      </a: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 籍</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mn-cs"/>
                        </a:rPr>
                        <a:t>主な取扱製品</a:t>
                      </a: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73132">
                <a:tc>
                  <a:txBody>
                    <a:bodyPr/>
                    <a:lstStyle/>
                    <a:p>
                      <a:pPr algn="ctr" fontAlgn="ct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1</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400" b="0" i="0" u="none" strike="noStrike" dirty="0">
                          <a:solidFill>
                            <a:srgbClr val="000000"/>
                          </a:solidFill>
                          <a:effectLst/>
                          <a:latin typeface="Arial" panose="020B0604020202020204" pitchFamily="34" charset="0"/>
                          <a:ea typeface="ＭＳ Ｐゴシック" panose="020B0600070205080204" pitchFamily="50" charset="-128"/>
                        </a:rPr>
                        <a:t>EMS Pharma</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ブラジル</a:t>
                      </a:r>
                      <a:endParaRPr lang="en-US" altLang="ja-JP"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ジェネリック</a:t>
                      </a: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3132">
                <a:tc>
                  <a:txBody>
                    <a:bodyPr/>
                    <a:lstStyle/>
                    <a:p>
                      <a:pPr algn="ctr" fontAlgn="ct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2</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400" b="0" i="0" u="none" strike="noStrike" dirty="0">
                          <a:solidFill>
                            <a:srgbClr val="000000"/>
                          </a:solidFill>
                          <a:effectLst/>
                          <a:latin typeface="Arial" panose="020B0604020202020204" pitchFamily="34" charset="0"/>
                          <a:ea typeface="ＭＳ Ｐゴシック" panose="020B0600070205080204" pitchFamily="50" charset="-128"/>
                        </a:rPr>
                        <a:t>Sanofi-Aventis</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仏</a:t>
                      </a: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先発薬、</a:t>
                      </a: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OTC</a:t>
                      </a:r>
                      <a:endParaRPr lang="ja-JP" altLang="en-US"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3132">
                <a:tc>
                  <a:txBody>
                    <a:bodyPr/>
                    <a:lstStyle/>
                    <a:p>
                      <a:pPr algn="ctr" fontAlgn="ct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3</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400" b="0" i="0" u="none" strike="noStrike" dirty="0">
                          <a:solidFill>
                            <a:srgbClr val="000000"/>
                          </a:solidFill>
                          <a:effectLst/>
                          <a:latin typeface="Arial" panose="020B0604020202020204" pitchFamily="34" charset="0"/>
                          <a:ea typeface="ＭＳ Ｐゴシック" panose="020B0600070205080204" pitchFamily="50" charset="-128"/>
                        </a:rPr>
                        <a:t>Medley</a:t>
                      </a:r>
                      <a:r>
                        <a:rPr lang="en-US" altLang="ja-JP" sz="1400" b="0" i="0" u="none" strike="noStrike" baseline="30000" dirty="0">
                          <a:solidFill>
                            <a:srgbClr val="000000"/>
                          </a:solidFill>
                          <a:effectLst/>
                          <a:latin typeface="Arial" panose="020B0604020202020204" pitchFamily="34" charset="0"/>
                          <a:ea typeface="ＭＳ Ｐゴシック" panose="020B0600070205080204" pitchFamily="50" charset="-128"/>
                        </a:rPr>
                        <a:t>※</a:t>
                      </a:r>
                      <a:endParaRPr lang="pt-BR" sz="1400" b="0" i="0" u="none" strike="noStrike" baseline="30000" dirty="0">
                        <a:solidFill>
                          <a:srgbClr val="000000"/>
                        </a:solidFill>
                        <a:effectLst/>
                        <a:latin typeface="Arial" panose="020B0604020202020204" pitchFamily="34" charset="0"/>
                        <a:ea typeface="ＭＳ Ｐゴシック" panose="020B0600070205080204" pitchFamily="50" charset="-128"/>
                      </a:endParaRP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ブラジル</a:t>
                      </a:r>
                      <a:endParaRPr lang="en-US" altLang="ja-JP"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ジェネリック</a:t>
                      </a: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73132">
                <a:tc>
                  <a:txBody>
                    <a:bodyPr/>
                    <a:lstStyle/>
                    <a:p>
                      <a:pPr algn="ctr" fontAlgn="ct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4</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sz="1400" b="0" i="0" u="none" strike="noStrike" dirty="0">
                          <a:solidFill>
                            <a:srgbClr val="000000"/>
                          </a:solidFill>
                          <a:effectLst/>
                          <a:latin typeface="Arial" panose="020B0604020202020204" pitchFamily="34" charset="0"/>
                          <a:ea typeface="ＭＳ Ｐゴシック" panose="020B0600070205080204" pitchFamily="50" charset="-128"/>
                        </a:rPr>
                        <a:t>Ache</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ブラジル</a:t>
                      </a:r>
                      <a:endParaRPr lang="en-US" altLang="ja-JP"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先発薬、ジェネリック</a:t>
                      </a:r>
                      <a:endParaRPr lang="en-US"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3132">
                <a:tc>
                  <a:txBody>
                    <a:bodyPr/>
                    <a:lstStyle/>
                    <a:p>
                      <a:pPr algn="ctr" fontAlgn="ct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5</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400" b="0" i="0" u="none" strike="noStrike" dirty="0">
                          <a:solidFill>
                            <a:srgbClr val="000000"/>
                          </a:solidFill>
                          <a:effectLst/>
                          <a:latin typeface="Arial" panose="020B0604020202020204" pitchFamily="34" charset="0"/>
                          <a:ea typeface="ＭＳ Ｐゴシック" panose="020B0600070205080204" pitchFamily="50" charset="-128"/>
                        </a:rPr>
                        <a:t>Novartis</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スイス</a:t>
                      </a:r>
                      <a:endParaRPr lang="en-US" altLang="ja-JP"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先発薬</a:t>
                      </a: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73132">
                <a:tc>
                  <a:txBody>
                    <a:bodyPr/>
                    <a:lstStyle/>
                    <a:p>
                      <a:pPr algn="ctr" fontAlgn="ct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6</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400" b="0" i="0" u="none" strike="noStrike" dirty="0">
                          <a:solidFill>
                            <a:srgbClr val="000000"/>
                          </a:solidFill>
                          <a:effectLst/>
                          <a:latin typeface="Arial" panose="020B0604020202020204" pitchFamily="34" charset="0"/>
                          <a:ea typeface="ＭＳ Ｐゴシック" panose="020B0600070205080204" pitchFamily="50" charset="-128"/>
                        </a:rPr>
                        <a:t>EuroFarma</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ブラジル</a:t>
                      </a:r>
                      <a:endParaRPr lang="en-US" altLang="ja-JP"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先発薬、ジェネリック</a:t>
                      </a: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73132">
                <a:tc>
                  <a:txBody>
                    <a:bodyPr/>
                    <a:lstStyle/>
                    <a:p>
                      <a:pPr algn="ctr" fontAlgn="ct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7</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400" b="0" i="0" u="none" strike="noStrike" dirty="0">
                          <a:solidFill>
                            <a:srgbClr val="000000"/>
                          </a:solidFill>
                          <a:effectLst/>
                          <a:latin typeface="Arial" panose="020B0604020202020204" pitchFamily="34" charset="0"/>
                          <a:ea typeface="ＭＳ Ｐゴシック" panose="020B0600070205080204" pitchFamily="50" charset="-128"/>
                        </a:rPr>
                        <a:t>Pfizer</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米</a:t>
                      </a:r>
                      <a:endParaRPr lang="en-US" altLang="ja-JP"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先発薬</a:t>
                      </a: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73132">
                <a:tc>
                  <a:txBody>
                    <a:bodyPr/>
                    <a:lstStyle/>
                    <a:p>
                      <a:pPr algn="ctr" fontAlgn="ct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8</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400" b="0" i="0" u="none" strike="noStrike" dirty="0">
                          <a:solidFill>
                            <a:srgbClr val="000000"/>
                          </a:solidFill>
                          <a:effectLst/>
                          <a:latin typeface="Arial" panose="020B0604020202020204" pitchFamily="34" charset="0"/>
                          <a:ea typeface="ＭＳ Ｐゴシック" panose="020B0600070205080204" pitchFamily="50" charset="-128"/>
                        </a:rPr>
                        <a:t>Bayer</a:t>
                      </a:r>
                      <a:r>
                        <a:rPr lang="pt-BR" sz="1400" b="0" i="0" u="none" strike="noStrike" baseline="0" dirty="0">
                          <a:solidFill>
                            <a:srgbClr val="000000"/>
                          </a:solidFill>
                          <a:effectLst/>
                          <a:latin typeface="Arial" panose="020B0604020202020204" pitchFamily="34" charset="0"/>
                          <a:ea typeface="ＭＳ Ｐゴシック" panose="020B0600070205080204" pitchFamily="50" charset="-128"/>
                        </a:rPr>
                        <a:t> Schering PH</a:t>
                      </a:r>
                      <a:endParaRPr lang="pt-BR"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独</a:t>
                      </a:r>
                      <a:endParaRPr lang="en-US" altLang="ja-JP"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先発薬、</a:t>
                      </a: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OTC</a:t>
                      </a:r>
                      <a:endParaRPr lang="ja-JP" altLang="en-US"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73132">
                <a:tc>
                  <a:txBody>
                    <a:bodyPr/>
                    <a:lstStyle/>
                    <a:p>
                      <a:pPr algn="ctr" fontAlgn="ct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9</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400" b="0" i="0" u="none" strike="noStrike" dirty="0">
                          <a:solidFill>
                            <a:srgbClr val="000000"/>
                          </a:solidFill>
                          <a:effectLst/>
                          <a:latin typeface="Arial" panose="020B0604020202020204" pitchFamily="34" charset="0"/>
                          <a:ea typeface="ＭＳ Ｐゴシック" panose="020B0600070205080204" pitchFamily="50" charset="-128"/>
                        </a:rPr>
                        <a:t>Astrazeneca</a:t>
                      </a:r>
                      <a:r>
                        <a:rPr lang="pt-BR" sz="1400" b="0" i="0" u="none" strike="noStrike" baseline="0" dirty="0">
                          <a:solidFill>
                            <a:srgbClr val="000000"/>
                          </a:solidFill>
                          <a:effectLst/>
                          <a:latin typeface="Arial" panose="020B0604020202020204" pitchFamily="34" charset="0"/>
                          <a:ea typeface="ＭＳ Ｐゴシック" panose="020B0600070205080204" pitchFamily="50" charset="-128"/>
                        </a:rPr>
                        <a:t> Brazil</a:t>
                      </a:r>
                      <a:endParaRPr lang="pt-BR"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米</a:t>
                      </a:r>
                      <a:endParaRPr lang="en-US" altLang="ja-JP"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先発薬</a:t>
                      </a: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73132">
                <a:tc>
                  <a:txBody>
                    <a:bodyPr/>
                    <a:lstStyle/>
                    <a:p>
                      <a:pPr algn="ctr" fontAlgn="ct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10</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pt-BR" sz="1400" b="0" i="0" u="none" strike="noStrike" dirty="0">
                          <a:solidFill>
                            <a:srgbClr val="000000"/>
                          </a:solidFill>
                          <a:effectLst/>
                          <a:latin typeface="Arial" panose="020B0604020202020204" pitchFamily="34" charset="0"/>
                          <a:ea typeface="ＭＳ Ｐゴシック" panose="020B0600070205080204" pitchFamily="50" charset="-128"/>
                        </a:rPr>
                        <a:t>Nycomed Pharma Ltd</a:t>
                      </a:r>
                    </a:p>
                  </a:txBody>
                  <a:tcPr marL="144000" marR="108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400" b="0" i="0" u="none" strike="noStrike" dirty="0">
                          <a:solidFill>
                            <a:srgbClr val="000000"/>
                          </a:solidFill>
                          <a:effectLst/>
                          <a:latin typeface="Arial" panose="020B0604020202020204" pitchFamily="34" charset="0"/>
                          <a:ea typeface="ＭＳ Ｐゴシック" panose="020B0600070205080204" pitchFamily="50" charset="-128"/>
                        </a:rPr>
                        <a:t>スイス</a:t>
                      </a:r>
                      <a:endParaRPr lang="en-US" altLang="ja-JP"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400" b="0" i="0" u="none" strike="noStrike" dirty="0">
                          <a:solidFill>
                            <a:srgbClr val="000000"/>
                          </a:solidFill>
                          <a:effectLst/>
                          <a:latin typeface="Arial" panose="020B0604020202020204" pitchFamily="34" charset="0"/>
                          <a:ea typeface="ＭＳ Ｐゴシック" panose="020B0600070205080204" pitchFamily="50" charset="-128"/>
                        </a:rPr>
                        <a:t>OTC</a:t>
                      </a:r>
                      <a:endParaRPr lang="ja-JP" altLang="en-US" sz="14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44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bl>
          </a:graphicData>
        </a:graphic>
      </p:graphicFrame>
      <p:sp>
        <p:nvSpPr>
          <p:cNvPr id="15" name="Rectangle 6"/>
          <p:cNvSpPr>
            <a:spLocks noChangeArrowheads="1"/>
          </p:cNvSpPr>
          <p:nvPr/>
        </p:nvSpPr>
        <p:spPr bwMode="auto">
          <a:xfrm>
            <a:off x="1352600" y="170080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市場のシェア上位</a:t>
            </a:r>
            <a:r>
              <a:rPr lang="en-US" altLang="ja-JP" sz="1400" dirty="0">
                <a:solidFill>
                  <a:srgbClr val="000000"/>
                </a:solidFill>
                <a:latin typeface="Arial Black" pitchFamily="34" charset="0"/>
                <a:ea typeface="HGP創英角ｺﾞｼｯｸUB" pitchFamily="50" charset="-128"/>
              </a:rPr>
              <a:t>10</a:t>
            </a:r>
            <a:r>
              <a:rPr lang="ja-JP" altLang="en-US" sz="1400" dirty="0">
                <a:solidFill>
                  <a:srgbClr val="000000"/>
                </a:solidFill>
                <a:latin typeface="Arial Black" pitchFamily="34" charset="0"/>
                <a:ea typeface="HGP創英角ｺﾞｼｯｸUB" pitchFamily="50" charset="-128"/>
              </a:rPr>
              <a:t>社（</a:t>
            </a:r>
            <a:r>
              <a:rPr lang="en-US" altLang="ja-JP" sz="1400" dirty="0">
                <a:solidFill>
                  <a:srgbClr val="000000"/>
                </a:solidFill>
                <a:latin typeface="Arial Black" pitchFamily="34" charset="0"/>
                <a:ea typeface="HGP創英角ｺﾞｼｯｸUB" pitchFamily="50" charset="-128"/>
              </a:rPr>
              <a:t>2009</a:t>
            </a:r>
            <a:r>
              <a:rPr lang="ja-JP" altLang="en-US" sz="1400" dirty="0">
                <a:solidFill>
                  <a:srgbClr val="000000"/>
                </a:solidFill>
                <a:latin typeface="Arial Black" pitchFamily="34" charset="0"/>
                <a:ea typeface="HGP創英角ｺﾞｼｯｸUB" pitchFamily="50" charset="-128"/>
              </a:rPr>
              <a:t>年時点）</a:t>
            </a:r>
          </a:p>
        </p:txBody>
      </p:sp>
      <p:sp>
        <p:nvSpPr>
          <p:cNvPr id="11" name="テキスト ボックス 1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野村総合研究所「新興国の医薬品市場への日本企業の参入シナリオ」知的資産創造（</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2" name="テキスト ボックス 11"/>
          <p:cNvSpPr txBox="1"/>
          <p:nvPr/>
        </p:nvSpPr>
        <p:spPr>
          <a:xfrm>
            <a:off x="200472" y="1124744"/>
            <a:ext cx="9505056" cy="499624"/>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により市場シェア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占められている。</a:t>
            </a: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内資系のシェア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3%</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資系のシェア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いずれも売上金額ベース）。</a:t>
            </a:r>
          </a:p>
        </p:txBody>
      </p:sp>
      <p:sp>
        <p:nvSpPr>
          <p:cNvPr id="8" name="テキスト ボックス 7"/>
          <p:cNvSpPr txBox="1"/>
          <p:nvPr/>
        </p:nvSpPr>
        <p:spPr>
          <a:xfrm>
            <a:off x="1352600" y="6185857"/>
            <a:ext cx="2674130" cy="218971"/>
          </a:xfrm>
          <a:prstGeom prst="rect">
            <a:avLst/>
          </a:prstGeom>
          <a:noFill/>
        </p:spPr>
        <p:txBody>
          <a:bodyPr wrap="square" lIns="0" tIns="0" rIns="0" bIns="0" rtlCol="0">
            <a:noAutofit/>
          </a:bodyPr>
          <a:lstStyle>
            <a:defPPr>
              <a:defRPr lang="ja-JP"/>
            </a:defPPr>
            <a:lvl1pPr marL="131763" indent="-131763">
              <a:lnSpc>
                <a:spcPct val="113000"/>
              </a:lnSpc>
              <a:defRPr kumimoji="0" sz="800" bmk="">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 Medley</a:t>
            </a:r>
            <a:r>
              <a:rPr lang="ja-JP" altLang="en-US" dirty="0"/>
              <a:t>は</a:t>
            </a:r>
            <a:r>
              <a:rPr lang="en-US" altLang="ja-JP" dirty="0"/>
              <a:t>2009</a:t>
            </a:r>
            <a:r>
              <a:rPr lang="ja-JP" altLang="en-US" dirty="0"/>
              <a:t>年</a:t>
            </a:r>
            <a:r>
              <a:rPr lang="en-US" altLang="ja-JP" dirty="0"/>
              <a:t>4</a:t>
            </a:r>
            <a:r>
              <a:rPr lang="ja-JP" altLang="en-US" dirty="0"/>
              <a:t>月に</a:t>
            </a:r>
            <a:r>
              <a:rPr lang="en-US" altLang="ja-JP" dirty="0"/>
              <a:t>Sanofi-Aventis</a:t>
            </a:r>
            <a:r>
              <a:rPr lang="ja-JP" altLang="en-US" dirty="0"/>
              <a:t>に買収された</a:t>
            </a:r>
          </a:p>
        </p:txBody>
      </p:sp>
    </p:spTree>
    <p:extLst>
      <p:ext uri="{BB962C8B-B14F-4D97-AF65-F5344CB8AC3E}">
        <p14:creationId xmlns:p14="http://schemas.microsoft.com/office/powerpoint/2010/main" val="8999452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ブラジル／一般概況</a:t>
            </a:r>
          </a:p>
        </p:txBody>
      </p:sp>
      <p:sp>
        <p:nvSpPr>
          <p:cNvPr id="6" name="テキスト プレースホルダー 5"/>
          <p:cNvSpPr>
            <a:spLocks noGrp="1"/>
          </p:cNvSpPr>
          <p:nvPr>
            <p:ph type="body" sz="quarter" idx="15"/>
          </p:nvPr>
        </p:nvSpPr>
        <p:spPr/>
        <p:txBody>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154273921"/>
              </p:ext>
            </p:extLst>
          </p:nvPr>
        </p:nvGraphicFramePr>
        <p:xfrm>
          <a:off x="209098" y="1124745"/>
          <a:ext cx="9496875" cy="5177609"/>
        </p:xfrm>
        <a:graphic>
          <a:graphicData uri="http://schemas.openxmlformats.org/drawingml/2006/table">
            <a:tbl>
              <a:tblPr firstRow="1" bandRow="1">
                <a:tableStyleId>{5C22544A-7EE6-4342-B048-85BDC9FD1C3A}</a:tableStyleId>
              </a:tblPr>
              <a:tblGrid>
                <a:gridCol w="1791574">
                  <a:extLst>
                    <a:ext uri="{9D8B030D-6E8A-4147-A177-3AD203B41FA5}">
                      <a16:colId xmlns:a16="http://schemas.microsoft.com/office/drawing/2014/main" val="20000"/>
                    </a:ext>
                  </a:extLst>
                </a:gridCol>
                <a:gridCol w="7705301">
                  <a:extLst>
                    <a:ext uri="{9D8B030D-6E8A-4147-A177-3AD203B41FA5}">
                      <a16:colId xmlns:a16="http://schemas.microsoft.com/office/drawing/2014/main" val="20001"/>
                    </a:ext>
                  </a:extLst>
                </a:gridCol>
              </a:tblGrid>
              <a:tr h="269677">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都</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ブラジリア</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9677">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言語</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ポルトガル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69677">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通貨・レート</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ブラジルレアル（</a:t>
                      </a: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RL</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　</a:t>
                      </a: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98</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円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6</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時点）</a:t>
                      </a:r>
                      <a:endPar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9677">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会計年度</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一般的には</a:t>
                      </a: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1</a:t>
                      </a:r>
                      <a:r>
                        <a:rPr kumimoji="1" lang="ja-JP" altLang="en-US" sz="11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しかし、定款にて会計年度の設定も可能。</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69677">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主な宗教</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カトリック 約</a:t>
                      </a:r>
                      <a:r>
                        <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a:t>
                      </a:r>
                      <a:r>
                        <a:rPr kumimoji="1" lang="ja-JP"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プロテスタント 約</a:t>
                      </a:r>
                      <a:r>
                        <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2</a:t>
                      </a:r>
                      <a:r>
                        <a:rPr kumimoji="1" lang="ja-JP"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無宗教 </a:t>
                      </a:r>
                      <a:r>
                        <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ブラジル地理統計院、</a:t>
                      </a:r>
                      <a:r>
                        <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69677">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体制</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zh-TW" altLang="en-US"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連邦共和制（大統領制）</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083319">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的安定性</a:t>
                      </a:r>
                      <a:endPar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lang="en-US" altLang="ja-JP" sz="1150" dirty="0">
                          <a:effectLst/>
                          <a:latin typeface="+mn-ea"/>
                          <a:ea typeface="+mn-ea"/>
                        </a:rPr>
                        <a:t>2019</a:t>
                      </a:r>
                      <a:r>
                        <a:rPr lang="ja-JP" altLang="en-US" sz="1150" dirty="0">
                          <a:effectLst/>
                          <a:latin typeface="+mn-ea"/>
                          <a:ea typeface="+mn-ea"/>
                        </a:rPr>
                        <a:t>年</a:t>
                      </a:r>
                      <a:r>
                        <a:rPr lang="en-US" altLang="ja-JP" sz="1150" dirty="0">
                          <a:effectLst/>
                          <a:latin typeface="+mn-ea"/>
                          <a:ea typeface="+mn-ea"/>
                        </a:rPr>
                        <a:t>1</a:t>
                      </a:r>
                      <a:r>
                        <a:rPr lang="ja-JP" altLang="en-US" sz="1150" dirty="0">
                          <a:effectLst/>
                          <a:latin typeface="+mn-ea"/>
                          <a:ea typeface="+mn-ea"/>
                        </a:rPr>
                        <a:t>月、ボルソナーロ政権（社会自由党（</a:t>
                      </a:r>
                      <a:r>
                        <a:rPr lang="en-US" altLang="ja-JP" sz="1150" dirty="0">
                          <a:effectLst/>
                          <a:latin typeface="+mn-ea"/>
                          <a:ea typeface="+mn-ea"/>
                        </a:rPr>
                        <a:t>PSL</a:t>
                      </a:r>
                      <a:r>
                        <a:rPr lang="ja-JP" altLang="en-US" sz="1150" dirty="0">
                          <a:effectLst/>
                          <a:latin typeface="+mn-ea"/>
                          <a:ea typeface="+mn-ea"/>
                        </a:rPr>
                        <a:t>））が発足した。</a:t>
                      </a:r>
                      <a:endParaRPr lang="en-US" altLang="ja-JP" sz="1150" dirty="0">
                        <a:effectLst/>
                        <a:latin typeface="+mn-ea"/>
                        <a:ea typeface="+mn-ea"/>
                      </a:endParaRPr>
                    </a:p>
                    <a:p>
                      <a:pPr marL="171450" indent="-171450" fontAlgn="ctr">
                        <a:lnSpc>
                          <a:spcPct val="114000"/>
                        </a:lnSpc>
                        <a:spcAft>
                          <a:spcPts val="300"/>
                        </a:spcAft>
                        <a:buClr>
                          <a:srgbClr val="5F8AC3"/>
                        </a:buClr>
                        <a:buFont typeface="Wingdings" panose="05000000000000000000" pitchFamily="2" charset="2"/>
                        <a:buChar char="l"/>
                      </a:pPr>
                      <a:r>
                        <a:rPr lang="en-US" altLang="ja-JP" sz="1150" dirty="0">
                          <a:solidFill>
                            <a:schemeClr val="tx1"/>
                          </a:solidFill>
                          <a:effectLst/>
                          <a:latin typeface="+mn-ea"/>
                          <a:ea typeface="+mn-ea"/>
                        </a:rPr>
                        <a:t>2022</a:t>
                      </a:r>
                      <a:r>
                        <a:rPr lang="ja-JP" altLang="en-US" sz="1150" dirty="0">
                          <a:solidFill>
                            <a:schemeClr val="tx1"/>
                          </a:solidFill>
                          <a:effectLst/>
                          <a:latin typeface="+mn-ea"/>
                          <a:ea typeface="+mn-ea"/>
                        </a:rPr>
                        <a:t>年</a:t>
                      </a:r>
                      <a:r>
                        <a:rPr lang="en-US" altLang="ja-JP" sz="1150" dirty="0">
                          <a:solidFill>
                            <a:schemeClr val="tx1"/>
                          </a:solidFill>
                          <a:effectLst/>
                          <a:latin typeface="+mn-ea"/>
                          <a:ea typeface="+mn-ea"/>
                        </a:rPr>
                        <a:t>10</a:t>
                      </a:r>
                      <a:r>
                        <a:rPr lang="ja-JP" altLang="en-US" sz="1150" dirty="0">
                          <a:solidFill>
                            <a:schemeClr val="tx1"/>
                          </a:solidFill>
                          <a:effectLst/>
                          <a:latin typeface="+mn-ea"/>
                          <a:ea typeface="+mn-ea"/>
                        </a:rPr>
                        <a:t>月には、</a:t>
                      </a:r>
                      <a:r>
                        <a:rPr lang="en-US" altLang="ja-JP" sz="1150" dirty="0">
                          <a:solidFill>
                            <a:schemeClr val="tx1"/>
                          </a:solidFill>
                          <a:effectLst/>
                          <a:latin typeface="+mn-ea"/>
                          <a:ea typeface="+mn-ea"/>
                        </a:rPr>
                        <a:t>2003</a:t>
                      </a:r>
                      <a:r>
                        <a:rPr lang="ja-JP" altLang="en-US" sz="1150" dirty="0">
                          <a:solidFill>
                            <a:schemeClr val="tx1"/>
                          </a:solidFill>
                          <a:effectLst/>
                          <a:latin typeface="+mn-ea"/>
                          <a:ea typeface="+mn-ea"/>
                        </a:rPr>
                        <a:t>年</a:t>
                      </a:r>
                      <a:r>
                        <a:rPr lang="en-US" altLang="ja-JP" sz="1150" dirty="0">
                          <a:solidFill>
                            <a:schemeClr val="tx1"/>
                          </a:solidFill>
                          <a:effectLst/>
                          <a:latin typeface="+mn-ea"/>
                          <a:ea typeface="+mn-ea"/>
                        </a:rPr>
                        <a:t>1</a:t>
                      </a:r>
                      <a:r>
                        <a:rPr lang="ja-JP" altLang="en-US" sz="1150" dirty="0">
                          <a:solidFill>
                            <a:schemeClr val="tx1"/>
                          </a:solidFill>
                          <a:effectLst/>
                          <a:latin typeface="+mn-ea"/>
                          <a:ea typeface="+mn-ea"/>
                        </a:rPr>
                        <a:t>月～</a:t>
                      </a:r>
                      <a:r>
                        <a:rPr lang="en-US" altLang="ja-JP" sz="1150" dirty="0">
                          <a:solidFill>
                            <a:schemeClr val="tx1"/>
                          </a:solidFill>
                          <a:effectLst/>
                          <a:latin typeface="+mn-ea"/>
                          <a:ea typeface="+mn-ea"/>
                        </a:rPr>
                        <a:t>2006</a:t>
                      </a:r>
                      <a:r>
                        <a:rPr lang="ja-JP" altLang="en-US" sz="1150" dirty="0">
                          <a:solidFill>
                            <a:schemeClr val="tx1"/>
                          </a:solidFill>
                          <a:effectLst/>
                          <a:latin typeface="+mn-ea"/>
                          <a:ea typeface="+mn-ea"/>
                        </a:rPr>
                        <a:t>年</a:t>
                      </a:r>
                      <a:r>
                        <a:rPr lang="en-US" altLang="ja-JP" sz="1150" dirty="0">
                          <a:solidFill>
                            <a:schemeClr val="tx1"/>
                          </a:solidFill>
                          <a:effectLst/>
                          <a:latin typeface="+mn-ea"/>
                          <a:ea typeface="+mn-ea"/>
                        </a:rPr>
                        <a:t>12</a:t>
                      </a:r>
                      <a:r>
                        <a:rPr lang="ja-JP" altLang="en-US" sz="1150" dirty="0">
                          <a:solidFill>
                            <a:schemeClr val="tx1"/>
                          </a:solidFill>
                          <a:effectLst/>
                          <a:latin typeface="+mn-ea"/>
                          <a:ea typeface="+mn-ea"/>
                        </a:rPr>
                        <a:t>月、</a:t>
                      </a:r>
                      <a:r>
                        <a:rPr lang="en-US" altLang="ja-JP" sz="1150" dirty="0">
                          <a:solidFill>
                            <a:schemeClr val="tx1"/>
                          </a:solidFill>
                          <a:effectLst/>
                          <a:latin typeface="+mn-ea"/>
                          <a:ea typeface="+mn-ea"/>
                        </a:rPr>
                        <a:t>2007</a:t>
                      </a:r>
                      <a:r>
                        <a:rPr lang="ja-JP" altLang="en-US" sz="1150" dirty="0">
                          <a:solidFill>
                            <a:schemeClr val="tx1"/>
                          </a:solidFill>
                          <a:effectLst/>
                          <a:latin typeface="+mn-ea"/>
                          <a:ea typeface="+mn-ea"/>
                        </a:rPr>
                        <a:t>年</a:t>
                      </a:r>
                      <a:r>
                        <a:rPr lang="en-US" altLang="ja-JP" sz="1150" dirty="0">
                          <a:solidFill>
                            <a:schemeClr val="tx1"/>
                          </a:solidFill>
                          <a:effectLst/>
                          <a:latin typeface="+mn-ea"/>
                          <a:ea typeface="+mn-ea"/>
                        </a:rPr>
                        <a:t>1</a:t>
                      </a:r>
                      <a:r>
                        <a:rPr lang="ja-JP" altLang="en-US" sz="1150" dirty="0">
                          <a:solidFill>
                            <a:schemeClr val="tx1"/>
                          </a:solidFill>
                          <a:effectLst/>
                          <a:latin typeface="+mn-ea"/>
                          <a:ea typeface="+mn-ea"/>
                        </a:rPr>
                        <a:t>月～</a:t>
                      </a:r>
                      <a:r>
                        <a:rPr lang="en-US" altLang="ja-JP" sz="1150" dirty="0">
                          <a:solidFill>
                            <a:schemeClr val="tx1"/>
                          </a:solidFill>
                          <a:effectLst/>
                          <a:latin typeface="+mn-ea"/>
                          <a:ea typeface="+mn-ea"/>
                        </a:rPr>
                        <a:t>2010</a:t>
                      </a:r>
                      <a:r>
                        <a:rPr lang="ja-JP" altLang="en-US" sz="1150" dirty="0">
                          <a:solidFill>
                            <a:schemeClr val="tx1"/>
                          </a:solidFill>
                          <a:effectLst/>
                          <a:latin typeface="+mn-ea"/>
                          <a:ea typeface="+mn-ea"/>
                        </a:rPr>
                        <a:t>年</a:t>
                      </a:r>
                      <a:r>
                        <a:rPr lang="en-US" altLang="ja-JP" sz="1150" dirty="0">
                          <a:solidFill>
                            <a:schemeClr val="tx1"/>
                          </a:solidFill>
                          <a:effectLst/>
                          <a:latin typeface="+mn-ea"/>
                          <a:ea typeface="+mn-ea"/>
                        </a:rPr>
                        <a:t>12</a:t>
                      </a:r>
                      <a:r>
                        <a:rPr lang="ja-JP" altLang="en-US" sz="1150" dirty="0">
                          <a:solidFill>
                            <a:schemeClr val="tx1"/>
                          </a:solidFill>
                          <a:effectLst/>
                          <a:latin typeface="+mn-ea"/>
                          <a:ea typeface="+mn-ea"/>
                        </a:rPr>
                        <a:t>月の</a:t>
                      </a:r>
                      <a:r>
                        <a:rPr lang="en-US" altLang="ja-JP" sz="1150" dirty="0">
                          <a:solidFill>
                            <a:schemeClr val="tx1"/>
                          </a:solidFill>
                          <a:effectLst/>
                          <a:latin typeface="+mn-ea"/>
                          <a:ea typeface="+mn-ea"/>
                        </a:rPr>
                        <a:t>2</a:t>
                      </a:r>
                      <a:r>
                        <a:rPr lang="ja-JP" altLang="en-US" sz="1150" dirty="0">
                          <a:solidFill>
                            <a:schemeClr val="tx1"/>
                          </a:solidFill>
                          <a:effectLst/>
                          <a:latin typeface="+mn-ea"/>
                          <a:ea typeface="+mn-ea"/>
                        </a:rPr>
                        <a:t>期にわたり大統領を務めたルイス・イナシオ・ルーラ・ダ・シルバ元大統領</a:t>
                      </a:r>
                      <a:r>
                        <a:rPr lang="en-US" altLang="ja-JP" sz="1150" dirty="0">
                          <a:solidFill>
                            <a:schemeClr val="tx1"/>
                          </a:solidFill>
                          <a:effectLst/>
                          <a:latin typeface="+mn-ea"/>
                          <a:ea typeface="+mn-ea"/>
                        </a:rPr>
                        <a:t>(</a:t>
                      </a:r>
                      <a:r>
                        <a:rPr lang="ja-JP" altLang="en-US" sz="1150" dirty="0">
                          <a:solidFill>
                            <a:schemeClr val="tx1"/>
                          </a:solidFill>
                          <a:effectLst/>
                          <a:latin typeface="+mn-ea"/>
                          <a:ea typeface="+mn-ea"/>
                        </a:rPr>
                        <a:t>労働者党（</a:t>
                      </a:r>
                      <a:r>
                        <a:rPr lang="en-US" altLang="ja-JP" sz="1150" dirty="0">
                          <a:solidFill>
                            <a:schemeClr val="tx1"/>
                          </a:solidFill>
                          <a:effectLst/>
                          <a:latin typeface="+mn-ea"/>
                          <a:ea typeface="+mn-ea"/>
                        </a:rPr>
                        <a:t>PT</a:t>
                      </a:r>
                      <a:r>
                        <a:rPr lang="ja-JP" altLang="en-US" sz="1150" dirty="0">
                          <a:solidFill>
                            <a:schemeClr val="tx1"/>
                          </a:solidFill>
                          <a:effectLst/>
                          <a:latin typeface="+mn-ea"/>
                          <a:ea typeface="+mn-ea"/>
                        </a:rPr>
                        <a:t>）</a:t>
                      </a:r>
                      <a:r>
                        <a:rPr lang="en-US" altLang="ja-JP" sz="1150" dirty="0">
                          <a:solidFill>
                            <a:schemeClr val="tx1"/>
                          </a:solidFill>
                          <a:effectLst/>
                          <a:latin typeface="+mn-ea"/>
                          <a:ea typeface="+mn-ea"/>
                        </a:rPr>
                        <a:t>)</a:t>
                      </a:r>
                      <a:r>
                        <a:rPr lang="ja-JP" altLang="en-US" sz="1150" dirty="0">
                          <a:solidFill>
                            <a:schemeClr val="tx1"/>
                          </a:solidFill>
                          <a:effectLst/>
                          <a:latin typeface="+mn-ea"/>
                          <a:ea typeface="+mn-ea"/>
                        </a:rPr>
                        <a:t>が大統領に再選。各州政府との協力体制の構築に注力し、公共投資や民間投資、国内消費、商業・サービス・農業、工業の発展を目指すことを表明。</a:t>
                      </a:r>
                      <a:endParaRPr lang="en-US" altLang="ja-JP" sz="1150" dirty="0">
                        <a:solidFill>
                          <a:schemeClr val="tx1"/>
                        </a:solidFill>
                        <a:effectLst/>
                        <a:latin typeface="+mn-ea"/>
                        <a:ea typeface="+mn-ea"/>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195085">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治安情勢</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l" defTabSz="914400" rtl="0" eaLnBrk="1" latinLnBrk="0" hangingPunct="1">
                        <a:lnSpc>
                          <a:spcPct val="114000"/>
                        </a:lnSpc>
                        <a:spcAft>
                          <a:spcPts val="300"/>
                        </a:spcAft>
                        <a:buClr>
                          <a:srgbClr val="5F8AC3"/>
                        </a:buClr>
                        <a:buFont typeface="Wingdings" panose="05000000000000000000" pitchFamily="2" charset="2"/>
                        <a:buChar char="l"/>
                      </a:pPr>
                      <a:endPar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latinLnBrk="0" hangingPunct="1">
                        <a:lnSpc>
                          <a:spcPct val="114000"/>
                        </a:lnSpc>
                        <a:spcAft>
                          <a:spcPts val="300"/>
                        </a:spcAft>
                        <a:buClr>
                          <a:srgbClr val="5F8AC3"/>
                        </a:buClr>
                        <a:buFont typeface="Wingdings" panose="05000000000000000000" pitchFamily="2" charset="2"/>
                        <a:buChar char="l"/>
                      </a:pPr>
                      <a:endPar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latinLnBrk="0" hangingPunct="1">
                        <a:lnSpc>
                          <a:spcPct val="114000"/>
                        </a:lnSpc>
                        <a:spcAft>
                          <a:spcPts val="300"/>
                        </a:spcAft>
                        <a:buClr>
                          <a:srgbClr val="5F8AC3"/>
                        </a:buClr>
                        <a:buFont typeface="Wingdings" panose="05000000000000000000" pitchFamily="2" charset="2"/>
                        <a:buChar char="l"/>
                      </a:pPr>
                      <a:endPar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defTabSz="914400" rtl="0" eaLnBrk="1" latinLnBrk="0" hangingPunct="1">
                        <a:lnSpc>
                          <a:spcPct val="114000"/>
                        </a:lnSpc>
                        <a:spcAft>
                          <a:spcPts val="300"/>
                        </a:spcAft>
                        <a:buClr>
                          <a:srgbClr val="5F8AC3"/>
                        </a:buClr>
                        <a:buFont typeface="Wingdings" panose="05000000000000000000" pitchFamily="2" charset="2"/>
                        <a:buNone/>
                      </a:pPr>
                      <a:endParaRPr kumimoji="1" lang="en-US" altLang="ja-JP" sz="115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ja-JP" altLang="en-US"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世界的に見てもブラジルの犯罪発生率は非常に高く、日本人の被害も多発している。多くの犯罪にはけん銃等の</a:t>
                      </a:r>
                      <a:br>
                        <a:rPr kumimoji="1" lang="en-US" altLang="ja-JP"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銃器が使用され、抵抗すれば銃器で危害を加えられ、殺害される可能性が非常に高くなるので、注意が必要。凶悪犯罪は、大都市で発生した</a:t>
                      </a:r>
                      <a:r>
                        <a:rPr kumimoji="1" lang="en-US" altLang="ja-JP"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a:t>
                      </a:r>
                      <a:r>
                        <a:rPr kumimoji="1" lang="ja-JP" altLang="en-US"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立つが、地方都市や観光地等でも発生している。</a:t>
                      </a:r>
                      <a:endParaRPr kumimoji="1" lang="en-US" altLang="ja-JP"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fontAlgn="ctr" latinLnBrk="0" hangingPunct="1">
                        <a:lnSpc>
                          <a:spcPct val="114000"/>
                        </a:lnSpc>
                        <a:spcBef>
                          <a:spcPts val="600"/>
                        </a:spcBef>
                        <a:spcAft>
                          <a:spcPts val="300"/>
                        </a:spcAft>
                        <a:buClr>
                          <a:srgbClr val="5F8AC3"/>
                        </a:buClr>
                        <a:buFont typeface="Wingdings" panose="05000000000000000000" pitchFamily="2" charset="2"/>
                        <a:buChar char="l"/>
                      </a:pPr>
                      <a:r>
                        <a:rPr kumimoji="1" lang="ja-JP" altLang="en-US"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特に　                        や　　　　　　　　　　　　において、　　　　　　　　　　　　 　　　　　　　　　　を活動拠点とする麻薬売買の組織間の抗争や治安当局との銃撃戦が後を絶たない。ファベーラ周辺での流れ弾による被害も発生する等、一般市民の犠牲者も出ており、状況は深刻化している。</a:t>
                      </a:r>
                      <a:endParaRPr kumimoji="1" lang="en-US" altLang="ja-JP" sz="1150" b="0" kern="1200" spc="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468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graphicFrame>
        <p:nvGraphicFramePr>
          <p:cNvPr id="10" name="表 9"/>
          <p:cNvGraphicFramePr>
            <a:graphicFrameLocks noGrp="1"/>
          </p:cNvGraphicFramePr>
          <p:nvPr>
            <p:extLst>
              <p:ext uri="{D42A27DB-BD31-4B8C-83A1-F6EECF244321}">
                <p14:modId xmlns:p14="http://schemas.microsoft.com/office/powerpoint/2010/main" val="35689552"/>
              </p:ext>
            </p:extLst>
          </p:nvPr>
        </p:nvGraphicFramePr>
        <p:xfrm>
          <a:off x="3075992" y="4077716"/>
          <a:ext cx="6439419" cy="859444"/>
        </p:xfrm>
        <a:graphic>
          <a:graphicData uri="http://schemas.openxmlformats.org/drawingml/2006/table">
            <a:tbl>
              <a:tblPr firstRow="1" bandRow="1">
                <a:tableStyleId>{5C22544A-7EE6-4342-B048-85BDC9FD1C3A}</a:tableStyleId>
              </a:tblPr>
              <a:tblGrid>
                <a:gridCol w="2406971">
                  <a:extLst>
                    <a:ext uri="{9D8B030D-6E8A-4147-A177-3AD203B41FA5}">
                      <a16:colId xmlns:a16="http://schemas.microsoft.com/office/drawing/2014/main" val="20000"/>
                    </a:ext>
                  </a:extLst>
                </a:gridCol>
                <a:gridCol w="1926876">
                  <a:extLst>
                    <a:ext uri="{9D8B030D-6E8A-4147-A177-3AD203B41FA5}">
                      <a16:colId xmlns:a16="http://schemas.microsoft.com/office/drawing/2014/main" val="20001"/>
                    </a:ext>
                  </a:extLst>
                </a:gridCol>
                <a:gridCol w="2105572">
                  <a:extLst>
                    <a:ext uri="{9D8B030D-6E8A-4147-A177-3AD203B41FA5}">
                      <a16:colId xmlns:a16="http://schemas.microsoft.com/office/drawing/2014/main" val="20002"/>
                    </a:ext>
                  </a:extLst>
                </a:gridCol>
              </a:tblGrid>
              <a:tr h="181737">
                <a:tc>
                  <a:txBody>
                    <a:bodyPr/>
                    <a:lstStyle/>
                    <a:p>
                      <a:pPr marL="123825" indent="-123825">
                        <a:buClr>
                          <a:srgbClr val="3D6AA7"/>
                        </a:buClr>
                        <a:buSzPct val="80000"/>
                        <a:buFont typeface="Wingdings" panose="05000000000000000000" pitchFamily="2" charset="2"/>
                        <a:buChar char="l"/>
                        <a:tabLst/>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ブラジリア連邦区</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23825" indent="-123825">
                        <a:buClr>
                          <a:srgbClr val="3D6AA7"/>
                        </a:buClr>
                        <a:buSzPct val="80000"/>
                        <a:buFont typeface="Wingdings" panose="05000000000000000000" pitchFamily="2" charset="2"/>
                        <a:buChar char="l"/>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ビトリア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22238" indent="-122238">
                        <a:buClr>
                          <a:srgbClr val="3D6AA7"/>
                        </a:buClr>
                        <a:buSzPct val="80000"/>
                        <a:buFont typeface="Wingdings" panose="05000000000000000000" pitchFamily="2" charset="2"/>
                        <a:buChar char="l"/>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サルバドール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217384">
                <a:tc>
                  <a:txBody>
                    <a:bodyPr/>
                    <a:lstStyle/>
                    <a:p>
                      <a:pPr marL="128588" marR="0" indent="-128588"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サンパウロ圏及びカンピーナス市</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33350" marR="0" indent="-133350"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マナウス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23825" marR="0" indent="-123825"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フォルタレーザ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81737">
                <a:tc>
                  <a:txBody>
                    <a:bodyPr/>
                    <a:lstStyle/>
                    <a:p>
                      <a:pPr marL="128588" marR="0" indent="-128588"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リオ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33350" marR="0" indent="-133350"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ロライマ州北部</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27000" marR="0" indent="-127000"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クリチバ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81737">
                <a:tc>
                  <a:txBody>
                    <a:bodyPr/>
                    <a:lstStyle/>
                    <a:p>
                      <a:pPr marL="123825" marR="0" indent="-123825"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1" baseline="0" dirty="0">
                          <a:solidFill>
                            <a:schemeClr val="tx1"/>
                          </a:solidFill>
                          <a:latin typeface="Arial" panose="020B0604020202020204" pitchFamily="34" charset="0"/>
                          <a:ea typeface="ＭＳ Ｐゴシック" panose="020B0600070205080204" pitchFamily="50" charset="-128"/>
                        </a:rPr>
                        <a:t>大ベレン圏</a:t>
                      </a: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33350" marR="0" indent="-133350"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レシフェ圏</a:t>
                      </a:r>
                      <a:endParaRPr kumimoji="1" lang="ja-JP" altLang="en-US" sz="1050" b="1" baseline="0" dirty="0">
                        <a:solidFill>
                          <a:schemeClr val="tx1"/>
                        </a:solidFill>
                        <a:latin typeface="Arial" panose="020B0604020202020204" pitchFamily="34" charset="0"/>
                        <a:ea typeface="ＭＳ Ｐゴシック" panose="020B0600070205080204" pitchFamily="50" charset="-128"/>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123825" marR="0" lvl="0" indent="-123825" algn="l" defTabSz="914400" rtl="0" eaLnBrk="1" fontAlgn="auto" latinLnBrk="0" hangingPunct="1">
                        <a:lnSpc>
                          <a:spcPct val="100000"/>
                        </a:lnSpc>
                        <a:spcBef>
                          <a:spcPts val="0"/>
                        </a:spcBef>
                        <a:spcAft>
                          <a:spcPts val="0"/>
                        </a:spcAft>
                        <a:buClr>
                          <a:srgbClr val="3D6AA7"/>
                        </a:buClr>
                        <a:buSzPct val="80000"/>
                        <a:buFont typeface="Wingdings" panose="05000000000000000000" pitchFamily="2" charset="2"/>
                        <a:buChar char="l"/>
                        <a:tabLst/>
                        <a:defRPr/>
                      </a:pPr>
                      <a:r>
                        <a:rPr kumimoji="1" lang="ja-JP" altLang="en-US" sz="105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ポルトアレグレ市</a:t>
                      </a:r>
                      <a:endParaRPr kumimoji="1" lang="ja-JP" altLang="en-US" sz="105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mn-cs"/>
                      </a:endParaRPr>
                    </a:p>
                  </a:txBody>
                  <a:tcPr marL="144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3" name="角丸四角形 2"/>
          <p:cNvSpPr/>
          <p:nvPr/>
        </p:nvSpPr>
        <p:spPr>
          <a:xfrm>
            <a:off x="2720752" y="5658543"/>
            <a:ext cx="1279609" cy="229770"/>
          </a:xfrm>
          <a:prstGeom prst="roundRect">
            <a:avLst>
              <a:gd name="adj" fmla="val 50000"/>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fontAlgn="ctr"/>
            <a:r>
              <a:rPr lang="ja-JP" altLang="en-US" sz="115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リオデジャネイロ</a:t>
            </a:r>
          </a:p>
        </p:txBody>
      </p:sp>
      <p:sp>
        <p:nvSpPr>
          <p:cNvPr id="9" name="角丸四角形 8"/>
          <p:cNvSpPr/>
          <p:nvPr/>
        </p:nvSpPr>
        <p:spPr>
          <a:xfrm>
            <a:off x="4021025" y="5658543"/>
            <a:ext cx="995715" cy="229770"/>
          </a:xfrm>
          <a:prstGeom prst="roundRect">
            <a:avLst>
              <a:gd name="adj" fmla="val 50000"/>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fontAlgn="ctr"/>
            <a:r>
              <a:rPr lang="ja-JP" altLang="en-US" sz="115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サンパウロ</a:t>
            </a:r>
          </a:p>
        </p:txBody>
      </p:sp>
      <p:sp>
        <p:nvSpPr>
          <p:cNvPr id="11" name="角丸四角形 10"/>
          <p:cNvSpPr/>
          <p:nvPr/>
        </p:nvSpPr>
        <p:spPr>
          <a:xfrm>
            <a:off x="5889104" y="5658543"/>
            <a:ext cx="1934991" cy="229770"/>
          </a:xfrm>
          <a:prstGeom prst="roundRect">
            <a:avLst>
              <a:gd name="adj" fmla="val 50000"/>
            </a:avLst>
          </a:prstGeom>
          <a:solidFill>
            <a:srgbClr val="FCAE91"/>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fontAlgn="ct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ァベーラ（スラム街）</a:t>
            </a:r>
          </a:p>
        </p:txBody>
      </p:sp>
      <p:sp>
        <p:nvSpPr>
          <p:cNvPr id="5" name="片側の 2 つの角を丸めた四角形 4"/>
          <p:cNvSpPr/>
          <p:nvPr/>
        </p:nvSpPr>
        <p:spPr>
          <a:xfrm rot="16200000">
            <a:off x="2186620" y="4077084"/>
            <a:ext cx="862831" cy="864096"/>
          </a:xfrm>
          <a:prstGeom prst="round2SameRect">
            <a:avLst>
              <a:gd name="adj1" fmla="val 5223"/>
              <a:gd name="adj2" fmla="val 0"/>
            </a:avLst>
          </a:prstGeom>
          <a:gradFill>
            <a:gsLst>
              <a:gs pos="0">
                <a:srgbClr val="77D4ED"/>
              </a:gs>
              <a:gs pos="84000">
                <a:srgbClr val="77D4ED"/>
              </a:gs>
              <a:gs pos="100000">
                <a:schemeClr val="bg1"/>
              </a:gs>
            </a:gsLst>
            <a:lin ang="5400000" scaled="0"/>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vert" lIns="72000" tIns="108000" rtlCol="0" anchor="ctr"/>
          <a:lstStyle/>
          <a:p>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十分注意</a:t>
            </a:r>
            <a:endParaRPr lang="ja-JP" altLang="en-US" sz="1050" b="1" dirty="0">
              <a:solidFill>
                <a:schemeClr val="tx1"/>
              </a:solidFill>
              <a:latin typeface="Arial" panose="020B0604020202020204" pitchFamily="34" charset="0"/>
              <a:ea typeface="ＭＳ Ｐゴシック" panose="020B0600070205080204" pitchFamily="50" charset="-128"/>
            </a:endParaRPr>
          </a:p>
        </p:txBody>
      </p:sp>
      <p:sp>
        <p:nvSpPr>
          <p:cNvPr id="12" name="テキスト ボックス 11"/>
          <p:cNvSpPr txBox="1"/>
          <p:nvPr/>
        </p:nvSpPr>
        <p:spPr>
          <a:xfrm>
            <a:off x="200472" y="6684834"/>
            <a:ext cx="8640960" cy="141460"/>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change-rates.org</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情報通信事情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oing Business in Brazi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銀行</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566605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p>
        </p:txBody>
      </p:sp>
      <p:graphicFrame>
        <p:nvGraphicFramePr>
          <p:cNvPr id="9" name="表 8"/>
          <p:cNvGraphicFramePr>
            <a:graphicFrameLocks noGrp="1"/>
          </p:cNvGraphicFramePr>
          <p:nvPr>
            <p:extLst>
              <p:ext uri="{D42A27DB-BD31-4B8C-83A1-F6EECF244321}">
                <p14:modId xmlns:p14="http://schemas.microsoft.com/office/powerpoint/2010/main" val="3352756054"/>
              </p:ext>
            </p:extLst>
          </p:nvPr>
        </p:nvGraphicFramePr>
        <p:xfrm>
          <a:off x="200023" y="1412776"/>
          <a:ext cx="9504000" cy="4212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pt-BR" sz="1100" b="0" i="0" u="none" strike="noStrike" dirty="0">
                          <a:solidFill>
                            <a:srgbClr val="000000"/>
                          </a:solidFill>
                          <a:effectLst/>
                          <a:latin typeface="+mn-lt"/>
                          <a:ea typeface="ＭＳ Ｐゴシック" panose="020B0600070205080204" pitchFamily="50" charset="-128"/>
                        </a:rPr>
                        <a:t>Ajinomoto do Brasil Industria e Comercio de Alimentos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味の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mn-lt"/>
                          <a:ea typeface="ＭＳ Ｐゴシック" panose="020B0600070205080204" pitchFamily="50" charset="-128"/>
                        </a:rPr>
                        <a:t>MSG</a:t>
                      </a:r>
                      <a:r>
                        <a:rPr lang="ja-JP" altLang="en-US" sz="1000" b="0" i="0" u="none" strike="noStrike" dirty="0">
                          <a:solidFill>
                            <a:srgbClr val="000000"/>
                          </a:solidFill>
                          <a:effectLst/>
                          <a:latin typeface="+mn-lt"/>
                          <a:ea typeface="ＭＳ Ｐゴシック" panose="020B0600070205080204" pitchFamily="50" charset="-128"/>
                        </a:rPr>
                        <a:t>、調味料、医薬、食品用アミノ酸及び飼料用アミノ酸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it-IT" sz="1100" b="0" i="0" u="none" strike="noStrike" dirty="0">
                          <a:solidFill>
                            <a:srgbClr val="000000"/>
                          </a:solidFill>
                          <a:effectLst/>
                          <a:latin typeface="+mn-lt"/>
                          <a:ea typeface="ＭＳ Ｐゴシック" panose="020B0600070205080204" pitchFamily="50" charset="-128"/>
                        </a:rPr>
                        <a:t>Astellas Farma Brazil  Importacao</a:t>
                      </a:r>
                      <a:r>
                        <a:rPr lang="it-IT" sz="1100" b="0" i="0" u="none" strike="noStrike" baseline="0" dirty="0">
                          <a:solidFill>
                            <a:srgbClr val="000000"/>
                          </a:solidFill>
                          <a:effectLst/>
                          <a:latin typeface="+mn-lt"/>
                          <a:ea typeface="ＭＳ Ｐゴシック" panose="020B0600070205080204" pitchFamily="50" charset="-128"/>
                        </a:rPr>
                        <a:t> e Distribucao de Medicamentos Ltda.</a:t>
                      </a:r>
                      <a:endParaRPr lang="it-IT" sz="11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アステラス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等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it-IT" sz="1100" b="0" i="0" u="none" strike="noStrike" dirty="0">
                          <a:solidFill>
                            <a:srgbClr val="000000"/>
                          </a:solidFill>
                          <a:effectLst/>
                          <a:latin typeface="+mn-lt"/>
                          <a:ea typeface="ＭＳ Ｐゴシック" panose="020B0600070205080204" pitchFamily="50" charset="-128"/>
                        </a:rPr>
                        <a:t>Daiichi Sankyo Brasil Farmaceutica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第一三共</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Eisai Laboratorios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pt-BR" sz="1100" b="0" i="0" u="none" strike="noStrike" kern="1200" dirty="0">
                          <a:solidFill>
                            <a:srgbClr val="000000"/>
                          </a:solidFill>
                          <a:effectLst/>
                          <a:latin typeface="+mn-lt"/>
                          <a:ea typeface="ＭＳ Ｐゴシック" panose="020B0600070205080204" pitchFamily="50" charset="-128"/>
                          <a:cs typeface="+mn-cs"/>
                        </a:rPr>
                        <a:t>Hisamitsu Farmaceutica do Brasil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久光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pt-BR" sz="1100" b="0" i="0" u="none" strike="noStrike" kern="1200" dirty="0">
                          <a:solidFill>
                            <a:srgbClr val="000000"/>
                          </a:solidFill>
                          <a:effectLst/>
                          <a:latin typeface="+mn-lt"/>
                          <a:ea typeface="ＭＳ Ｐゴシック" panose="020B0600070205080204" pitchFamily="50" charset="-128"/>
                          <a:cs typeface="+mn-cs"/>
                        </a:rPr>
                        <a:t>Multilab Industria e Comercio de Produtos Farmaceuticos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rgbClr val="000000"/>
                          </a:solidFill>
                          <a:effectLst/>
                          <a:latin typeface="+mn-lt"/>
                          <a:ea typeface="ＭＳ Ｐゴシック" panose="020B0600070205080204" pitchFamily="50" charset="-128"/>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製造・販売・研究・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Salbego Laboratorio Farmaceutico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透析液の製造・販売、その他透析商品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77</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Takeda Distribuidora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rgbClr val="000000"/>
                          </a:solidFill>
                          <a:effectLst/>
                          <a:latin typeface="+mn-lt"/>
                          <a:ea typeface="ＭＳ Ｐゴシック" panose="020B0600070205080204" pitchFamily="50" charset="-128"/>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Takeda Pharma Ltd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rgbClr val="000000"/>
                          </a:solidFill>
                          <a:effectLst/>
                          <a:latin typeface="+mn-lt"/>
                          <a:ea typeface="ＭＳ Ｐゴシック" panose="020B0600070205080204" pitchFamily="50" charset="-128"/>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8635568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6"/>
          <p:cNvSpPr>
            <a:spLocks noChangeArrowheads="1"/>
          </p:cNvSpPr>
          <p:nvPr/>
        </p:nvSpPr>
        <p:spPr bwMode="auto">
          <a:xfrm rot="5400000">
            <a:off x="6286279" y="5594569"/>
            <a:ext cx="555371" cy="1054423"/>
          </a:xfrm>
          <a:prstGeom prst="round2SameRect">
            <a:avLst>
              <a:gd name="adj1" fmla="val 9235"/>
              <a:gd name="adj2" fmla="val 0"/>
            </a:avLst>
          </a:prstGeom>
          <a:solidFill>
            <a:srgbClr val="FFFFFF"/>
          </a:solidFill>
          <a:ln w="12700" cap="flat" cmpd="sng" algn="ctr">
            <a:solidFill>
              <a:srgbClr val="A2BBDC"/>
            </a:solidFill>
            <a:prstDash val="solid"/>
            <a:miter lim="800000"/>
            <a:headEnd type="none" w="med" len="med"/>
            <a:tailEnd type="none" w="med" len="med"/>
          </a:ln>
        </p:spPr>
        <p:txBody>
          <a:bodyPr vert="eaVert" wrap="square" lIns="0" tIns="72000" rIns="0" bIns="10800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endParaRPr lang="en-US" altLang="ko-KR" sz="1100" dirty="0">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ブラジル／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野村総合研究所「新興国の医薬品市場への日本企業の参入シナリオ」知的資産創造（</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有識者ヒアリング</a:t>
            </a:r>
          </a:p>
        </p:txBody>
      </p:sp>
      <p:sp>
        <p:nvSpPr>
          <p:cNvPr id="61" name="正方形/長方形 60"/>
          <p:cNvSpPr/>
          <p:nvPr/>
        </p:nvSpPr>
        <p:spPr>
          <a:xfrm>
            <a:off x="6189367" y="5936669"/>
            <a:ext cx="851865" cy="432048"/>
          </a:xfrm>
          <a:prstGeom prst="rect">
            <a:avLst/>
          </a:prstGeom>
        </p:spPr>
        <p:txBody>
          <a:bodyPr wrap="square" lIns="0" tIns="0" rIns="0" bIns="0">
            <a:noAutofit/>
          </a:bodyPr>
          <a:lstStyle/>
          <a:p>
            <a:pPr marL="0" lvl="1" algn="ctr" fontAlgn="b">
              <a:lnSpc>
                <a:spcPct val="120000"/>
              </a:lnSpc>
              <a:spcAft>
                <a:spcPts val="300"/>
              </a:spcAft>
              <a:buClr>
                <a:srgbClr val="83A4D1"/>
              </a:buClr>
              <a:buSzPct val="80000"/>
            </a:pPr>
            <a:r>
              <a:rPr lang="en-US" altLang="ja-JP" sz="2400" dirty="0">
                <a:latin typeface="Arial Black" panose="020B0A04020102020204" pitchFamily="34" charset="0"/>
                <a:ea typeface="ＭＳ Ｐゴシック" panose="020B0600070205080204" pitchFamily="50" charset="-128"/>
                <a:cs typeface="Arial" panose="020B0604020202020204" pitchFamily="34" charset="0"/>
              </a:rPr>
              <a:t>15</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3" name="グループ化 62"/>
          <p:cNvGrpSpPr/>
          <p:nvPr/>
        </p:nvGrpSpPr>
        <p:grpSpPr>
          <a:xfrm>
            <a:off x="920552" y="3645024"/>
            <a:ext cx="8171740" cy="360040"/>
            <a:chOff x="4808984" y="2113806"/>
            <a:chExt cx="3024336" cy="360040"/>
          </a:xfrm>
        </p:grpSpPr>
        <p:cxnSp>
          <p:nvCxnSpPr>
            <p:cNvPr id="64" name="直線コネクタ 63"/>
            <p:cNvCxnSpPr/>
            <p:nvPr/>
          </p:nvCxnSpPr>
          <p:spPr>
            <a:xfrm>
              <a:off x="4808984" y="2420888"/>
              <a:ext cx="3024336"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65" name="Rectangle 6"/>
            <p:cNvSpPr>
              <a:spLocks noChangeArrowheads="1"/>
            </p:cNvSpPr>
            <p:nvPr/>
          </p:nvSpPr>
          <p:spPr bwMode="auto">
            <a:xfrm>
              <a:off x="4808984" y="2113806"/>
              <a:ext cx="302433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薬剤師の役割</a:t>
              </a:r>
              <a:endParaRPr lang="en-US" altLang="ko-KR" sz="1400" dirty="0">
                <a:solidFill>
                  <a:srgbClr val="000000"/>
                </a:solidFill>
                <a:latin typeface="Arial Black" pitchFamily="34" charset="0"/>
                <a:ea typeface="HGP創英角ｺﾞｼｯｸUB" pitchFamily="50" charset="-128"/>
              </a:endParaRPr>
            </a:p>
          </p:txBody>
        </p:sp>
      </p:grpSp>
      <p:sp>
        <p:nvSpPr>
          <p:cNvPr id="44" name="正方形/長方形 43"/>
          <p:cNvSpPr/>
          <p:nvPr/>
        </p:nvSpPr>
        <p:spPr>
          <a:xfrm>
            <a:off x="1035446" y="5805264"/>
            <a:ext cx="4210262" cy="233806"/>
          </a:xfrm>
          <a:prstGeom prst="rect">
            <a:avLst/>
          </a:prstGeom>
        </p:spPr>
        <p:txBody>
          <a:bodyPr wrap="square" lIns="0" tIns="0" rIns="0" bIns="0">
            <a:noAutofit/>
          </a:bodyPr>
          <a:lstStyle/>
          <a:p>
            <a:pPr marL="147638" lvl="1" indent="-147638" algn="just" fontAlgn="ctr">
              <a:lnSpc>
                <a:spcPct val="120000"/>
              </a:lnSpc>
              <a:spcAft>
                <a:spcPts val="300"/>
              </a:spcAft>
              <a:buClr>
                <a:srgbClr val="5F8AC3"/>
              </a:buClr>
              <a:buSzPct val="8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先進国と比較すると</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高い</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47638" lvl="1" indent="-147638" algn="just" fontAlgn="ctr">
              <a:lnSpc>
                <a:spcPct val="120000"/>
              </a:lnSpc>
              <a:spcAft>
                <a:spcPts val="300"/>
              </a:spcAft>
              <a:buClr>
                <a:srgbClr val="5F8AC3"/>
              </a:buClr>
              <a:buSzPct val="8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ジェネリックや</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OTC</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の方がマージン率が高くなる傾向にある。</a:t>
            </a:r>
          </a:p>
        </p:txBody>
      </p:sp>
      <p:sp>
        <p:nvSpPr>
          <p:cNvPr id="104" name="角丸四角形 103"/>
          <p:cNvSpPr/>
          <p:nvPr/>
        </p:nvSpPr>
        <p:spPr>
          <a:xfrm>
            <a:off x="7350980" y="2060848"/>
            <a:ext cx="1202420" cy="1295474"/>
          </a:xfrm>
          <a:prstGeom prst="roundRect">
            <a:avLst>
              <a:gd name="adj" fmla="val 3686"/>
            </a:avLst>
          </a:prstGeom>
          <a:solidFill>
            <a:srgbClr val="D2F0FA"/>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algn="ctr"/>
            <a:r>
              <a:rPr lang="ja-JP" altLang="en-US" sz="1600" dirty="0">
                <a:solidFill>
                  <a:schemeClr val="tx1"/>
                </a:solidFill>
                <a:latin typeface="HGP創英角ｺﾞｼｯｸUB" panose="020B0900000000000000" pitchFamily="50" charset="-128"/>
                <a:ea typeface="HGP創英角ｺﾞｼｯｸUB" panose="020B0900000000000000" pitchFamily="50" charset="-128"/>
              </a:rPr>
              <a:t>薬 局</a:t>
            </a:r>
          </a:p>
        </p:txBody>
      </p:sp>
      <p:sp>
        <p:nvSpPr>
          <p:cNvPr id="105" name="角丸四角形 104"/>
          <p:cNvSpPr/>
          <p:nvPr/>
        </p:nvSpPr>
        <p:spPr>
          <a:xfrm>
            <a:off x="1506400" y="2060848"/>
            <a:ext cx="1917652" cy="1295474"/>
          </a:xfrm>
          <a:prstGeom prst="roundRect">
            <a:avLst>
              <a:gd name="adj" fmla="val 3686"/>
            </a:avLst>
          </a:prstGeom>
          <a:solidFill>
            <a:srgbClr val="CCDA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144000" tIns="46800" rtlCol="0" anchor="ctr" anchorCtr="0"/>
          <a:lstStyle/>
          <a:p>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製薬企業</a:t>
            </a:r>
          </a:p>
        </p:txBody>
      </p:sp>
      <p:grpSp>
        <p:nvGrpSpPr>
          <p:cNvPr id="106" name="グループ化 105"/>
          <p:cNvGrpSpPr/>
          <p:nvPr/>
        </p:nvGrpSpPr>
        <p:grpSpPr>
          <a:xfrm>
            <a:off x="920552" y="1628800"/>
            <a:ext cx="8171740" cy="360040"/>
            <a:chOff x="4808984" y="2113806"/>
            <a:chExt cx="3024336" cy="360040"/>
          </a:xfrm>
        </p:grpSpPr>
        <p:cxnSp>
          <p:nvCxnSpPr>
            <p:cNvPr id="107" name="直線コネクタ 106"/>
            <p:cNvCxnSpPr/>
            <p:nvPr/>
          </p:nvCxnSpPr>
          <p:spPr>
            <a:xfrm>
              <a:off x="4808984" y="2420888"/>
              <a:ext cx="3024336"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108" name="Rectangle 6"/>
            <p:cNvSpPr>
              <a:spLocks noChangeArrowheads="1"/>
            </p:cNvSpPr>
            <p:nvPr/>
          </p:nvSpPr>
          <p:spPr bwMode="auto">
            <a:xfrm>
              <a:off x="4808984" y="2113806"/>
              <a:ext cx="302433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流通の構造 （民間取引について）</a:t>
              </a:r>
              <a:endParaRPr lang="en-US" altLang="ko-KR" sz="1400" dirty="0">
                <a:solidFill>
                  <a:srgbClr val="000000"/>
                </a:solidFill>
                <a:latin typeface="Arial Black" pitchFamily="34" charset="0"/>
                <a:ea typeface="HGP創英角ｺﾞｼｯｸUB" pitchFamily="50" charset="-128"/>
              </a:endParaRPr>
            </a:p>
          </p:txBody>
        </p:sp>
      </p:grpSp>
      <p:sp>
        <p:nvSpPr>
          <p:cNvPr id="109" name="テキスト ボックス 108"/>
          <p:cNvSpPr txBox="1"/>
          <p:nvPr/>
        </p:nvSpPr>
        <p:spPr>
          <a:xfrm>
            <a:off x="2498806" y="2830464"/>
            <a:ext cx="648072" cy="429712"/>
          </a:xfrm>
          <a:prstGeom prst="roundRect">
            <a:avLst>
              <a:gd name="adj" fmla="val 8086"/>
            </a:avLst>
          </a:prstGeom>
          <a:solidFill>
            <a:srgbClr val="FFFFFF"/>
          </a:solidFill>
          <a:ln w="12700" cmpd="sng">
            <a:noFill/>
          </a:ln>
          <a:extLst>
            <a:ext uri="{91240B29-F687-4F45-9708-019B960494DF}">
              <a14:hiddenLine xmlns:a14="http://schemas.microsoft.com/office/drawing/2010/main" w="12700" cmpd="sng">
                <a:solidFill>
                  <a:srgbClr val="3D6AA7"/>
                </a:solidFill>
              </a14:hiddenLine>
            </a:ext>
          </a:extLst>
        </p:spPr>
        <p:txBody>
          <a:bodyPr wrap="square" lIns="0" tIns="0" rIns="0" bIns="0" rtlCol="0" anchor="ctr" anchorCtr="0">
            <a:noAutofit/>
          </a:bodyPr>
          <a:lstStyle/>
          <a:p>
            <a:pPr algn="ct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直取引（</a:t>
            </a:r>
            <a:r>
              <a:rPr lang="en-US" altLang="ja-JP" sz="1100" dirty="0">
                <a:latin typeface="Arial Black" panose="020B0A04020102020204" pitchFamily="34" charset="0"/>
                <a:ea typeface="ＭＳ Ｐゴシック" panose="020B0600070205080204" pitchFamily="50" charset="-128"/>
                <a:cs typeface="Arial" panose="020B0604020202020204" pitchFamily="34" charset="0"/>
              </a:rPr>
              <a:t>20</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10" name="テキスト ボックス 109"/>
          <p:cNvSpPr txBox="1"/>
          <p:nvPr/>
        </p:nvSpPr>
        <p:spPr>
          <a:xfrm>
            <a:off x="2498806" y="2153490"/>
            <a:ext cx="648072" cy="659828"/>
          </a:xfrm>
          <a:prstGeom prst="roundRect">
            <a:avLst>
              <a:gd name="adj" fmla="val 5745"/>
            </a:avLst>
          </a:prstGeom>
          <a:solidFill>
            <a:srgbClr val="FFFFFF"/>
          </a:solidFill>
          <a:ln w="12700" cmpd="sng">
            <a:noFill/>
          </a:ln>
          <a:extLst>
            <a:ext uri="{91240B29-F687-4F45-9708-019B960494DF}">
              <a14:hiddenLine xmlns:a14="http://schemas.microsoft.com/office/drawing/2010/main" w="12700" cmpd="sng">
                <a:solidFill>
                  <a:srgbClr val="3D6AA7"/>
                </a:solidFill>
              </a14:hiddenLine>
            </a:ext>
          </a:extLst>
        </p:spPr>
        <p:txBody>
          <a:bodyPr wrap="square" lIns="0" tIns="0" rIns="0" bIns="0" rtlCol="0" anchor="ctr" anchorCtr="0">
            <a:noAutofit/>
          </a:bodyPr>
          <a:lstStyle/>
          <a:p>
            <a:pPr algn="ctr"/>
            <a:r>
              <a:rPr lang="ja-JP" altLang="en-US" sz="1100" dirty="0">
                <a:latin typeface="Arial" panose="020B0604020202020204" pitchFamily="34" charset="0"/>
                <a:ea typeface="ＭＳ Ｐゴシック" panose="020B0600070205080204" pitchFamily="50" charset="-128"/>
                <a:cs typeface="Arial" panose="020B0604020202020204" pitchFamily="34" charset="0"/>
              </a:rPr>
              <a:t>卸取引（</a:t>
            </a:r>
            <a:r>
              <a:rPr lang="en-US" altLang="ja-JP" sz="1100" dirty="0">
                <a:latin typeface="Arial Black" panose="020B0A04020102020204" pitchFamily="34" charset="0"/>
                <a:ea typeface="ＭＳ Ｐゴシック" panose="020B0600070205080204" pitchFamily="50" charset="-128"/>
                <a:cs typeface="Arial" panose="020B0604020202020204" pitchFamily="34" charset="0"/>
              </a:rPr>
              <a:t>80</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11" name="角丸四角形 110"/>
          <p:cNvSpPr/>
          <p:nvPr/>
        </p:nvSpPr>
        <p:spPr>
          <a:xfrm>
            <a:off x="3929782" y="2163618"/>
            <a:ext cx="1202420" cy="650233"/>
          </a:xfrm>
          <a:prstGeom prst="roundRect">
            <a:avLst>
              <a:gd name="adj" fmla="val 5666"/>
            </a:avLst>
          </a:prstGeom>
          <a:solidFill>
            <a:srgbClr val="CCDA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一次卸業者</a:t>
            </a:r>
            <a:endPar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2" name="グループ化 111"/>
          <p:cNvGrpSpPr/>
          <p:nvPr/>
        </p:nvGrpSpPr>
        <p:grpSpPr>
          <a:xfrm>
            <a:off x="7646447" y="2588651"/>
            <a:ext cx="635308" cy="480259"/>
            <a:chOff x="3644601" y="3978082"/>
            <a:chExt cx="440284" cy="332831"/>
          </a:xfrm>
        </p:grpSpPr>
        <p:grpSp>
          <p:nvGrpSpPr>
            <p:cNvPr id="113" name="グループ化 112"/>
            <p:cNvGrpSpPr/>
            <p:nvPr/>
          </p:nvGrpSpPr>
          <p:grpSpPr>
            <a:xfrm>
              <a:off x="3644601" y="3978082"/>
              <a:ext cx="440284" cy="332831"/>
              <a:chOff x="3644601" y="3978082"/>
              <a:chExt cx="440284" cy="332831"/>
            </a:xfrm>
          </p:grpSpPr>
          <p:sp>
            <p:nvSpPr>
              <p:cNvPr id="115" name="正方形/長方形 114"/>
              <p:cNvSpPr/>
              <p:nvPr/>
            </p:nvSpPr>
            <p:spPr>
              <a:xfrm>
                <a:off x="3644601" y="3983320"/>
                <a:ext cx="342443" cy="326730"/>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正方形/長方形 115"/>
              <p:cNvSpPr/>
              <p:nvPr/>
            </p:nvSpPr>
            <p:spPr>
              <a:xfrm>
                <a:off x="3669506" y="4004748"/>
                <a:ext cx="292497" cy="92603"/>
              </a:xfrm>
              <a:prstGeom prst="rect">
                <a:avLst/>
              </a:prstGeom>
              <a:solidFill>
                <a:srgbClr val="D2F0F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正方形/長方形 116"/>
              <p:cNvSpPr/>
              <p:nvPr/>
            </p:nvSpPr>
            <p:spPr>
              <a:xfrm>
                <a:off x="3744914" y="4167401"/>
                <a:ext cx="69849" cy="142649"/>
              </a:xfrm>
              <a:prstGeom prst="rect">
                <a:avLst/>
              </a:prstGeom>
              <a:solidFill>
                <a:srgbClr val="D2F0F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直角三角形 117"/>
              <p:cNvSpPr/>
              <p:nvPr/>
            </p:nvSpPr>
            <p:spPr>
              <a:xfrm>
                <a:off x="3987044" y="3978082"/>
                <a:ext cx="97841" cy="97841"/>
              </a:xfrm>
              <a:prstGeom prst="rtTriangle">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9" name="正方形/長方形 118"/>
              <p:cNvSpPr/>
              <p:nvPr/>
            </p:nvSpPr>
            <p:spPr>
              <a:xfrm>
                <a:off x="3987044" y="4075922"/>
                <a:ext cx="97841" cy="234991"/>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14" name="正方形/長方形 113"/>
            <p:cNvSpPr/>
            <p:nvPr/>
          </p:nvSpPr>
          <p:spPr>
            <a:xfrm>
              <a:off x="3823495" y="4167401"/>
              <a:ext cx="69849" cy="142649"/>
            </a:xfrm>
            <a:prstGeom prst="rect">
              <a:avLst/>
            </a:prstGeom>
            <a:solidFill>
              <a:srgbClr val="D2F0F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20" name="角丸四角形 119"/>
          <p:cNvSpPr/>
          <p:nvPr/>
        </p:nvSpPr>
        <p:spPr>
          <a:xfrm>
            <a:off x="5639561" y="2163618"/>
            <a:ext cx="1202420" cy="395415"/>
          </a:xfrm>
          <a:prstGeom prst="roundRect">
            <a:avLst>
              <a:gd name="adj" fmla="val 10983"/>
            </a:avLst>
          </a:prstGeom>
          <a:solidFill>
            <a:srgbClr val="CCDA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二次卸業者</a:t>
            </a:r>
            <a:endPar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右矢印 120"/>
          <p:cNvSpPr/>
          <p:nvPr/>
        </p:nvSpPr>
        <p:spPr>
          <a:xfrm>
            <a:off x="3146879" y="2380176"/>
            <a:ext cx="782903"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右矢印 121"/>
          <p:cNvSpPr/>
          <p:nvPr/>
        </p:nvSpPr>
        <p:spPr>
          <a:xfrm>
            <a:off x="5132842" y="2247481"/>
            <a:ext cx="506720"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右矢印 122"/>
          <p:cNvSpPr/>
          <p:nvPr/>
        </p:nvSpPr>
        <p:spPr>
          <a:xfrm>
            <a:off x="6837817" y="2247481"/>
            <a:ext cx="506720"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右矢印 123"/>
          <p:cNvSpPr/>
          <p:nvPr/>
        </p:nvSpPr>
        <p:spPr>
          <a:xfrm>
            <a:off x="3146879" y="2941580"/>
            <a:ext cx="4197658" cy="216024"/>
          </a:xfrm>
          <a:prstGeom prst="rightArrow">
            <a:avLst/>
          </a:prstGeom>
          <a:solidFill>
            <a:srgbClr val="A2B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右矢印 124"/>
          <p:cNvSpPr/>
          <p:nvPr/>
        </p:nvSpPr>
        <p:spPr>
          <a:xfrm>
            <a:off x="5132841" y="2563126"/>
            <a:ext cx="2211695"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1" name="グループ化 70"/>
          <p:cNvGrpSpPr/>
          <p:nvPr/>
        </p:nvGrpSpPr>
        <p:grpSpPr>
          <a:xfrm>
            <a:off x="920552" y="5373216"/>
            <a:ext cx="8171740" cy="360040"/>
            <a:chOff x="4808984" y="2113806"/>
            <a:chExt cx="3024336" cy="360040"/>
          </a:xfrm>
        </p:grpSpPr>
        <p:cxnSp>
          <p:nvCxnSpPr>
            <p:cNvPr id="72" name="直線コネクタ 71"/>
            <p:cNvCxnSpPr/>
            <p:nvPr/>
          </p:nvCxnSpPr>
          <p:spPr>
            <a:xfrm>
              <a:off x="4808984" y="2420888"/>
              <a:ext cx="3024336"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73" name="Rectangle 6"/>
            <p:cNvSpPr>
              <a:spLocks noChangeArrowheads="1"/>
            </p:cNvSpPr>
            <p:nvPr/>
          </p:nvSpPr>
          <p:spPr bwMode="auto">
            <a:xfrm>
              <a:off x="4808984" y="2113806"/>
              <a:ext cx="302433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ージン率</a:t>
              </a:r>
              <a:endParaRPr lang="en-US" altLang="ko-KR" sz="1400" dirty="0">
                <a:solidFill>
                  <a:srgbClr val="000000"/>
                </a:solidFill>
                <a:latin typeface="Arial Black" pitchFamily="34" charset="0"/>
                <a:ea typeface="HGP創英角ｺﾞｼｯｸUB" pitchFamily="50" charset="-128"/>
              </a:endParaRPr>
            </a:p>
          </p:txBody>
        </p:sp>
      </p:grpSp>
      <p:sp>
        <p:nvSpPr>
          <p:cNvPr id="74" name="正方形/長方形 73"/>
          <p:cNvSpPr/>
          <p:nvPr/>
        </p:nvSpPr>
        <p:spPr>
          <a:xfrm>
            <a:off x="1035446" y="4098144"/>
            <a:ext cx="3629522" cy="1025894"/>
          </a:xfrm>
          <a:prstGeom prst="rect">
            <a:avLst/>
          </a:prstGeom>
        </p:spPr>
        <p:txBody>
          <a:bodyPr wrap="square" lIns="0" tIns="0" rIns="0" bIns="0">
            <a:noAutofit/>
          </a:bodyPr>
          <a:lstStyle/>
          <a:p>
            <a:pPr marL="147638" lvl="1" indent="-147638" algn="just" fontAlgn="ctr">
              <a:lnSpc>
                <a:spcPct val="120000"/>
              </a:lnSpc>
              <a:spcAft>
                <a:spcPts val="300"/>
              </a:spcAft>
              <a:buClr>
                <a:srgbClr val="5F8AC3"/>
              </a:buClr>
              <a:buSzPct val="8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薬局において薬を患者に販売する際に、</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薬剤師の影響力が強い</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と言われてい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47638" lvl="1" indent="-147638" algn="just" fontAlgn="ctr">
              <a:lnSpc>
                <a:spcPct val="120000"/>
              </a:lnSpc>
              <a:spcAft>
                <a:spcPts val="300"/>
              </a:spcAft>
              <a:buClr>
                <a:srgbClr val="5F8AC3"/>
              </a:buClr>
              <a:buSzPct val="8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薬局においては、</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処方箋なしでも販売</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されてしまっている。また処方箋がある場合でも、</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薬剤師の判断により処方変更</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されることもある。</a:t>
            </a:r>
            <a:endPar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91" name="正方形/長方形 90"/>
          <p:cNvSpPr/>
          <p:nvPr/>
        </p:nvSpPr>
        <p:spPr>
          <a:xfrm>
            <a:off x="6082857" y="6037943"/>
            <a:ext cx="958375" cy="150332"/>
          </a:xfrm>
          <a:prstGeom prst="rect">
            <a:avLst/>
          </a:prstGeom>
        </p:spPr>
        <p:txBody>
          <a:bodyPr wrap="square" lIns="0" tIns="0" rIns="0" bIns="0">
            <a:noAutofit/>
          </a:bodyPr>
          <a:lstStyle/>
          <a:p>
            <a:pPr marL="0" lvl="1" algn="ctr" fontAlgn="b">
              <a:lnSpc>
                <a:spcPct val="120000"/>
              </a:lnSpc>
              <a:spcAft>
                <a:spcPts val="300"/>
              </a:spcAft>
              <a:buClr>
                <a:srgbClr val="83A4D1"/>
              </a:buClr>
              <a:buSzPct val="80000"/>
            </a:pPr>
            <a:r>
              <a:rPr lang="ja-JP" altLang="en-US" sz="1200" dirty="0">
                <a:latin typeface="Arial Black" panose="020B0A04020102020204" pitchFamily="34" charset="0"/>
                <a:ea typeface="ＭＳ Ｐゴシック" panose="020B0600070205080204" pitchFamily="50" charset="-128"/>
                <a:cs typeface="Arial" panose="020B0604020202020204" pitchFamily="34" charset="0"/>
              </a:rPr>
              <a:t>平均        </a:t>
            </a:r>
            <a:r>
              <a:rPr lang="en-US" altLang="ja-JP" sz="1200" dirty="0">
                <a:latin typeface="Arial Black" panose="020B0A04020102020204" pitchFamily="34" charset="0"/>
                <a:ea typeface="ＭＳ Ｐゴシック" panose="020B0600070205080204" pitchFamily="50" charset="-128"/>
                <a:cs typeface="Arial" panose="020B0604020202020204" pitchFamily="34" charset="0"/>
              </a:rPr>
              <a:t>%</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5" name="グループ化 134"/>
          <p:cNvGrpSpPr/>
          <p:nvPr/>
        </p:nvGrpSpPr>
        <p:grpSpPr>
          <a:xfrm>
            <a:off x="8297597" y="4449247"/>
            <a:ext cx="635308" cy="480259"/>
            <a:chOff x="3644601" y="3978082"/>
            <a:chExt cx="440284" cy="332831"/>
          </a:xfrm>
        </p:grpSpPr>
        <p:grpSp>
          <p:nvGrpSpPr>
            <p:cNvPr id="136" name="グループ化 135"/>
            <p:cNvGrpSpPr/>
            <p:nvPr/>
          </p:nvGrpSpPr>
          <p:grpSpPr>
            <a:xfrm>
              <a:off x="3644601" y="3978082"/>
              <a:ext cx="440284" cy="332831"/>
              <a:chOff x="3644601" y="3978082"/>
              <a:chExt cx="440284" cy="332831"/>
            </a:xfrm>
          </p:grpSpPr>
          <p:sp>
            <p:nvSpPr>
              <p:cNvPr id="138" name="正方形/長方形 137"/>
              <p:cNvSpPr/>
              <p:nvPr/>
            </p:nvSpPr>
            <p:spPr>
              <a:xfrm>
                <a:off x="3644601" y="3983320"/>
                <a:ext cx="342443" cy="326730"/>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9" name="正方形/長方形 138"/>
              <p:cNvSpPr/>
              <p:nvPr/>
            </p:nvSpPr>
            <p:spPr>
              <a:xfrm>
                <a:off x="3669506" y="4004748"/>
                <a:ext cx="292497" cy="92603"/>
              </a:xfrm>
              <a:prstGeom prst="rect">
                <a:avLst/>
              </a:prstGeom>
              <a:solidFill>
                <a:srgbClr val="D2F0F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0" name="正方形/長方形 139"/>
              <p:cNvSpPr/>
              <p:nvPr/>
            </p:nvSpPr>
            <p:spPr>
              <a:xfrm>
                <a:off x="3744914" y="4167401"/>
                <a:ext cx="69849" cy="142649"/>
              </a:xfrm>
              <a:prstGeom prst="rect">
                <a:avLst/>
              </a:prstGeom>
              <a:solidFill>
                <a:srgbClr val="D2F0F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1" name="直角三角形 140"/>
              <p:cNvSpPr/>
              <p:nvPr/>
            </p:nvSpPr>
            <p:spPr>
              <a:xfrm>
                <a:off x="3987044" y="3978082"/>
                <a:ext cx="97841" cy="97841"/>
              </a:xfrm>
              <a:prstGeom prst="rtTriangle">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2" name="正方形/長方形 141"/>
              <p:cNvSpPr/>
              <p:nvPr/>
            </p:nvSpPr>
            <p:spPr>
              <a:xfrm>
                <a:off x="3987044" y="4075922"/>
                <a:ext cx="97841" cy="234991"/>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37" name="正方形/長方形 136"/>
            <p:cNvSpPr/>
            <p:nvPr/>
          </p:nvSpPr>
          <p:spPr>
            <a:xfrm>
              <a:off x="3823495" y="4167401"/>
              <a:ext cx="69849" cy="142649"/>
            </a:xfrm>
            <a:prstGeom prst="rect">
              <a:avLst/>
            </a:prstGeom>
            <a:solidFill>
              <a:srgbClr val="D2F0F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0" name="右矢印 39"/>
          <p:cNvSpPr/>
          <p:nvPr/>
        </p:nvSpPr>
        <p:spPr>
          <a:xfrm flipH="1">
            <a:off x="5894556" y="4610033"/>
            <a:ext cx="1209685"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5" name="Group 6"/>
          <p:cNvGrpSpPr>
            <a:grpSpLocks noChangeAspect="1"/>
          </p:cNvGrpSpPr>
          <p:nvPr/>
        </p:nvGrpSpPr>
        <p:grpSpPr bwMode="auto">
          <a:xfrm>
            <a:off x="7150487" y="4374466"/>
            <a:ext cx="335577" cy="556129"/>
            <a:chOff x="1261" y="1689"/>
            <a:chExt cx="318" cy="527"/>
          </a:xfrm>
        </p:grpSpPr>
        <p:sp>
          <p:nvSpPr>
            <p:cNvPr id="46"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67" name="右矢印 66"/>
          <p:cNvSpPr/>
          <p:nvPr/>
        </p:nvSpPr>
        <p:spPr>
          <a:xfrm>
            <a:off x="7529995" y="4610033"/>
            <a:ext cx="767602" cy="216024"/>
          </a:xfrm>
          <a:prstGeom prst="rightArrow">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5" name="グループ化 74"/>
          <p:cNvGrpSpPr/>
          <p:nvPr/>
        </p:nvGrpSpPr>
        <p:grpSpPr>
          <a:xfrm>
            <a:off x="5160026" y="4392210"/>
            <a:ext cx="734532" cy="534206"/>
            <a:chOff x="4232920" y="1124744"/>
            <a:chExt cx="1584176" cy="1152128"/>
          </a:xfrm>
        </p:grpSpPr>
        <p:sp>
          <p:nvSpPr>
            <p:cNvPr id="76"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77" name="正方形/長方形 76"/>
            <p:cNvSpPr/>
            <p:nvPr/>
          </p:nvSpPr>
          <p:spPr>
            <a:xfrm>
              <a:off x="4304928"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正方形/長方形 78"/>
            <p:cNvSpPr/>
            <p:nvPr/>
          </p:nvSpPr>
          <p:spPr>
            <a:xfrm>
              <a:off x="4304928"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0" name="正方形/長方形 79"/>
            <p:cNvSpPr/>
            <p:nvPr/>
          </p:nvSpPr>
          <p:spPr>
            <a:xfrm>
              <a:off x="4304928"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1" name="正方形/長方形 80"/>
            <p:cNvSpPr/>
            <p:nvPr/>
          </p:nvSpPr>
          <p:spPr>
            <a:xfrm>
              <a:off x="4304928"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正方形/長方形 81"/>
            <p:cNvSpPr/>
            <p:nvPr/>
          </p:nvSpPr>
          <p:spPr>
            <a:xfrm>
              <a:off x="4304928"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正方形/長方形 82"/>
            <p:cNvSpPr/>
            <p:nvPr/>
          </p:nvSpPr>
          <p:spPr>
            <a:xfrm>
              <a:off x="5241032"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4" name="正方形/長方形 83"/>
            <p:cNvSpPr/>
            <p:nvPr/>
          </p:nvSpPr>
          <p:spPr>
            <a:xfrm>
              <a:off x="5241032"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正方形/長方形 84"/>
            <p:cNvSpPr/>
            <p:nvPr/>
          </p:nvSpPr>
          <p:spPr>
            <a:xfrm>
              <a:off x="5241032"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正方形/長方形 85"/>
            <p:cNvSpPr/>
            <p:nvPr/>
          </p:nvSpPr>
          <p:spPr>
            <a:xfrm>
              <a:off x="5241032"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7" name="正方形/長方形 86"/>
            <p:cNvSpPr/>
            <p:nvPr/>
          </p:nvSpPr>
          <p:spPr>
            <a:xfrm>
              <a:off x="5241032"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8"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98" name="十字形 97"/>
          <p:cNvSpPr/>
          <p:nvPr/>
        </p:nvSpPr>
        <p:spPr>
          <a:xfrm rot="2700000">
            <a:off x="6239608" y="4414453"/>
            <a:ext cx="604805" cy="604805"/>
          </a:xfrm>
          <a:prstGeom prst="plus">
            <a:avLst>
              <a:gd name="adj" fmla="val 40578"/>
            </a:avLst>
          </a:prstGeom>
          <a:solidFill>
            <a:srgbClr val="868686"/>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grpSp>
        <p:nvGrpSpPr>
          <p:cNvPr id="143" name="Group 6"/>
          <p:cNvGrpSpPr>
            <a:grpSpLocks noChangeAspect="1"/>
          </p:cNvGrpSpPr>
          <p:nvPr/>
        </p:nvGrpSpPr>
        <p:grpSpPr bwMode="auto">
          <a:xfrm>
            <a:off x="8642328" y="4654612"/>
            <a:ext cx="184104" cy="305103"/>
            <a:chOff x="1679" y="1689"/>
            <a:chExt cx="318" cy="527"/>
          </a:xfrm>
        </p:grpSpPr>
        <p:sp>
          <p:nvSpPr>
            <p:cNvPr id="144" name="Oval 7"/>
            <p:cNvSpPr>
              <a:spLocks noChangeArrowheads="1"/>
            </p:cNvSpPr>
            <p:nvPr/>
          </p:nvSpPr>
          <p:spPr bwMode="auto">
            <a:xfrm>
              <a:off x="1740" y="1689"/>
              <a:ext cx="197" cy="198"/>
            </a:xfrm>
            <a:prstGeom prst="ellipse">
              <a:avLst/>
            </a:prstGeom>
            <a:solidFill>
              <a:srgbClr val="0F99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5" name="Freeform 8"/>
            <p:cNvSpPr>
              <a:spLocks/>
            </p:cNvSpPr>
            <p:nvPr/>
          </p:nvSpPr>
          <p:spPr bwMode="auto">
            <a:xfrm>
              <a:off x="1679"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0F99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146" name="正方形/長方形 145"/>
          <p:cNvSpPr/>
          <p:nvPr/>
        </p:nvSpPr>
        <p:spPr>
          <a:xfrm>
            <a:off x="7431541" y="4276085"/>
            <a:ext cx="866056" cy="239164"/>
          </a:xfrm>
          <a:prstGeom prst="rect">
            <a:avLst/>
          </a:prstGeom>
        </p:spPr>
        <p:txBody>
          <a:bodyPr wrap="square" lIns="0" tIns="0" rIns="0" bIns="0">
            <a:noAutofit/>
          </a:bodyPr>
          <a:lstStyle/>
          <a:p>
            <a:pPr marL="0" lvl="1" algn="ctr" fontAlgn="ctr">
              <a:lnSpc>
                <a:spcPct val="120000"/>
              </a:lnSpc>
              <a:buClr>
                <a:srgbClr val="83A4D1"/>
              </a:buClr>
              <a:buSzPct val="80000"/>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薬剤師に</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直接相談</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5972339" y="4077115"/>
            <a:ext cx="1176690" cy="472970"/>
          </a:xfrm>
          <a:prstGeom prst="rect">
            <a:avLst/>
          </a:prstGeom>
        </p:spPr>
        <p:txBody>
          <a:bodyPr wrap="square" lIns="0" tIns="0" rIns="0" bIns="0">
            <a:noAutofit/>
          </a:bodyPr>
          <a:lstStyle/>
          <a:p>
            <a:pPr marL="0" lvl="1" algn="ctr" fontAlgn="ctr">
              <a:lnSpc>
                <a:spcPct val="120000"/>
              </a:lnSpc>
              <a:buClr>
                <a:srgbClr val="83A4D1"/>
              </a:buClr>
              <a:buSzPct val="80000"/>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富裕層以外の患者は、病院に行かず</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5162763" y="4985490"/>
            <a:ext cx="1500498" cy="387726"/>
          </a:xfrm>
          <a:prstGeom prst="rect">
            <a:avLst/>
          </a:prstGeom>
        </p:spPr>
        <p:txBody>
          <a:bodyPr wrap="square" lIns="0" tIns="0" rIns="0" bIns="0">
            <a:noAutofit/>
          </a:bodyPr>
          <a:lstStyle/>
          <a:p>
            <a:pPr marL="104775" lvl="1" indent="-104775" algn="just" fontAlgn="ctr">
              <a:lnSpc>
                <a:spcPct val="120000"/>
              </a:lnSpc>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公立病院は設備が悪い</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04775" lvl="1" indent="-104775" algn="just" fontAlgn="ctr">
              <a:lnSpc>
                <a:spcPct val="120000"/>
              </a:lnSpc>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私立病院は価格が高い</a:t>
            </a:r>
            <a:endParaRPr lang="en-US" altLang="ja-JP"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90" name="Rectangle 6"/>
          <p:cNvSpPr>
            <a:spLocks noChangeArrowheads="1"/>
          </p:cNvSpPr>
          <p:nvPr/>
        </p:nvSpPr>
        <p:spPr bwMode="auto">
          <a:xfrm rot="16200000">
            <a:off x="5325806" y="5692939"/>
            <a:ext cx="555371" cy="857684"/>
          </a:xfrm>
          <a:prstGeom prst="round2SameRect">
            <a:avLst>
              <a:gd name="adj1" fmla="val 6948"/>
              <a:gd name="adj2" fmla="val 0"/>
            </a:avLst>
          </a:prstGeom>
          <a:solidFill>
            <a:srgbClr val="A2BBDC"/>
          </a:solidFill>
          <a:ln w="12700" cap="flat" cmpd="sng" algn="ctr">
            <a:solidFill>
              <a:srgbClr val="A2BBDC"/>
            </a:solidFill>
            <a:prstDash val="solid"/>
            <a:miter lim="800000"/>
            <a:headEnd type="none" w="med" len="med"/>
            <a:tailEnd type="none" w="med" len="med"/>
          </a:ln>
        </p:spPr>
        <p:txBody>
          <a:bodyPr vert="eaVert" wrap="square" lIns="0" tIns="72000" rIns="0" bIns="10800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100" b="1" dirty="0">
                <a:cs typeface="Arial" panose="020B0604020202020204" pitchFamily="34" charset="0"/>
              </a:rPr>
              <a:t>マージン率</a:t>
            </a:r>
            <a:endParaRPr lang="en-US" altLang="ko-KR" sz="1100" b="1" dirty="0">
              <a:cs typeface="Arial" panose="020B0604020202020204" pitchFamily="34" charset="0"/>
            </a:endParaRPr>
          </a:p>
        </p:txBody>
      </p:sp>
      <p:sp>
        <p:nvSpPr>
          <p:cNvPr id="94" name="正方形/長方形 93"/>
          <p:cNvSpPr/>
          <p:nvPr/>
        </p:nvSpPr>
        <p:spPr>
          <a:xfrm>
            <a:off x="8173098" y="4953198"/>
            <a:ext cx="919194" cy="239164"/>
          </a:xfrm>
          <a:prstGeom prst="rect">
            <a:avLst/>
          </a:prstGeom>
        </p:spPr>
        <p:txBody>
          <a:bodyPr wrap="square" lIns="0" tIns="0" rIns="0" bIns="0">
            <a:noAutofit/>
          </a:bodyPr>
          <a:lstStyle/>
          <a:p>
            <a:pPr marL="0" lvl="1" algn="ctr" fontAlgn="ctr">
              <a:lnSpc>
                <a:spcPct val="120000"/>
              </a:lnSpc>
              <a:buClr>
                <a:srgbClr val="83A4D1"/>
              </a:buClr>
              <a:buSzPct val="80000"/>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薬剤師の影響力が強い</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正方形/長方形 3"/>
          <p:cNvSpPr/>
          <p:nvPr/>
        </p:nvSpPr>
        <p:spPr>
          <a:xfrm>
            <a:off x="1496616" y="3356992"/>
            <a:ext cx="2108911" cy="261610"/>
          </a:xfrm>
          <a:prstGeom prst="rect">
            <a:avLst/>
          </a:prstGeom>
        </p:spPr>
        <p:txBody>
          <a:bodyPr wrap="none" lIns="0">
            <a:noAutofit/>
          </a:bodyPr>
          <a:lstStyle/>
          <a:p>
            <a:pPr fontAlgn="ctr">
              <a:lnSpc>
                <a:spcPct val="110000"/>
              </a:lnSpc>
              <a:spcAft>
                <a:spcPts val="200"/>
              </a:spcAft>
              <a:buClr>
                <a:srgbClr val="5F8AC3"/>
              </a:buCl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に、政府による入札もある。</a:t>
            </a:r>
          </a:p>
        </p:txBody>
      </p:sp>
      <p:sp>
        <p:nvSpPr>
          <p:cNvPr id="95" name="テキスト ボックス 9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薬品の民間取引のうち、医薬品卸を介した取引が</a:t>
            </a:r>
            <a:r>
              <a:rPr lang="en-US" altLang="ja-JP" sz="1400" dirty="0"/>
              <a:t>80%</a:t>
            </a:r>
            <a:r>
              <a:rPr lang="ja-JP" altLang="en-US" sz="1400" dirty="0" err="1"/>
              <a:t>、</a:t>
            </a:r>
            <a:r>
              <a:rPr lang="ja-JP" altLang="en-US" sz="1400" dirty="0"/>
              <a:t>薬局との直接取引が</a:t>
            </a:r>
            <a:r>
              <a:rPr lang="en-US" altLang="ja-JP" sz="1400" dirty="0"/>
              <a:t>20%</a:t>
            </a:r>
            <a:r>
              <a:rPr lang="ja-JP" altLang="en-US" sz="1400" dirty="0"/>
              <a:t>である（売上ベース）。</a:t>
            </a:r>
            <a:endParaRPr lang="en-US" altLang="ja-JP" sz="1400" dirty="0"/>
          </a:p>
        </p:txBody>
      </p:sp>
    </p:spTree>
    <p:extLst>
      <p:ext uri="{BB962C8B-B14F-4D97-AF65-F5344CB8AC3E}">
        <p14:creationId xmlns:p14="http://schemas.microsoft.com/office/powerpoint/2010/main" val="189876559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23" imgW="444" imgH="443" progId="TCLayout.ActiveDocument.1">
                  <p:embed/>
                </p:oleObj>
              </mc:Choice>
              <mc:Fallback>
                <p:oleObj name="think-cell Slide" r:id="rId2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ブラジル／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米ドル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graphicFrame>
        <p:nvGraphicFramePr>
          <p:cNvPr id="60" name="Chart 59">
            <a:extLst>
              <a:ext uri="{FF2B5EF4-FFF2-40B4-BE49-F238E27FC236}">
                <a16:creationId xmlns:a16="http://schemas.microsoft.com/office/drawing/2014/main" id="{F2CD2CAA-79C5-4835-A929-F1969D80ECD8}"/>
              </a:ext>
            </a:extLst>
          </p:cNvPr>
          <p:cNvGraphicFramePr/>
          <p:nvPr>
            <p:custDataLst>
              <p:tags r:id="rId4"/>
            </p:custDataLst>
          </p:nvPr>
        </p:nvGraphicFramePr>
        <p:xfrm>
          <a:off x="766763" y="2286000"/>
          <a:ext cx="8156575" cy="3673475"/>
        </p:xfrm>
        <a:graphic>
          <a:graphicData uri="http://schemas.openxmlformats.org/drawingml/2006/chart">
            <c:chart xmlns:c="http://schemas.openxmlformats.org/drawingml/2006/chart" xmlns:r="http://schemas.openxmlformats.org/officeDocument/2006/relationships" r:id="rId25"/>
          </a:graphicData>
        </a:graphic>
      </p:graphicFrame>
      <p:sp>
        <p:nvSpPr>
          <p:cNvPr id="28" name="テキスト プレースホルダ 9">
            <a:extLst>
              <a:ext uri="{FF2B5EF4-FFF2-40B4-BE49-F238E27FC236}">
                <a16:creationId xmlns:a16="http://schemas.microsoft.com/office/drawing/2014/main" id="{9E1855EC-E0EA-4D69-968D-0E1A5D35B6D7}"/>
              </a:ext>
            </a:extLst>
          </p:cNvPr>
          <p:cNvSpPr>
            <a:spLocks noGrp="1"/>
          </p:cNvSpPr>
          <p:nvPr>
            <p:custDataLst>
              <p:tags r:id="rId5"/>
            </p:custDataLst>
          </p:nvPr>
        </p:nvSpPr>
        <p:spPr bwMode="gray">
          <a:xfrm>
            <a:off x="650875"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1B3D540-1D01-48A1-81EC-0E69E5720220}" type="datetime'''''''0'''''''''''''''''''''''''''">
              <a:rPr lang="en-US" altLang="en-US" sz="1000" smtClean="0">
                <a:effectLst/>
                <a:sym typeface="+mn-lt"/>
              </a:rPr>
              <a:pPr marL="0" indent="0" algn="r">
                <a:spcBef>
                  <a:spcPct val="0"/>
                </a:spcBef>
                <a:buNone/>
              </a:pPr>
              <a:t>0</a:t>
            </a:fld>
            <a:endParaRPr lang="ja-JP" altLang="en-US" sz="1000" dirty="0">
              <a:sym typeface="+mn-lt"/>
            </a:endParaRPr>
          </a:p>
        </p:txBody>
      </p:sp>
      <p:sp>
        <p:nvSpPr>
          <p:cNvPr id="33" name="テキスト プレースホルダ 9">
            <a:extLst>
              <a:ext uri="{FF2B5EF4-FFF2-40B4-BE49-F238E27FC236}">
                <a16:creationId xmlns:a16="http://schemas.microsoft.com/office/drawing/2014/main" id="{CCC4D64D-CDE9-4D43-A81E-861865117773}"/>
              </a:ext>
            </a:extLst>
          </p:cNvPr>
          <p:cNvSpPr>
            <a:spLocks noGrp="1"/>
          </p:cNvSpPr>
          <p:nvPr>
            <p:custDataLst>
              <p:tags r:id="rId6"/>
            </p:custDataLst>
          </p:nvPr>
        </p:nvSpPr>
        <p:spPr bwMode="gray">
          <a:xfrm>
            <a:off x="581025" y="49244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515938B-42D5-413B-A65A-E544BED5AC55}" type="datetime'''''''1''''''''''''''''0'">
              <a:rPr lang="en-US" altLang="en-US" sz="1000" smtClean="0">
                <a:effectLst/>
                <a:sym typeface="+mn-lt"/>
              </a:rPr>
              <a:pPr marL="0" indent="0" algn="r">
                <a:spcBef>
                  <a:spcPct val="0"/>
                </a:spcBef>
                <a:buNone/>
              </a:pPr>
              <a:t>10</a:t>
            </a:fld>
            <a:endParaRPr lang="ja-JP" altLang="en-US" sz="1000" dirty="0">
              <a:sym typeface="+mn-lt"/>
            </a:endParaRPr>
          </a:p>
        </p:txBody>
      </p:sp>
      <p:sp>
        <p:nvSpPr>
          <p:cNvPr id="43" name="テキスト プレースホルダ 9">
            <a:extLst>
              <a:ext uri="{FF2B5EF4-FFF2-40B4-BE49-F238E27FC236}">
                <a16:creationId xmlns:a16="http://schemas.microsoft.com/office/drawing/2014/main" id="{B9B53D0A-1ECD-48B5-9917-E20D8734BFEE}"/>
              </a:ext>
            </a:extLst>
          </p:cNvPr>
          <p:cNvSpPr>
            <a:spLocks noGrp="1"/>
          </p:cNvSpPr>
          <p:nvPr>
            <p:custDataLst>
              <p:tags r:id="rId7"/>
            </p:custDataLst>
          </p:nvPr>
        </p:nvSpPr>
        <p:spPr bwMode="gray">
          <a:xfrm>
            <a:off x="581025" y="40465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FC1193E-6171-49CB-BA45-662AB22E6BBA}" type="datetime'''''2''''''''''''''''''''0'''''''''''''''''''''">
              <a:rPr lang="en-US" altLang="en-US" sz="1000" smtClean="0">
                <a:effectLst/>
                <a:sym typeface="+mn-lt"/>
              </a:rPr>
              <a:pPr marL="0" indent="0" algn="r">
                <a:spcBef>
                  <a:spcPct val="0"/>
                </a:spcBef>
                <a:buNone/>
              </a:pPr>
              <a:t>20</a:t>
            </a:fld>
            <a:endParaRPr lang="ja-JP" altLang="en-US" sz="1000" dirty="0">
              <a:sym typeface="+mn-lt"/>
            </a:endParaRPr>
          </a:p>
        </p:txBody>
      </p:sp>
      <p:sp>
        <p:nvSpPr>
          <p:cNvPr id="49" name="テキスト プレースホルダ 9">
            <a:extLst>
              <a:ext uri="{FF2B5EF4-FFF2-40B4-BE49-F238E27FC236}">
                <a16:creationId xmlns:a16="http://schemas.microsoft.com/office/drawing/2014/main" id="{7051B4D2-C104-402B-A66E-08419D209E2B}"/>
              </a:ext>
            </a:extLst>
          </p:cNvPr>
          <p:cNvSpPr>
            <a:spLocks noGrp="1"/>
          </p:cNvSpPr>
          <p:nvPr>
            <p:custDataLst>
              <p:tags r:id="rId8"/>
            </p:custDataLst>
          </p:nvPr>
        </p:nvSpPr>
        <p:spPr bwMode="gray">
          <a:xfrm>
            <a:off x="581025" y="31702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AAEA28E-FACC-4F32-99D3-D0490B6C6FAE}" type="datetime'''''''''''''''''''''''''3''''''''''''0'''''''''''''''''''''">
              <a:rPr lang="en-US" altLang="en-US" sz="1000" smtClean="0">
                <a:effectLst/>
                <a:sym typeface="+mn-lt"/>
              </a:rPr>
              <a:pPr marL="0" indent="0" algn="r">
                <a:spcBef>
                  <a:spcPct val="0"/>
                </a:spcBef>
                <a:buNone/>
              </a:pPr>
              <a:t>30</a:t>
            </a:fld>
            <a:endParaRPr lang="ja-JP" altLang="en-US" sz="1000" dirty="0">
              <a:sym typeface="+mn-lt"/>
            </a:endParaRPr>
          </a:p>
        </p:txBody>
      </p:sp>
      <p:sp>
        <p:nvSpPr>
          <p:cNvPr id="54" name="テキスト プレースホルダ 9">
            <a:extLst>
              <a:ext uri="{FF2B5EF4-FFF2-40B4-BE49-F238E27FC236}">
                <a16:creationId xmlns:a16="http://schemas.microsoft.com/office/drawing/2014/main" id="{A4D69920-F16E-4AF5-A648-90BD41FD598F}"/>
              </a:ext>
            </a:extLst>
          </p:cNvPr>
          <p:cNvSpPr>
            <a:spLocks noGrp="1"/>
          </p:cNvSpPr>
          <p:nvPr>
            <p:custDataLst>
              <p:tags r:id="rId9"/>
            </p:custDataLst>
          </p:nvPr>
        </p:nvSpPr>
        <p:spPr bwMode="gray">
          <a:xfrm>
            <a:off x="650875" y="53625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3D7E31B-CADD-45E1-AB7D-792AD5006860}" type="datetime'''''''''''''''''''''''''''''''5'''''''''''''''''''''''">
              <a:rPr lang="en-US" altLang="en-US" sz="1000" smtClean="0">
                <a:effectLst/>
                <a:sym typeface="+mn-lt"/>
              </a:rPr>
              <a:pPr marL="0" indent="0" algn="r">
                <a:spcBef>
                  <a:spcPct val="0"/>
                </a:spcBef>
                <a:buNone/>
              </a:pPr>
              <a:t>5</a:t>
            </a:fld>
            <a:endParaRPr lang="ja-JP" altLang="en-US" sz="1000" dirty="0">
              <a:sym typeface="+mn-lt"/>
            </a:endParaRPr>
          </a:p>
        </p:txBody>
      </p:sp>
      <p:sp>
        <p:nvSpPr>
          <p:cNvPr id="56" name="テキスト プレースホルダ 9">
            <a:extLst>
              <a:ext uri="{FF2B5EF4-FFF2-40B4-BE49-F238E27FC236}">
                <a16:creationId xmlns:a16="http://schemas.microsoft.com/office/drawing/2014/main" id="{CC901A0E-2BD6-4CEC-B4EB-4D35267E6D62}"/>
              </a:ext>
            </a:extLst>
          </p:cNvPr>
          <p:cNvSpPr>
            <a:spLocks noGrp="1"/>
          </p:cNvSpPr>
          <p:nvPr>
            <p:custDataLst>
              <p:tags r:id="rId10"/>
            </p:custDataLst>
          </p:nvPr>
        </p:nvSpPr>
        <p:spPr bwMode="gray">
          <a:xfrm>
            <a:off x="581025" y="44846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C912B0D-6A0E-41DE-BB14-611B7A295FC5}" type="datetime'''''''''''''''''''''''''''''1''''''''5'''''''''''''''">
              <a:rPr lang="en-US" altLang="en-US" sz="1000" smtClean="0">
                <a:effectLst/>
                <a:sym typeface="+mn-lt"/>
              </a:rPr>
              <a:pPr marL="0" indent="0" algn="r">
                <a:spcBef>
                  <a:spcPct val="0"/>
                </a:spcBef>
                <a:buNone/>
              </a:pPr>
              <a:t>15</a:t>
            </a:fld>
            <a:endParaRPr lang="ja-JP" altLang="en-US" sz="1000" dirty="0">
              <a:sym typeface="+mn-lt"/>
            </a:endParaRPr>
          </a:p>
        </p:txBody>
      </p:sp>
      <p:sp>
        <p:nvSpPr>
          <p:cNvPr id="57" name="テキスト プレースホルダ 9">
            <a:extLst>
              <a:ext uri="{FF2B5EF4-FFF2-40B4-BE49-F238E27FC236}">
                <a16:creationId xmlns:a16="http://schemas.microsoft.com/office/drawing/2014/main" id="{F9E9A6D2-E9A2-488B-BA02-FAD11D7308B6}"/>
              </a:ext>
            </a:extLst>
          </p:cNvPr>
          <p:cNvSpPr>
            <a:spLocks noGrp="1"/>
          </p:cNvSpPr>
          <p:nvPr>
            <p:custDataLst>
              <p:tags r:id="rId11"/>
            </p:custDataLst>
          </p:nvPr>
        </p:nvSpPr>
        <p:spPr bwMode="gray">
          <a:xfrm>
            <a:off x="581025" y="3608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92B62CF-7BC6-4352-9ED2-5BD43D56634F}" type="datetime'''''''''2''''''''''''''''''''''''''''''5'">
              <a:rPr lang="en-US" altLang="en-US" sz="1000" smtClean="0">
                <a:effectLst/>
                <a:sym typeface="+mn-lt"/>
              </a:rPr>
              <a:pPr marL="0" indent="0" algn="r">
                <a:spcBef>
                  <a:spcPct val="0"/>
                </a:spcBef>
                <a:buNone/>
              </a:pPr>
              <a:t>25</a:t>
            </a:fld>
            <a:endParaRPr lang="ja-JP" altLang="en-US" sz="1000" dirty="0">
              <a:sym typeface="+mn-lt"/>
            </a:endParaRPr>
          </a:p>
        </p:txBody>
      </p:sp>
      <p:sp>
        <p:nvSpPr>
          <p:cNvPr id="58" name="テキスト プレースホルダ 9">
            <a:extLst>
              <a:ext uri="{FF2B5EF4-FFF2-40B4-BE49-F238E27FC236}">
                <a16:creationId xmlns:a16="http://schemas.microsoft.com/office/drawing/2014/main" id="{CE9A3D63-D69F-4B49-9BA2-A2B085636FBD}"/>
              </a:ext>
            </a:extLst>
          </p:cNvPr>
          <p:cNvSpPr>
            <a:spLocks noGrp="1"/>
          </p:cNvSpPr>
          <p:nvPr>
            <p:custDataLst>
              <p:tags r:id="rId12"/>
            </p:custDataLst>
          </p:nvPr>
        </p:nvSpPr>
        <p:spPr bwMode="gray">
          <a:xfrm>
            <a:off x="581025" y="2730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B2D0AFE-09AB-4E45-8A9B-97F12694D9F4}" type="datetime'3''''''''''''''''''5'''''''''''''''''''''''">
              <a:rPr lang="en-US" altLang="en-US" sz="1000" smtClean="0">
                <a:effectLst/>
                <a:sym typeface="+mn-lt"/>
              </a:rPr>
              <a:pPr marL="0" indent="0" algn="r">
                <a:spcBef>
                  <a:spcPct val="0"/>
                </a:spcBef>
                <a:buNone/>
              </a:pPr>
              <a:t>35</a:t>
            </a:fld>
            <a:endParaRPr lang="ja-JP" altLang="en-US" sz="1000" dirty="0">
              <a:sym typeface="+mn-lt"/>
            </a:endParaRPr>
          </a:p>
        </p:txBody>
      </p:sp>
      <p:sp>
        <p:nvSpPr>
          <p:cNvPr id="59" name="テキスト プレースホルダ 9">
            <a:extLst>
              <a:ext uri="{FF2B5EF4-FFF2-40B4-BE49-F238E27FC236}">
                <a16:creationId xmlns:a16="http://schemas.microsoft.com/office/drawing/2014/main" id="{5152FF4B-68FD-46B2-A402-E279C97A512D}"/>
              </a:ext>
            </a:extLst>
          </p:cNvPr>
          <p:cNvSpPr>
            <a:spLocks noGrp="1"/>
          </p:cNvSpPr>
          <p:nvPr>
            <p:custDataLst>
              <p:tags r:id="rId13"/>
            </p:custDataLst>
          </p:nvPr>
        </p:nvSpPr>
        <p:spPr bwMode="gray">
          <a:xfrm>
            <a:off x="581025" y="2292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7B15521-856E-4ED2-B1D7-77AB094EF78B}" type="datetime'''4''''''''''''''''''''''0'''''''''''''''''''">
              <a:rPr lang="en-US" altLang="en-US" sz="1000" smtClean="0">
                <a:effectLst/>
                <a:sym typeface="+mn-lt"/>
              </a:rPr>
              <a:pPr marL="0" indent="0" algn="r">
                <a:spcBef>
                  <a:spcPct val="0"/>
                </a:spcBef>
                <a:buNone/>
              </a:pPr>
              <a:t>40</a:t>
            </a:fld>
            <a:endParaRPr lang="ja-JP" altLang="en-US" sz="1000" dirty="0">
              <a:sym typeface="+mn-lt"/>
            </a:endParaRPr>
          </a:p>
        </p:txBody>
      </p:sp>
      <p:sp>
        <p:nvSpPr>
          <p:cNvPr id="22" name="テキスト プレースホルダ 9">
            <a:extLst>
              <a:ext uri="{FF2B5EF4-FFF2-40B4-BE49-F238E27FC236}">
                <a16:creationId xmlns:a16="http://schemas.microsoft.com/office/drawing/2014/main" id="{F0C09696-AD39-4051-910A-462E3AE98C9A}"/>
              </a:ext>
            </a:extLst>
          </p:cNvPr>
          <p:cNvSpPr>
            <a:spLocks noGrp="1"/>
          </p:cNvSpPr>
          <p:nvPr>
            <p:custDataLst>
              <p:tags r:id="rId14"/>
            </p:custDataLst>
          </p:nvPr>
        </p:nvSpPr>
        <p:spPr bwMode="gray">
          <a:xfrm>
            <a:off x="881063" y="29368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0F086F-A122-4C39-9807-8133D42A4F8E}" type="datetime'''''''''''''''''''''''''''''3''0''''''''''.''''''''''7'''''''">
              <a:rPr lang="en-US" altLang="en-US" sz="1000" smtClean="0"/>
              <a:pPr/>
              <a:t>30.7</a:t>
            </a:fld>
            <a:endParaRPr lang="ja-JP" altLang="en-US" sz="1000" dirty="0">
              <a:sym typeface="+mn-lt"/>
            </a:endParaRPr>
          </a:p>
        </p:txBody>
      </p:sp>
      <p:sp>
        <p:nvSpPr>
          <p:cNvPr id="93" name="テキスト プレースホルダ 9"/>
          <p:cNvSpPr>
            <a:spLocks noGrp="1"/>
          </p:cNvSpPr>
          <p:nvPr>
            <p:custDataLst>
              <p:tags r:id="rId15"/>
            </p:custDataLst>
          </p:nvPr>
        </p:nvSpPr>
        <p:spPr bwMode="auto">
          <a:xfrm>
            <a:off x="61007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1000" dirty="0">
              <a:sym typeface="+mn-lt"/>
            </a:endParaRPr>
          </a:p>
        </p:txBody>
      </p:sp>
      <p:sp>
        <p:nvSpPr>
          <p:cNvPr id="65" name="テキスト プレースホルダ 9"/>
          <p:cNvSpPr>
            <a:spLocks noGrp="1"/>
          </p:cNvSpPr>
          <p:nvPr>
            <p:custDataLst>
              <p:tags r:id="rId16"/>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1000" dirty="0">
              <a:sym typeface="+mn-lt"/>
            </a:endParaRPr>
          </a:p>
        </p:txBody>
      </p:sp>
      <p:sp>
        <p:nvSpPr>
          <p:cNvPr id="25" name="テキスト プレースホルダ 9">
            <a:extLst>
              <a:ext uri="{FF2B5EF4-FFF2-40B4-BE49-F238E27FC236}">
                <a16:creationId xmlns:a16="http://schemas.microsoft.com/office/drawing/2014/main" id="{AF8325B4-2A98-4460-AD32-634562723112}"/>
              </a:ext>
            </a:extLst>
          </p:cNvPr>
          <p:cNvSpPr>
            <a:spLocks noGrp="1"/>
          </p:cNvSpPr>
          <p:nvPr>
            <p:custDataLst>
              <p:tags r:id="rId17"/>
            </p:custDataLst>
          </p:nvPr>
        </p:nvSpPr>
        <p:spPr bwMode="gray">
          <a:xfrm>
            <a:off x="3373438" y="24130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B5C668-3654-4F53-92B6-1C537296035E}" type="datetime'3''''6''''''''''''''.''''''''''''''''7'''''">
              <a:rPr lang="en-US" altLang="en-US" sz="1000" smtClean="0">
                <a:effectLst/>
                <a:sym typeface="+mn-lt"/>
              </a:rPr>
              <a:pPr marL="0" indent="0" algn="ctr">
                <a:spcBef>
                  <a:spcPct val="0"/>
                </a:spcBef>
                <a:buNone/>
              </a:pPr>
              <a:t>36.7</a:t>
            </a:fld>
            <a:endParaRPr lang="ja-JP" altLang="en-US" sz="1000" dirty="0">
              <a:sym typeface="+mn-lt"/>
            </a:endParaRPr>
          </a:p>
        </p:txBody>
      </p:sp>
      <p:sp>
        <p:nvSpPr>
          <p:cNvPr id="62" name="テキスト プレースホルダ 9"/>
          <p:cNvSpPr>
            <a:spLocks noGrp="1"/>
          </p:cNvSpPr>
          <p:nvPr>
            <p:custDataLst>
              <p:tags r:id="rId18"/>
            </p:custDataLst>
          </p:nvPr>
        </p:nvSpPr>
        <p:spPr bwMode="auto">
          <a:xfrm>
            <a:off x="34369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1000" dirty="0">
              <a:sym typeface="+mn-lt"/>
            </a:endParaRPr>
          </a:p>
        </p:txBody>
      </p:sp>
      <p:sp>
        <p:nvSpPr>
          <p:cNvPr id="26" name="テキスト プレースホルダ 9">
            <a:extLst>
              <a:ext uri="{FF2B5EF4-FFF2-40B4-BE49-F238E27FC236}">
                <a16:creationId xmlns:a16="http://schemas.microsoft.com/office/drawing/2014/main" id="{B1398DCA-6D14-4D56-88E8-9EF12E504964}"/>
              </a:ext>
            </a:extLst>
          </p:cNvPr>
          <p:cNvSpPr>
            <a:spLocks noGrp="1"/>
          </p:cNvSpPr>
          <p:nvPr>
            <p:custDataLst>
              <p:tags r:id="rId19"/>
            </p:custDataLst>
          </p:nvPr>
        </p:nvSpPr>
        <p:spPr bwMode="gray">
          <a:xfrm>
            <a:off x="6037263" y="26812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83CE10-31FE-4549-92FF-A4185D2E3B52}" type="datetime'''''''''''''''3''''''''''''''3.''''''6'''''''''''''">
              <a:rPr lang="en-US" altLang="en-US" sz="1000" smtClean="0">
                <a:effectLst/>
                <a:sym typeface="+mn-lt"/>
              </a:rPr>
              <a:pPr marL="0" indent="0" algn="ctr">
                <a:spcBef>
                  <a:spcPct val="0"/>
                </a:spcBef>
                <a:buNone/>
              </a:pPr>
              <a:t>33.6</a:t>
            </a:fld>
            <a:endParaRPr lang="ja-JP" altLang="en-US" sz="1000" dirty="0">
              <a:sym typeface="+mn-lt"/>
            </a:endParaRPr>
          </a:p>
        </p:txBody>
      </p:sp>
      <p:sp>
        <p:nvSpPr>
          <p:cNvPr id="27" name="テキスト プレースホルダ 9">
            <a:extLst>
              <a:ext uri="{FF2B5EF4-FFF2-40B4-BE49-F238E27FC236}">
                <a16:creationId xmlns:a16="http://schemas.microsoft.com/office/drawing/2014/main" id="{A0F51B1D-3CC9-4116-9D34-A15C2AFEA8AA}"/>
              </a:ext>
            </a:extLst>
          </p:cNvPr>
          <p:cNvSpPr>
            <a:spLocks noGrp="1"/>
          </p:cNvSpPr>
          <p:nvPr>
            <p:custDataLst>
              <p:tags r:id="rId20"/>
            </p:custDataLst>
          </p:nvPr>
        </p:nvSpPr>
        <p:spPr bwMode="gray">
          <a:xfrm>
            <a:off x="8701088" y="27860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4662F6-4477-4263-88AB-6C13F237AE2F}" type="datetime'''''''''''''''''''''''''''''''''3''''''''''''''''''2.4'''''''">
              <a:rPr lang="en-US" altLang="en-US" sz="1000" smtClean="0">
                <a:effectLst/>
                <a:sym typeface="+mn-lt"/>
              </a:rPr>
              <a:pPr marL="0" indent="0" algn="ctr">
                <a:spcBef>
                  <a:spcPct val="0"/>
                </a:spcBef>
                <a:buNone/>
              </a:pPr>
              <a:t>32.4</a:t>
            </a:fld>
            <a:endParaRPr lang="ja-JP" altLang="en-US" sz="1000" dirty="0">
              <a:sym typeface="+mn-lt"/>
            </a:endParaRPr>
          </a:p>
        </p:txBody>
      </p:sp>
      <p:sp>
        <p:nvSpPr>
          <p:cNvPr id="95" name="テキスト プレースホルダ 9"/>
          <p:cNvSpPr>
            <a:spLocks noGrp="1"/>
          </p:cNvSpPr>
          <p:nvPr>
            <p:custDataLst>
              <p:tags r:id="rId21"/>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502980-209F-40A7-A726-2125BAE26324}" type="datetime'''''''''''1''''''''''''''''''''''''9'">
              <a:rPr lang="en-US" altLang="en-US" sz="1000" smtClean="0"/>
              <a:pPr/>
              <a:t>19</a:t>
            </a:fld>
            <a:endParaRPr kumimoji="0" lang="ja-JP" altLang="en-US" sz="1000" dirty="0">
              <a:sym typeface="+mn-lt"/>
            </a:endParaRPr>
          </a:p>
        </p:txBody>
      </p:sp>
    </p:spTree>
    <p:extLst>
      <p:ext uri="{BB962C8B-B14F-4D97-AF65-F5344CB8AC3E}">
        <p14:creationId xmlns:p14="http://schemas.microsoft.com/office/powerpoint/2010/main" val="71104499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1146956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ブラジル／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ブラジル</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富士経済「</a:t>
            </a:r>
            <a:r>
              <a:rPr lang="ja-JP" altLang="en-US" sz="800" dirty="0"/>
              <a:t>注目「高齢者」施設･住宅</a:t>
            </a:r>
            <a:r>
              <a:rPr lang="en-US" altLang="ja-JP" sz="800" dirty="0"/>
              <a:t>&amp;</a:t>
            </a:r>
            <a:r>
              <a:rPr lang="ja-JP" altLang="en-US" sz="800" dirty="0"/>
              <a:t>介護関連市場の商圏分析と将来性 </a:t>
            </a:r>
            <a:r>
              <a:rPr lang="en-US" altLang="ja-JP" sz="800" dirty="0"/>
              <a:t>2018</a:t>
            </a:r>
            <a:r>
              <a:rPr lang="ja-JP" altLang="en-US" sz="800" dirty="0"/>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a:p>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2488081246"/>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パラマウントベッド</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5619501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5" imgW="270" imgH="270" progId="TCLayout.ActiveDocument.1">
                  <p:embed/>
                </p:oleObj>
              </mc:Choice>
              <mc:Fallback>
                <p:oleObj name="think-cell Slide"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ブラジル／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7.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6.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5.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17.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F0E6B408-14BA-486D-B65C-C8D3007C1163}"/>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40187659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2509BA-1C72-4903-B5DD-53A63103AD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B12509BA-1C72-4903-B5DD-53A63103AD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その他</a:t>
            </a:r>
          </a:p>
        </p:txBody>
      </p:sp>
    </p:spTree>
    <p:extLst>
      <p:ext uri="{BB962C8B-B14F-4D97-AF65-F5344CB8AC3E}">
        <p14:creationId xmlns:p14="http://schemas.microsoft.com/office/powerpoint/2010/main" val="7892197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48E899-17E0-409A-AC17-751AEE5900BD}"/>
              </a:ext>
            </a:extLst>
          </p:cNvPr>
          <p:cNvGraphicFramePr>
            <a:graphicFrameLocks noChangeAspect="1"/>
          </p:cNvGraphicFramePr>
          <p:nvPr>
            <p:custDataLst>
              <p:tags r:id="rId2"/>
            </p:custDataLst>
            <p:extLst>
              <p:ext uri="{D42A27DB-BD31-4B8C-83A1-F6EECF244321}">
                <p14:modId xmlns:p14="http://schemas.microsoft.com/office/powerpoint/2010/main" val="1035192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FF48E899-17E0-409A-AC17-751AEE5900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ブラジル／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デジタルヘルス関連</a:t>
            </a:r>
            <a:endParaRPr lang="zh-CN" altLang="en-US" dirty="0"/>
          </a:p>
        </p:txBody>
      </p:sp>
      <p:sp>
        <p:nvSpPr>
          <p:cNvPr id="5" name="Rectangle 4">
            <a:extLst>
              <a:ext uri="{FF2B5EF4-FFF2-40B4-BE49-F238E27FC236}">
                <a16:creationId xmlns:a16="http://schemas.microsoft.com/office/drawing/2014/main" id="{9F317611-5BEF-4BAF-A32D-B03A85ABD8E5}"/>
              </a:ext>
            </a:extLst>
          </p:cNvPr>
          <p:cNvSpPr/>
          <p:nvPr/>
        </p:nvSpPr>
        <p:spPr>
          <a:xfrm>
            <a:off x="4863414" y="3174456"/>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37</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Rectangle 5">
            <a:extLst>
              <a:ext uri="{FF2B5EF4-FFF2-40B4-BE49-F238E27FC236}">
                <a16:creationId xmlns:a16="http://schemas.microsoft.com/office/drawing/2014/main" id="{2D077849-4191-4C36-A132-4FE53CEF0914}"/>
              </a:ext>
            </a:extLst>
          </p:cNvPr>
          <p:cNvSpPr/>
          <p:nvPr/>
        </p:nvSpPr>
        <p:spPr>
          <a:xfrm>
            <a:off x="4863414" y="2839182"/>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49</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Rectangle 6">
            <a:extLst>
              <a:ext uri="{FF2B5EF4-FFF2-40B4-BE49-F238E27FC236}">
                <a16:creationId xmlns:a16="http://schemas.microsoft.com/office/drawing/2014/main" id="{2BE4EF2E-08C1-462D-A2EB-E2D022670281}"/>
              </a:ext>
            </a:extLst>
          </p:cNvPr>
          <p:cNvSpPr/>
          <p:nvPr/>
        </p:nvSpPr>
        <p:spPr>
          <a:xfrm>
            <a:off x="4869234" y="2603817"/>
            <a:ext cx="4744487" cy="218614"/>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6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プレースホルダ 1">
            <a:extLst>
              <a:ext uri="{FF2B5EF4-FFF2-40B4-BE49-F238E27FC236}">
                <a16:creationId xmlns:a16="http://schemas.microsoft.com/office/drawing/2014/main" id="{6AD8BC23-F199-4471-ADFE-EA057E2B98DA}"/>
              </a:ext>
            </a:extLst>
          </p:cNvPr>
          <p:cNvSpPr txBox="1">
            <a:spLocks/>
          </p:cNvSpPr>
          <p:nvPr/>
        </p:nvSpPr>
        <p:spPr>
          <a:xfrm>
            <a:off x="290820" y="109673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200" dirty="0"/>
              <a:t>保健省は、</a:t>
            </a:r>
            <a:r>
              <a:rPr lang="en-US" altLang="ja-JP" sz="1200" dirty="0"/>
              <a:t>2020</a:t>
            </a:r>
            <a:r>
              <a:rPr lang="ja-JP" altLang="en-US" sz="1200" dirty="0"/>
              <a:t>年から</a:t>
            </a:r>
            <a:r>
              <a:rPr lang="en-US" altLang="ja-JP" sz="1200" dirty="0"/>
              <a:t>2028</a:t>
            </a:r>
            <a:r>
              <a:rPr lang="ja-JP" altLang="en-US" sz="1200" dirty="0"/>
              <a:t>年にかけて、公共システムにおけるデジタルソリューションとプラットフォームの統合を計画、整理、促進するため、「ブラジルのデジタル戦略」を策定している。</a:t>
            </a:r>
            <a:endParaRPr lang="ja-JP" altLang="en-US" sz="1138" dirty="0">
              <a:solidFill>
                <a:srgbClr val="000000"/>
              </a:solidFill>
            </a:endParaRPr>
          </a:p>
        </p:txBody>
      </p:sp>
      <p:graphicFrame>
        <p:nvGraphicFramePr>
          <p:cNvPr id="9" name="表 4">
            <a:extLst>
              <a:ext uri="{FF2B5EF4-FFF2-40B4-BE49-F238E27FC236}">
                <a16:creationId xmlns:a16="http://schemas.microsoft.com/office/drawing/2014/main" id="{4BD3F2ED-9E9F-4532-ADEE-72047EF7BB31}"/>
              </a:ext>
            </a:extLst>
          </p:cNvPr>
          <p:cNvGraphicFramePr>
            <a:graphicFrameLocks noGrp="1"/>
          </p:cNvGraphicFramePr>
          <p:nvPr>
            <p:extLst>
              <p:ext uri="{D42A27DB-BD31-4B8C-83A1-F6EECF244321}">
                <p14:modId xmlns:p14="http://schemas.microsoft.com/office/powerpoint/2010/main" val="49089308"/>
              </p:ext>
            </p:extLst>
          </p:nvPr>
        </p:nvGraphicFramePr>
        <p:xfrm>
          <a:off x="200025" y="2346896"/>
          <a:ext cx="9438944" cy="3582654"/>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ブラジル</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96.8</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7.1</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21</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ja-JP" altLang="en-US" sz="900" dirty="0"/>
                        <a:t>保健省は、</a:t>
                      </a:r>
                      <a:r>
                        <a:rPr lang="en-US" altLang="ja-JP" sz="900" dirty="0"/>
                        <a:t>SUS</a:t>
                      </a:r>
                      <a:r>
                        <a:rPr lang="ja-JP" altLang="en-US" sz="900" dirty="0"/>
                        <a:t>（統一医療システム）の公的基礎医療部門のデジタル化のために</a:t>
                      </a:r>
                      <a:r>
                        <a:rPr lang="en-US" altLang="ja-JP" sz="900" dirty="0"/>
                        <a:t>2020</a:t>
                      </a:r>
                      <a:r>
                        <a:rPr lang="ja-JP" altLang="en-US" sz="900" dirty="0"/>
                        <a:t>年までに</a:t>
                      </a:r>
                      <a:r>
                        <a:rPr lang="en-US" altLang="ja-JP" sz="900" dirty="0"/>
                        <a:t>8300</a:t>
                      </a:r>
                      <a:r>
                        <a:rPr lang="ja-JP" altLang="en-US" sz="900" dirty="0"/>
                        <a:t>万米ドルを投資すると発表。</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SUS</a:t>
                      </a:r>
                      <a:r>
                        <a:rPr lang="ja-JP" altLang="en-US" sz="900" dirty="0"/>
                        <a:t>（統一医療システム）におけるデータ収集等は、ブラジルのデータ保護法</a:t>
                      </a:r>
                      <a:r>
                        <a:rPr lang="en-US" altLang="ja-JP" sz="900" dirty="0"/>
                        <a:t>-LGPD</a:t>
                      </a:r>
                      <a:r>
                        <a:rPr lang="ja-JP" altLang="en-US" sz="900" dirty="0"/>
                        <a:t>に準拠して規制され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サンパウロ大学（</a:t>
                      </a:r>
                      <a:r>
                        <a:rPr lang="en-US" altLang="ja-JP" sz="900" dirty="0"/>
                        <a:t>USP</a:t>
                      </a:r>
                      <a:r>
                        <a:rPr lang="ja-JP" altLang="en-US" sz="900" dirty="0"/>
                        <a:t>）の大学病院は、医療情報管理の技術と実践を広める連盟に加盟し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病院レベルでは</a:t>
                      </a:r>
                      <a:r>
                        <a:rPr kumimoji="1" lang="en-US" altLang="ja-JP" sz="900" b="0" kern="1200" dirty="0">
                          <a:solidFill>
                            <a:schemeClr val="tx1"/>
                          </a:solidFill>
                          <a:latin typeface="+mn-lt"/>
                          <a:ea typeface="ＭＳ Ｐゴシック" charset="-128"/>
                          <a:cs typeface="Arial" pitchFamily="34" charset="0"/>
                        </a:rPr>
                        <a:t>82%</a:t>
                      </a:r>
                      <a:r>
                        <a:rPr kumimoji="1" lang="ja-JP" altLang="en-US" sz="900" b="0" kern="1200" dirty="0">
                          <a:solidFill>
                            <a:schemeClr val="tx1"/>
                          </a:solidFill>
                          <a:latin typeface="+mn-lt"/>
                          <a:ea typeface="ＭＳ Ｐゴシック" charset="-128"/>
                          <a:cs typeface="Arial" pitchFamily="34" charset="0"/>
                        </a:rPr>
                        <a:t>の普及率という調査があ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SUS</a:t>
                      </a:r>
                      <a:r>
                        <a:rPr lang="ja-JP" altLang="en-US" sz="900" dirty="0"/>
                        <a:t>（統一医療システム）は、病院、診察、地域ごとの医師の有無、地域ごとの主な病気の発生状況などのデータを調べることができるが、患者個人のデータへのアクセスは不可能であ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pSp>
        <p:nvGrpSpPr>
          <p:cNvPr id="10" name="グループ化 7">
            <a:extLst>
              <a:ext uri="{FF2B5EF4-FFF2-40B4-BE49-F238E27FC236}">
                <a16:creationId xmlns:a16="http://schemas.microsoft.com/office/drawing/2014/main" id="{8420512E-F970-4B6C-B41B-3D473FFA65CA}"/>
              </a:ext>
            </a:extLst>
          </p:cNvPr>
          <p:cNvGrpSpPr>
            <a:grpSpLocks/>
          </p:cNvGrpSpPr>
          <p:nvPr/>
        </p:nvGrpSpPr>
        <p:grpSpPr>
          <a:xfrm>
            <a:off x="200026" y="2049928"/>
            <a:ext cx="9505950" cy="234026"/>
            <a:chOff x="4944173" y="2113806"/>
            <a:chExt cx="5861371" cy="288032"/>
          </a:xfrm>
        </p:grpSpPr>
        <p:cxnSp>
          <p:nvCxnSpPr>
            <p:cNvPr id="11" name="直線コネクタ 6">
              <a:extLst>
                <a:ext uri="{FF2B5EF4-FFF2-40B4-BE49-F238E27FC236}">
                  <a16:creationId xmlns:a16="http://schemas.microsoft.com/office/drawing/2014/main" id="{3C4DA72E-6B0D-4ACF-B1B0-81CC8E892A37}"/>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A65255E7-A117-4FDF-8154-6B61C9B6CCF4}"/>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3" name="Group 12">
            <a:extLst>
              <a:ext uri="{FF2B5EF4-FFF2-40B4-BE49-F238E27FC236}">
                <a16:creationId xmlns:a16="http://schemas.microsoft.com/office/drawing/2014/main" id="{7A33E0FD-96D4-46D1-93AC-F0CB0DD008AA}"/>
              </a:ext>
            </a:extLst>
          </p:cNvPr>
          <p:cNvGrpSpPr/>
          <p:nvPr/>
        </p:nvGrpSpPr>
        <p:grpSpPr>
          <a:xfrm>
            <a:off x="4921154" y="2121639"/>
            <a:ext cx="624065" cy="131254"/>
            <a:chOff x="1683298" y="1217608"/>
            <a:chExt cx="768081" cy="161543"/>
          </a:xfrm>
        </p:grpSpPr>
        <p:sp>
          <p:nvSpPr>
            <p:cNvPr id="14" name="RectangleLegend1">
              <a:extLst>
                <a:ext uri="{FF2B5EF4-FFF2-40B4-BE49-F238E27FC236}">
                  <a16:creationId xmlns:a16="http://schemas.microsoft.com/office/drawing/2014/main" id="{6C3B1B08-5E7F-4781-A964-0FC605E315FE}"/>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5" name="Legend1">
              <a:extLst>
                <a:ext uri="{FF2B5EF4-FFF2-40B4-BE49-F238E27FC236}">
                  <a16:creationId xmlns:a16="http://schemas.microsoft.com/office/drawing/2014/main" id="{0968C0F9-A2AF-4706-AC66-07FF131BF27B}"/>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6" name="Group 15">
            <a:extLst>
              <a:ext uri="{FF2B5EF4-FFF2-40B4-BE49-F238E27FC236}">
                <a16:creationId xmlns:a16="http://schemas.microsoft.com/office/drawing/2014/main" id="{E7537DA2-0E3F-4763-A598-6A653F8801DA}"/>
              </a:ext>
            </a:extLst>
          </p:cNvPr>
          <p:cNvGrpSpPr/>
          <p:nvPr/>
        </p:nvGrpSpPr>
        <p:grpSpPr>
          <a:xfrm>
            <a:off x="6764499" y="2121639"/>
            <a:ext cx="837265" cy="131254"/>
            <a:chOff x="6093809" y="996633"/>
            <a:chExt cx="1030481" cy="161543"/>
          </a:xfrm>
        </p:grpSpPr>
        <p:sp>
          <p:nvSpPr>
            <p:cNvPr id="17" name="RectangleLegend3">
              <a:extLst>
                <a:ext uri="{FF2B5EF4-FFF2-40B4-BE49-F238E27FC236}">
                  <a16:creationId xmlns:a16="http://schemas.microsoft.com/office/drawing/2014/main" id="{FC627467-4E98-4764-ABC6-D305059B9ECD}"/>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8" name="Legend3">
              <a:extLst>
                <a:ext uri="{FF2B5EF4-FFF2-40B4-BE49-F238E27FC236}">
                  <a16:creationId xmlns:a16="http://schemas.microsoft.com/office/drawing/2014/main" id="{6F31C54D-75C2-4369-AD09-55DB17388CB0}"/>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9" name="Group 18">
            <a:extLst>
              <a:ext uri="{FF2B5EF4-FFF2-40B4-BE49-F238E27FC236}">
                <a16:creationId xmlns:a16="http://schemas.microsoft.com/office/drawing/2014/main" id="{950D83EE-7C5F-4A87-B260-7250EAD5211B}"/>
              </a:ext>
            </a:extLst>
          </p:cNvPr>
          <p:cNvGrpSpPr/>
          <p:nvPr/>
        </p:nvGrpSpPr>
        <p:grpSpPr>
          <a:xfrm>
            <a:off x="5721700" y="2121639"/>
            <a:ext cx="837265" cy="131254"/>
            <a:chOff x="2556137" y="1206048"/>
            <a:chExt cx="1030481" cy="161543"/>
          </a:xfrm>
        </p:grpSpPr>
        <p:sp>
          <p:nvSpPr>
            <p:cNvPr id="20" name="RectangleLegend2">
              <a:extLst>
                <a:ext uri="{FF2B5EF4-FFF2-40B4-BE49-F238E27FC236}">
                  <a16:creationId xmlns:a16="http://schemas.microsoft.com/office/drawing/2014/main" id="{CB313E1F-ED48-4295-B6A2-EBBE44C1E90D}"/>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1" name="Legend2">
              <a:extLst>
                <a:ext uri="{FF2B5EF4-FFF2-40B4-BE49-F238E27FC236}">
                  <a16:creationId xmlns:a16="http://schemas.microsoft.com/office/drawing/2014/main" id="{643AB782-CB83-48F7-B05D-90F9D51B518C}"/>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2" name="Group 21">
            <a:extLst>
              <a:ext uri="{FF2B5EF4-FFF2-40B4-BE49-F238E27FC236}">
                <a16:creationId xmlns:a16="http://schemas.microsoft.com/office/drawing/2014/main" id="{9B563595-FB5E-417D-B5AA-A7D2C2DF3097}"/>
              </a:ext>
            </a:extLst>
          </p:cNvPr>
          <p:cNvGrpSpPr/>
          <p:nvPr/>
        </p:nvGrpSpPr>
        <p:grpSpPr>
          <a:xfrm>
            <a:off x="7807302" y="2121639"/>
            <a:ext cx="728262" cy="131254"/>
            <a:chOff x="6093809" y="1205598"/>
            <a:chExt cx="896322" cy="161543"/>
          </a:xfrm>
        </p:grpSpPr>
        <p:sp>
          <p:nvSpPr>
            <p:cNvPr id="23" name="RectangleLegend4">
              <a:extLst>
                <a:ext uri="{FF2B5EF4-FFF2-40B4-BE49-F238E27FC236}">
                  <a16:creationId xmlns:a16="http://schemas.microsoft.com/office/drawing/2014/main" id="{27F948BB-3BCA-4945-9064-250CB759EA8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4" name="Legend4">
              <a:extLst>
                <a:ext uri="{FF2B5EF4-FFF2-40B4-BE49-F238E27FC236}">
                  <a16:creationId xmlns:a16="http://schemas.microsoft.com/office/drawing/2014/main" id="{856E882D-E8C8-4CEE-95DA-03B95A39B828}"/>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5" name="Group 24">
            <a:extLst>
              <a:ext uri="{FF2B5EF4-FFF2-40B4-BE49-F238E27FC236}">
                <a16:creationId xmlns:a16="http://schemas.microsoft.com/office/drawing/2014/main" id="{8E1B8C63-4FF8-49B9-B77B-CDE47C494ACF}"/>
              </a:ext>
            </a:extLst>
          </p:cNvPr>
          <p:cNvGrpSpPr/>
          <p:nvPr/>
        </p:nvGrpSpPr>
        <p:grpSpPr>
          <a:xfrm>
            <a:off x="8725062" y="2121639"/>
            <a:ext cx="624066" cy="131254"/>
            <a:chOff x="6093809" y="1415013"/>
            <a:chExt cx="768081" cy="161543"/>
          </a:xfrm>
        </p:grpSpPr>
        <p:sp>
          <p:nvSpPr>
            <p:cNvPr id="26" name="RectangleLegend5">
              <a:extLst>
                <a:ext uri="{FF2B5EF4-FFF2-40B4-BE49-F238E27FC236}">
                  <a16:creationId xmlns:a16="http://schemas.microsoft.com/office/drawing/2014/main" id="{65A83E72-23DA-4137-8A63-B23C13BCD8C1}"/>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7" name="Legend5">
              <a:extLst>
                <a:ext uri="{FF2B5EF4-FFF2-40B4-BE49-F238E27FC236}">
                  <a16:creationId xmlns:a16="http://schemas.microsoft.com/office/drawing/2014/main" id="{EA702D3D-44CC-4123-9623-421ED8D2BEA0}"/>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8" name="TextBox 27">
            <a:extLst>
              <a:ext uri="{FF2B5EF4-FFF2-40B4-BE49-F238E27FC236}">
                <a16:creationId xmlns:a16="http://schemas.microsoft.com/office/drawing/2014/main" id="{4276175C-2285-4B4E-BF9D-299DDF78A78A}"/>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29" name="Rectangle 28">
            <a:extLst>
              <a:ext uri="{FF2B5EF4-FFF2-40B4-BE49-F238E27FC236}">
                <a16:creationId xmlns:a16="http://schemas.microsoft.com/office/drawing/2014/main" id="{EC61D03D-6A24-4396-A06C-54DCEE6CCB42}"/>
              </a:ext>
            </a:extLst>
          </p:cNvPr>
          <p:cNvSpPr/>
          <p:nvPr/>
        </p:nvSpPr>
        <p:spPr>
          <a:xfrm>
            <a:off x="9705526" y="4869160"/>
            <a:ext cx="89844" cy="1096307"/>
          </a:xfrm>
          <a:prstGeom prst="rect">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30" name="テキスト ボックス 14">
            <a:extLst>
              <a:ext uri="{FF2B5EF4-FFF2-40B4-BE49-F238E27FC236}">
                <a16:creationId xmlns:a16="http://schemas.microsoft.com/office/drawing/2014/main" id="{D0409AD6-3FB8-4EF7-971B-D848D83B803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米国商務省、デスクリサーチ</a:t>
            </a:r>
          </a:p>
        </p:txBody>
      </p:sp>
    </p:spTree>
    <p:extLst>
      <p:ext uri="{BB962C8B-B14F-4D97-AF65-F5344CB8AC3E}">
        <p14:creationId xmlns:p14="http://schemas.microsoft.com/office/powerpoint/2010/main" val="342898376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2"/>
            </p:custDataLst>
            <p:extLst>
              <p:ext uri="{D42A27DB-BD31-4B8C-83A1-F6EECF244321}">
                <p14:modId xmlns:p14="http://schemas.microsoft.com/office/powerpoint/2010/main" val="1793444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a:t>ブラジル／</a:t>
            </a:r>
            <a:r>
              <a:rPr lang="ja-JP" altLang="en-US" dirty="0"/>
              <a:t>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p:spPr>
        <p:txBody>
          <a:bodyPr>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io&amp;mensagem</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pt-BR" altLang="ja-JP" sz="800" dirty="0">
                <a:latin typeface="Arial" panose="020B0604020202020204" pitchFamily="34" charset="0"/>
                <a:ea typeface="ＭＳ Ｐゴシック" panose="020B0600070205080204" pitchFamily="50" charset="-128"/>
                <a:cs typeface="Arial" panose="020B0604020202020204" pitchFamily="34" charset="0"/>
              </a:rPr>
              <a:t>Empresas de saúde investem em telemedici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aud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Busines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mgen e Grupo Fleury s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unem</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par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oferecer</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lataform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elemedici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9">
            <a:extLst>
              <a:ext uri="{FF2B5EF4-FFF2-40B4-BE49-F238E27FC236}">
                <a16:creationId xmlns:a16="http://schemas.microsoft.com/office/drawing/2014/main" id="{15B233E6-5910-4ED7-A400-52B97AF83CE3}"/>
              </a:ext>
            </a:extLst>
          </p:cNvPr>
          <p:cNvGraphicFramePr>
            <a:graphicFrameLocks noGrp="1"/>
          </p:cNvGraphicFramePr>
          <p:nvPr>
            <p:extLst>
              <p:ext uri="{D42A27DB-BD31-4B8C-83A1-F6EECF244321}">
                <p14:modId xmlns:p14="http://schemas.microsoft.com/office/powerpoint/2010/main" val="1578953593"/>
              </p:ext>
            </p:extLst>
          </p:nvPr>
        </p:nvGraphicFramePr>
        <p:xfrm>
          <a:off x="272480" y="1228780"/>
          <a:ext cx="9433044" cy="3396960"/>
        </p:xfrm>
        <a:graphic>
          <a:graphicData uri="http://schemas.openxmlformats.org/drawingml/2006/table">
            <a:tbl>
              <a:tblPr firstRow="1" bandRow="1">
                <a:tableStyleId>{2D5ABB26-0587-4C30-8999-92F81FD0307C}</a:tableStyleId>
              </a:tblPr>
              <a:tblGrid>
                <a:gridCol w="582519">
                  <a:extLst>
                    <a:ext uri="{9D8B030D-6E8A-4147-A177-3AD203B41FA5}">
                      <a16:colId xmlns:a16="http://schemas.microsoft.com/office/drawing/2014/main" val="20000"/>
                    </a:ext>
                  </a:extLst>
                </a:gridCol>
                <a:gridCol w="2178373">
                  <a:extLst>
                    <a:ext uri="{9D8B030D-6E8A-4147-A177-3AD203B41FA5}">
                      <a16:colId xmlns:a16="http://schemas.microsoft.com/office/drawing/2014/main" val="20001"/>
                    </a:ext>
                  </a:extLst>
                </a:gridCol>
                <a:gridCol w="834019">
                  <a:extLst>
                    <a:ext uri="{9D8B030D-6E8A-4147-A177-3AD203B41FA5}">
                      <a16:colId xmlns:a16="http://schemas.microsoft.com/office/drawing/2014/main" val="3198879459"/>
                    </a:ext>
                  </a:extLst>
                </a:gridCol>
                <a:gridCol w="834019">
                  <a:extLst>
                    <a:ext uri="{9D8B030D-6E8A-4147-A177-3AD203B41FA5}">
                      <a16:colId xmlns:a16="http://schemas.microsoft.com/office/drawing/2014/main" val="40798830"/>
                    </a:ext>
                  </a:extLst>
                </a:gridCol>
                <a:gridCol w="834019">
                  <a:extLst>
                    <a:ext uri="{9D8B030D-6E8A-4147-A177-3AD203B41FA5}">
                      <a16:colId xmlns:a16="http://schemas.microsoft.com/office/drawing/2014/main" val="2099324750"/>
                    </a:ext>
                  </a:extLst>
                </a:gridCol>
                <a:gridCol w="834019">
                  <a:extLst>
                    <a:ext uri="{9D8B030D-6E8A-4147-A177-3AD203B41FA5}">
                      <a16:colId xmlns:a16="http://schemas.microsoft.com/office/drawing/2014/main" val="3109555531"/>
                    </a:ext>
                  </a:extLst>
                </a:gridCol>
                <a:gridCol w="834019">
                  <a:extLst>
                    <a:ext uri="{9D8B030D-6E8A-4147-A177-3AD203B41FA5}">
                      <a16:colId xmlns:a16="http://schemas.microsoft.com/office/drawing/2014/main" val="1744547167"/>
                    </a:ext>
                  </a:extLst>
                </a:gridCol>
                <a:gridCol w="834019">
                  <a:extLst>
                    <a:ext uri="{9D8B030D-6E8A-4147-A177-3AD203B41FA5}">
                      <a16:colId xmlns:a16="http://schemas.microsoft.com/office/drawing/2014/main" val="352305932"/>
                    </a:ext>
                  </a:extLst>
                </a:gridCol>
                <a:gridCol w="834019">
                  <a:extLst>
                    <a:ext uri="{9D8B030D-6E8A-4147-A177-3AD203B41FA5}">
                      <a16:colId xmlns:a16="http://schemas.microsoft.com/office/drawing/2014/main" val="3028484498"/>
                    </a:ext>
                  </a:extLst>
                </a:gridCol>
                <a:gridCol w="834019">
                  <a:extLst>
                    <a:ext uri="{9D8B030D-6E8A-4147-A177-3AD203B41FA5}">
                      <a16:colId xmlns:a16="http://schemas.microsoft.com/office/drawing/2014/main" val="519753452"/>
                    </a:ext>
                  </a:extLst>
                </a:gridCol>
              </a:tblGrid>
              <a:tr h="400020">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extLst>
                  <a:ext uri="{0D108BD9-81ED-4DB2-BD59-A6C34878D82A}">
                    <a16:rowId xmlns:a16="http://schemas.microsoft.com/office/drawing/2014/main" val="10000"/>
                  </a:ext>
                </a:extLst>
              </a:tr>
              <a:tr h="749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err="1">
                          <a:solidFill>
                            <a:srgbClr val="000000"/>
                          </a:solidFill>
                          <a:effectLst/>
                          <a:latin typeface="Arial" panose="020B0604020202020204" pitchFamily="34" charset="0"/>
                        </a:rPr>
                        <a:t>Unimed</a:t>
                      </a:r>
                      <a:r>
                        <a:rPr lang="en-US" sz="1000" b="1" i="0" u="none" strike="noStrike" dirty="0">
                          <a:solidFill>
                            <a:srgbClr val="000000"/>
                          </a:solidFill>
                          <a:effectLst/>
                          <a:latin typeface="Arial" panose="020B0604020202020204" pitchFamily="34" charset="0"/>
                        </a:rPr>
                        <a:t>-BH</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97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Private company</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722</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02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3M</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355</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5,700</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749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a:solidFill>
                            <a:srgbClr val="000000"/>
                          </a:solidFill>
                          <a:effectLst/>
                          <a:latin typeface="Arial" panose="020B0604020202020204" pitchFamily="34" charset="0"/>
                        </a:rPr>
                        <a:t>Care Plus</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99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Arial" panose="020B0604020202020204" pitchFamily="34" charset="0"/>
                        </a:rPr>
                        <a:t>Private company</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62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9.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2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4,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288369329"/>
                  </a:ext>
                </a:extLst>
              </a:tr>
              <a:tr h="749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a:solidFill>
                            <a:srgbClr val="000000"/>
                          </a:solidFill>
                          <a:effectLst/>
                          <a:latin typeface="Arial" panose="020B0604020202020204" pitchFamily="34" charset="0"/>
                        </a:rPr>
                        <a:t>Albert Einstein </a:t>
                      </a:r>
                      <a:r>
                        <a:rPr lang="en-US" sz="1000" b="1" i="0" u="none" strike="noStrike" dirty="0" err="1">
                          <a:solidFill>
                            <a:srgbClr val="000000"/>
                          </a:solidFill>
                          <a:effectLst/>
                          <a:latin typeface="Arial" panose="020B0604020202020204" pitchFamily="34" charset="0"/>
                        </a:rPr>
                        <a:t>Israelita</a:t>
                      </a:r>
                      <a:r>
                        <a:rPr lang="en-US" sz="1000" b="1" i="0" u="none" strike="noStrike" dirty="0">
                          <a:solidFill>
                            <a:srgbClr val="000000"/>
                          </a:solidFill>
                          <a:effectLst/>
                          <a:latin typeface="Arial" panose="020B0604020202020204" pitchFamily="34" charset="0"/>
                        </a:rPr>
                        <a:t> Hospital</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971</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Arial" panose="020B0604020202020204" pitchFamily="34" charset="0"/>
                        </a:rPr>
                        <a:t>Private company</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6,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3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84,86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6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749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a:solidFill>
                            <a:srgbClr val="000000"/>
                          </a:solidFill>
                          <a:effectLst/>
                          <a:latin typeface="Arial" panose="020B0604020202020204" pitchFamily="34" charset="0"/>
                        </a:rPr>
                        <a:t>Group Fleury</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92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Arial" panose="020B0604020202020204" pitchFamily="34" charset="0"/>
                        </a:rPr>
                        <a:t>Private company</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527.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2.2M</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4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4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bl>
          </a:graphicData>
        </a:graphic>
      </p:graphicFrame>
    </p:spTree>
    <p:extLst>
      <p:ext uri="{BB962C8B-B14F-4D97-AF65-F5344CB8AC3E}">
        <p14:creationId xmlns:p14="http://schemas.microsoft.com/office/powerpoint/2010/main" val="219103394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医療関連／その他</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solidFill>
                  <a:srgbClr val="000000"/>
                </a:solidFill>
                <a:latin typeface="+mn-ea"/>
              </a:rPr>
              <a:t>学会および業界団体</a:t>
            </a:r>
            <a:endParaRPr lang="ja-JP" altLang="en-US" dirty="0"/>
          </a:p>
        </p:txBody>
      </p:sp>
      <p:graphicFrame>
        <p:nvGraphicFramePr>
          <p:cNvPr id="9" name="表 8"/>
          <p:cNvGraphicFramePr>
            <a:graphicFrameLocks noGrp="1"/>
          </p:cNvGraphicFramePr>
          <p:nvPr>
            <p:extLst>
              <p:ext uri="{D42A27DB-BD31-4B8C-83A1-F6EECF244321}">
                <p14:modId xmlns:p14="http://schemas.microsoft.com/office/powerpoint/2010/main" val="1187209090"/>
              </p:ext>
            </p:extLst>
          </p:nvPr>
        </p:nvGraphicFramePr>
        <p:xfrm>
          <a:off x="416496" y="1988840"/>
          <a:ext cx="9073007" cy="3472560"/>
        </p:xfrm>
        <a:graphic>
          <a:graphicData uri="http://schemas.openxmlformats.org/drawingml/2006/table">
            <a:tbl>
              <a:tblPr firstRow="1" bandRow="1">
                <a:tableStyleId>{5C22544A-7EE6-4342-B048-85BDC9FD1C3A}</a:tableStyleId>
              </a:tblPr>
              <a:tblGrid>
                <a:gridCol w="1368152">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gridCol w="1368152">
                  <a:extLst>
                    <a:ext uri="{9D8B030D-6E8A-4147-A177-3AD203B41FA5}">
                      <a16:colId xmlns:a16="http://schemas.microsoft.com/office/drawing/2014/main" val="20002"/>
                    </a:ext>
                  </a:extLst>
                </a:gridCol>
                <a:gridCol w="5184575">
                  <a:extLst>
                    <a:ext uri="{9D8B030D-6E8A-4147-A177-3AD203B41FA5}">
                      <a16:colId xmlns:a16="http://schemas.microsoft.com/office/drawing/2014/main" val="20003"/>
                    </a:ext>
                  </a:extLst>
                </a:gridCol>
              </a:tblGrid>
              <a:tr h="324000">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学会名</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学術集会の</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時期</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学術集会の</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開催地</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学術集会の概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04000">
                <a:tc>
                  <a:txBody>
                    <a:bodyPr/>
                    <a:lstStyle/>
                    <a:p>
                      <a:pPr algn="l" fontAlgn="ctr"/>
                      <a:r>
                        <a:rPr lang="ja-JP" altLang="en-US" sz="105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rPr>
                        <a:t>臨床工学学会</a:t>
                      </a:r>
                      <a:endParaRPr lang="en-US" altLang="ja-JP" sz="105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5</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下旬</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サンパウロ</a:t>
                      </a:r>
                    </a:p>
                  </a:txBody>
                  <a:tcPr marL="108000" marR="72000" marT="9525" marB="10800" anchor="ctr">
                    <a:lnL w="63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l" fontAlgn="ctr">
                        <a:lnSpc>
                          <a:spcPct val="113000"/>
                        </a:lnSpc>
                      </a:pP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医療機器や病院設備に関する設計・製造・購入・管理・修理・処理における技術的な課題に対する議論や安全管理をテーマにした講演など</a:t>
                      </a:r>
                    </a:p>
                  </a:txBody>
                  <a:tcPr marL="108000" marR="72000" marT="9525" marB="10800" anchor="ctr">
                    <a:lnL w="28575"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504000">
                <a:tc>
                  <a:txBody>
                    <a:bodyPr/>
                    <a:lstStyle/>
                    <a:p>
                      <a:pPr algn="l" fontAlgn="ctr"/>
                      <a:r>
                        <a:rPr lang="ja-JP" altLang="en-US" sz="105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rPr>
                        <a:t>心臓学学会</a:t>
                      </a:r>
                      <a:endParaRPr lang="en-US" altLang="ja-JP" sz="105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altLang="zh-TW" sz="1050" b="0" i="0" u="none" strike="noStrike" baseline="0" dirty="0">
                          <a:solidFill>
                            <a:srgbClr val="000000"/>
                          </a:solidFill>
                          <a:effectLst/>
                          <a:latin typeface="Arial" panose="020B0604020202020204" pitchFamily="34" charset="0"/>
                          <a:ea typeface="ＭＳ Ｐゴシック" panose="020B0600070205080204" pitchFamily="50" charset="-128"/>
                        </a:rPr>
                        <a:t>9</a:t>
                      </a:r>
                      <a:r>
                        <a:rPr lang="zh-TW"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中旬</a:t>
                      </a:r>
                      <a:endParaRPr lang="zh-TW" altLang="en-US" sz="105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ポルト･アレグレ</a:t>
                      </a:r>
                    </a:p>
                  </a:txBody>
                  <a:tcPr marL="108000" marR="72000" marT="9525" marB="10800" anchor="ctr">
                    <a:lnL w="63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l"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栄養学、看護学、心理学、理学療法や心臓病に関する教育などを議論</a:t>
                      </a:r>
                    </a:p>
                  </a:txBody>
                  <a:tcPr marL="108000" marR="72000" marT="9525" marB="10800" anchor="ctr">
                    <a:lnL w="28575"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04000">
                <a:tc>
                  <a:txBody>
                    <a:bodyPr/>
                    <a:lstStyle/>
                    <a:p>
                      <a:pPr algn="l" fontAlgn="ctr"/>
                      <a:r>
                        <a:rPr lang="ja-JP" altLang="en-US" sz="105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rPr>
                        <a:t>リマウチ学学会</a:t>
                      </a:r>
                      <a:endParaRPr lang="en-US" altLang="ja-JP" sz="105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9</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中旬（隔年）</a:t>
                      </a: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ポルト･アレグレ</a:t>
                      </a:r>
                    </a:p>
                  </a:txBody>
                  <a:tcPr marL="108000" marR="72000" marT="9525" marB="10800" anchor="ctr">
                    <a:lnL w="63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l" fontAlgn="ct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17</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カ国から代表者が出席し、早期診断の重要性や適切な療法の適用などについて議論</a:t>
                      </a:r>
                    </a:p>
                  </a:txBody>
                  <a:tcPr marL="108000" marR="72000" marT="9525" marB="10800" anchor="ctr">
                    <a:lnL w="28575"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504000">
                <a:tc>
                  <a:txBody>
                    <a:bodyPr/>
                    <a:lstStyle/>
                    <a:p>
                      <a:pPr algn="l" fontAlgn="ctr"/>
                      <a:r>
                        <a:rPr lang="ja-JP" altLang="en-US" sz="105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rPr>
                        <a:t>腫瘍学学会</a:t>
                      </a:r>
                      <a:endParaRPr lang="en-US" altLang="ja-JP" sz="105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altLang="zh-TW" sz="1050" b="0" i="0" u="none" strike="noStrike" baseline="0" dirty="0">
                          <a:solidFill>
                            <a:srgbClr val="000000"/>
                          </a:solidFill>
                          <a:effectLst/>
                          <a:latin typeface="Arial" panose="020B0604020202020204" pitchFamily="34" charset="0"/>
                          <a:ea typeface="ＭＳ Ｐゴシック" panose="020B0600070205080204" pitchFamily="50" charset="-128"/>
                        </a:rPr>
                        <a:t>10</a:t>
                      </a:r>
                      <a:r>
                        <a:rPr lang="zh-TW"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下旬</a:t>
                      </a:r>
                      <a:endParaRPr lang="zh-TW" altLang="en-US" sz="105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ADADA"/>
                    </a:solidFill>
                  </a:tcPr>
                </a:tc>
                <a:tc>
                  <a:txBody>
                    <a:bodyPr/>
                    <a:lstStyle/>
                    <a:p>
                      <a:pPr algn="ctr"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クリチバ</a:t>
                      </a:r>
                    </a:p>
                  </a:txBody>
                  <a:tcPr marL="108000" marR="72000" marT="9525" marB="10800" anchor="ctr">
                    <a:lnL w="63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l"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ガンに対する課題に関する議論</a:t>
                      </a:r>
                    </a:p>
                  </a:txBody>
                  <a:tcPr marL="108000" marR="72000" marT="9525" marB="10800" anchor="ctr">
                    <a:lnL w="28575"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504000">
                <a:tc>
                  <a:txBody>
                    <a:bodyPr/>
                    <a:lstStyle/>
                    <a:p>
                      <a:pPr algn="l" fontAlgn="ctr"/>
                      <a:r>
                        <a:rPr lang="ja-JP" altLang="en-US" sz="105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rPr>
                        <a:t>整形外科学学会</a:t>
                      </a:r>
                      <a:endParaRPr lang="en-US" altLang="ja-JP" sz="105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EBEBE"/>
                    </a:solidFill>
                  </a:tcPr>
                </a:tc>
                <a:tc>
                  <a:txBody>
                    <a:bodyPr/>
                    <a:lstStyle/>
                    <a:p>
                      <a:pPr algn="l" fontAlgn="ctr"/>
                      <a:r>
                        <a:rPr lang="en-US" altLang="zh-TW" sz="1050" b="0" i="0" u="none" strike="noStrike" baseline="0" dirty="0">
                          <a:solidFill>
                            <a:srgbClr val="000000"/>
                          </a:solidFill>
                          <a:effectLst/>
                          <a:latin typeface="Arial" panose="020B0604020202020204" pitchFamily="34" charset="0"/>
                          <a:ea typeface="ＭＳ Ｐゴシック" panose="020B0600070205080204" pitchFamily="50" charset="-128"/>
                        </a:rPr>
                        <a:t>11</a:t>
                      </a:r>
                      <a:r>
                        <a:rPr lang="zh-TW"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中旬</a:t>
                      </a:r>
                      <a:endParaRPr lang="zh-TW" altLang="en-US" sz="105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ctr"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ゴイアニア</a:t>
                      </a:r>
                    </a:p>
                  </a:txBody>
                  <a:tcPr marL="108000" marR="72000" marT="9525" marB="10800" anchor="ctr">
                    <a:lnL w="63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l"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整形外科に関する新技術の情報展開や専門家の知識の増強を目的とし開催</a:t>
                      </a:r>
                    </a:p>
                  </a:txBody>
                  <a:tcPr marL="108000" marR="72000" marT="9525" marB="10800" anchor="ctr">
                    <a:lnL w="28575"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504000">
                <a:tc>
                  <a:txBody>
                    <a:bodyPr/>
                    <a:lstStyle/>
                    <a:p>
                      <a:pPr algn="l" fontAlgn="ctr"/>
                      <a:r>
                        <a:rPr lang="ja-JP" altLang="en-US" sz="105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rPr>
                        <a:t>泌尿器学学会</a:t>
                      </a:r>
                      <a:endParaRPr lang="en-US" altLang="ja-JP" sz="1050" b="0" i="0" u="none" strike="noStrike" baseline="0" dirty="0">
                        <a:solidFill>
                          <a:srgbClr val="000000"/>
                        </a:solidFill>
                        <a:effectLst/>
                        <a:latin typeface="HGP創英角ｺﾞｼｯｸUB" panose="020B0900000000000000" pitchFamily="50" charset="-128"/>
                        <a:ea typeface="HGP創英角ｺﾞｼｯｸUB" panose="020B0900000000000000" pitchFamily="50" charset="-128"/>
                      </a:endParaRPr>
                    </a:p>
                  </a:txBody>
                  <a:tcPr marL="108000" marR="72000" marT="9525" marB="10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algn="l" fontAlgn="ctr"/>
                      <a:r>
                        <a:rPr lang="en-US" altLang="zh-TW" sz="1050" b="0" i="0" u="none" strike="noStrike" baseline="0" dirty="0">
                          <a:solidFill>
                            <a:srgbClr val="000000"/>
                          </a:solidFill>
                          <a:effectLst/>
                          <a:latin typeface="Arial" panose="020B0604020202020204" pitchFamily="34" charset="0"/>
                          <a:ea typeface="ＭＳ Ｐゴシック" panose="020B0600070205080204" pitchFamily="50" charset="-128"/>
                        </a:rPr>
                        <a:t>11</a:t>
                      </a:r>
                      <a:r>
                        <a:rPr lang="zh-TW"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中～下旬</a:t>
                      </a:r>
                      <a:endParaRPr lang="zh-TW" altLang="en-US" sz="105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72000" marT="9525" marB="10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DADADA"/>
                    </a:solidFill>
                  </a:tcPr>
                </a:tc>
                <a:tc>
                  <a:txBody>
                    <a:bodyPr/>
                    <a:lstStyle/>
                    <a:p>
                      <a:pPr algn="ctr"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フローリアノーポリス</a:t>
                      </a:r>
                    </a:p>
                  </a:txBody>
                  <a:tcPr marL="108000" marR="72000" marT="9525" marB="10800" anchor="ctr">
                    <a:lnL w="6350"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algn="l" fontAlgn="ctr">
                        <a:lnSpc>
                          <a:spcPct val="113000"/>
                        </a:lnSpc>
                      </a:pP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アルゼンチン、イタリア、メキシコなどの海外からも泌尿器学における権威が集まり、</a:t>
                      </a:r>
                      <a:b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b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泌尿器科に関する内視鏡を使った検査・手術についての議論</a:t>
                      </a:r>
                    </a:p>
                  </a:txBody>
                  <a:tcPr marL="108000" marR="72000" marT="9525" marB="10800" anchor="ctr">
                    <a:lnL w="28575"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ブラジルの医療機器市場と規制」（</a:t>
            </a:r>
            <a:r>
              <a:rPr lang="en-US" altLang="ja-JP" sz="800" dirty="0"/>
              <a:t>2012</a:t>
            </a:r>
            <a:r>
              <a:rPr lang="ja-JP" altLang="en-US" sz="800" dirty="0"/>
              <a:t>）</a:t>
            </a:r>
          </a:p>
        </p:txBody>
      </p:sp>
      <p:sp>
        <p:nvSpPr>
          <p:cNvPr id="7" name="Rectangle 6"/>
          <p:cNvSpPr>
            <a:spLocks noChangeArrowheads="1"/>
          </p:cNvSpPr>
          <p:nvPr/>
        </p:nvSpPr>
        <p:spPr bwMode="auto">
          <a:xfrm>
            <a:off x="416496" y="1628800"/>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学会による学術集会</a:t>
            </a:r>
          </a:p>
        </p:txBody>
      </p:sp>
      <p:graphicFrame>
        <p:nvGraphicFramePr>
          <p:cNvPr id="8" name="表 7"/>
          <p:cNvGraphicFramePr>
            <a:graphicFrameLocks noGrp="1"/>
          </p:cNvGraphicFramePr>
          <p:nvPr>
            <p:extLst>
              <p:ext uri="{D42A27DB-BD31-4B8C-83A1-F6EECF244321}">
                <p14:modId xmlns:p14="http://schemas.microsoft.com/office/powerpoint/2010/main" val="41589120"/>
              </p:ext>
            </p:extLst>
          </p:nvPr>
        </p:nvGraphicFramePr>
        <p:xfrm>
          <a:off x="945224" y="6021288"/>
          <a:ext cx="7968216" cy="283674"/>
        </p:xfrm>
        <a:graphic>
          <a:graphicData uri="http://schemas.openxmlformats.org/drawingml/2006/table">
            <a:tbl>
              <a:tblPr firstRow="1" bandRow="1">
                <a:tableStyleId>{5C22544A-7EE6-4342-B048-85BDC9FD1C3A}</a:tableStyleId>
              </a:tblPr>
              <a:tblGrid>
                <a:gridCol w="2351592">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1512168">
                  <a:extLst>
                    <a:ext uri="{9D8B030D-6E8A-4147-A177-3AD203B41FA5}">
                      <a16:colId xmlns:a16="http://schemas.microsoft.com/office/drawing/2014/main" val="20003"/>
                    </a:ext>
                  </a:extLst>
                </a:gridCol>
                <a:gridCol w="1224136">
                  <a:extLst>
                    <a:ext uri="{9D8B030D-6E8A-4147-A177-3AD203B41FA5}">
                      <a16:colId xmlns:a16="http://schemas.microsoft.com/office/drawing/2014/main" val="20004"/>
                    </a:ext>
                  </a:extLst>
                </a:gridCol>
              </a:tblGrid>
              <a:tr h="283674">
                <a:tc>
                  <a:txBody>
                    <a:bodyPr/>
                    <a:lstStyle/>
                    <a:p>
                      <a:pPr marL="171450" indent="-171450" algn="l" fontAlgn="ctr">
                        <a:buClr>
                          <a:srgbClr val="5F8AC3"/>
                        </a:buClr>
                        <a:buSzPct val="80000"/>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機器</a:t>
                      </a:r>
                      <a:r>
                        <a:rPr lang="ja-JP" altLang="en-US" sz="1200" b="0" i="0" u="none" strike="noStrike" dirty="0">
                          <a:solidFill>
                            <a:srgbClr val="000000"/>
                          </a:solidFill>
                          <a:effectLst/>
                          <a:latin typeface="+mn-ea"/>
                          <a:ea typeface="+mn-ea"/>
                        </a:rPr>
                        <a:t>ハイテク産業協会</a:t>
                      </a:r>
                    </a:p>
                  </a:txBody>
                  <a:tcPr marL="0"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Pct val="80000"/>
                        <a:buFont typeface="Wingdings" panose="05000000000000000000" pitchFamily="2" charset="2"/>
                        <a:buChar char="l"/>
                        <a:tabLst/>
                        <a:defRPr/>
                      </a:pPr>
                      <a:r>
                        <a:rPr lang="ja-JP" altLang="en-US" sz="1200" b="0" i="0" u="none" strike="noStrike" dirty="0">
                          <a:solidFill>
                            <a:srgbClr val="000000"/>
                          </a:solidFill>
                          <a:effectLst/>
                          <a:latin typeface="+mn-ea"/>
                          <a:ea typeface="+mn-ea"/>
                        </a:rPr>
                        <a:t>医療機器産業協会</a:t>
                      </a:r>
                    </a:p>
                  </a:txBody>
                  <a:tcPr marL="0"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Pct val="80000"/>
                        <a:buFont typeface="Wingdings" panose="05000000000000000000" pitchFamily="2" charset="2"/>
                        <a:buChar char="l"/>
                        <a:tabLst/>
                        <a:defRPr/>
                      </a:pPr>
                      <a:r>
                        <a:rPr lang="ja-JP" altLang="en-US" sz="1200" b="0" i="0" u="none" strike="noStrike" dirty="0">
                          <a:solidFill>
                            <a:srgbClr val="000000"/>
                          </a:solidFill>
                          <a:effectLst/>
                          <a:latin typeface="+mn-ea"/>
                          <a:ea typeface="+mn-ea"/>
                        </a:rPr>
                        <a:t>医師会</a:t>
                      </a:r>
                    </a:p>
                  </a:txBody>
                  <a:tcPr marL="0"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Pct val="80000"/>
                        <a:buFont typeface="Wingdings" panose="05000000000000000000" pitchFamily="2" charset="2"/>
                        <a:buChar char="l"/>
                        <a:tabLst/>
                        <a:defRPr/>
                      </a:pPr>
                      <a:r>
                        <a:rPr lang="ja-JP" altLang="en-US" sz="1200" b="0" i="0" u="none" strike="noStrike" dirty="0">
                          <a:solidFill>
                            <a:srgbClr val="000000"/>
                          </a:solidFill>
                          <a:effectLst/>
                          <a:latin typeface="+mn-ea"/>
                          <a:ea typeface="+mn-ea"/>
                        </a:rPr>
                        <a:t>民間病院協会</a:t>
                      </a:r>
                    </a:p>
                  </a:txBody>
                  <a:tcPr marL="0" marR="9525" marT="95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marL="171450" marR="0" indent="-171450" algn="l" defTabSz="914400" rtl="0" eaLnBrk="1" fontAlgn="ctr" latinLnBrk="0" hangingPunct="1">
                        <a:lnSpc>
                          <a:spcPct val="100000"/>
                        </a:lnSpc>
                        <a:spcBef>
                          <a:spcPts val="0"/>
                        </a:spcBef>
                        <a:spcAft>
                          <a:spcPts val="0"/>
                        </a:spcAft>
                        <a:buClr>
                          <a:srgbClr val="5F8AC3"/>
                        </a:buClr>
                        <a:buSzPct val="80000"/>
                        <a:buFont typeface="Wingdings" panose="05000000000000000000" pitchFamily="2" charset="2"/>
                        <a:buChar char="l"/>
                        <a:tabLst/>
                        <a:defRPr/>
                      </a:pPr>
                      <a:r>
                        <a:rPr lang="ja-JP" altLang="en-US" sz="1200" b="0" i="0" u="none" strike="noStrike" dirty="0">
                          <a:solidFill>
                            <a:srgbClr val="000000"/>
                          </a:solidFill>
                          <a:effectLst/>
                          <a:latin typeface="+mn-ea"/>
                          <a:ea typeface="+mn-ea"/>
                        </a:rPr>
                        <a:t>医師連盟</a:t>
                      </a:r>
                    </a:p>
                  </a:txBody>
                  <a:tcPr marL="0" marR="9525" marT="9525" marB="0" anchor="ctr">
                    <a:lnL w="6350" cap="flat" cmpd="sng" algn="ctr">
                      <a:no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grpSp>
        <p:nvGrpSpPr>
          <p:cNvPr id="12" name="グループ化 11"/>
          <p:cNvGrpSpPr/>
          <p:nvPr/>
        </p:nvGrpSpPr>
        <p:grpSpPr>
          <a:xfrm>
            <a:off x="389626" y="5661248"/>
            <a:ext cx="9128844" cy="360040"/>
            <a:chOff x="4808984" y="2113806"/>
            <a:chExt cx="3024336" cy="360040"/>
          </a:xfrm>
        </p:grpSpPr>
        <p:cxnSp>
          <p:nvCxnSpPr>
            <p:cNvPr id="13" name="直線コネクタ 12"/>
            <p:cNvCxnSpPr/>
            <p:nvPr/>
          </p:nvCxnSpPr>
          <p:spPr>
            <a:xfrm>
              <a:off x="4808984" y="2420888"/>
              <a:ext cx="3024336"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ChangeArrowheads="1"/>
            </p:cNvSpPr>
            <p:nvPr/>
          </p:nvSpPr>
          <p:spPr bwMode="auto">
            <a:xfrm>
              <a:off x="4808984" y="2113806"/>
              <a:ext cx="302433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業界団体</a:t>
              </a:r>
            </a:p>
          </p:txBody>
        </p:sp>
      </p:gr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には、医師会、民間病院協会、医療機器産業協会といった団体が存在す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6223777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医療関連／その他</a:t>
            </a:r>
          </a:p>
        </p:txBody>
      </p:sp>
      <p:sp>
        <p:nvSpPr>
          <p:cNvPr id="2" name="テキスト プレースホルダー 1"/>
          <p:cNvSpPr>
            <a:spLocks noGrp="1"/>
          </p:cNvSpPr>
          <p:nvPr>
            <p:ph type="body" sz="quarter" idx="15"/>
          </p:nvPr>
        </p:nvSpPr>
        <p:spPr/>
        <p:txBody>
          <a:bodyPr/>
          <a:lstStyle/>
          <a:p>
            <a:r>
              <a:rPr lang="ja-JP" altLang="en-US" dirty="0"/>
              <a:t>医薬品・医療機器関連イベント</a:t>
            </a:r>
          </a:p>
        </p:txBody>
      </p:sp>
      <p:graphicFrame>
        <p:nvGraphicFramePr>
          <p:cNvPr id="6" name="表 5"/>
          <p:cNvGraphicFramePr>
            <a:graphicFrameLocks noGrp="1"/>
          </p:cNvGraphicFramePr>
          <p:nvPr>
            <p:extLst>
              <p:ext uri="{D42A27DB-BD31-4B8C-83A1-F6EECF244321}">
                <p14:modId xmlns:p14="http://schemas.microsoft.com/office/powerpoint/2010/main" val="3375643471"/>
              </p:ext>
            </p:extLst>
          </p:nvPr>
        </p:nvGraphicFramePr>
        <p:xfrm>
          <a:off x="416495" y="1916832"/>
          <a:ext cx="9073009" cy="4356000"/>
        </p:xfrm>
        <a:graphic>
          <a:graphicData uri="http://schemas.openxmlformats.org/drawingml/2006/table">
            <a:tbl>
              <a:tblPr firstRow="1" bandRow="1">
                <a:tableStyleId>{5C22544A-7EE6-4342-B048-85BDC9FD1C3A}</a:tableStyleId>
              </a:tblPr>
              <a:tblGrid>
                <a:gridCol w="1368153">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gridCol w="1368152">
                  <a:extLst>
                    <a:ext uri="{9D8B030D-6E8A-4147-A177-3AD203B41FA5}">
                      <a16:colId xmlns:a16="http://schemas.microsoft.com/office/drawing/2014/main" val="20002"/>
                    </a:ext>
                  </a:extLst>
                </a:gridCol>
                <a:gridCol w="5184576">
                  <a:extLst>
                    <a:ext uri="{9D8B030D-6E8A-4147-A177-3AD203B41FA5}">
                      <a16:colId xmlns:a16="http://schemas.microsoft.com/office/drawing/2014/main" val="20003"/>
                    </a:ext>
                  </a:extLst>
                </a:gridCol>
              </a:tblGrid>
              <a:tr h="324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名  称</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実施時期</a:t>
                      </a: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開催地</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概  要</a:t>
                      </a: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04000">
                <a:tc>
                  <a:txBody>
                    <a:bodyPr/>
                    <a:lstStyle/>
                    <a:p>
                      <a:pPr algn="l" fontAlgn="ctr"/>
                      <a:r>
                        <a:rPr lang="ja-JP" altLang="en-US"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t>レアテック</a:t>
                      </a:r>
                      <a:endParaRPr lang="en-US" altLang="ja-JP" sz="1050" b="0" i="0" u="none" strike="noStrike" baseline="0" dirty="0">
                        <a:solidFill>
                          <a:srgbClr val="000000"/>
                        </a:solidFill>
                        <a:effectLst/>
                        <a:latin typeface="Arial Black" panose="020B0A04020102020204" pitchFamily="34" charset="0"/>
                        <a:ea typeface="HGP創英角ｺﾞｼｯｸUB" panose="020B0900000000000000" pitchFamily="50" charset="-128"/>
                      </a:endParaRP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4</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中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rowSpan="8">
                  <a:txBody>
                    <a:bodyPr/>
                    <a:lstStyle/>
                    <a:p>
                      <a:pPr algn="ctr"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サンパウロ</a:t>
                      </a:r>
                    </a:p>
                  </a:txBody>
                  <a:tcPr marL="36000" marR="36000" marT="36000" marB="360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lnSpc>
                          <a:spcPct val="113000"/>
                        </a:lnSpc>
                      </a:pP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リハビリや身体障害を対象とした器具・機材・設備（水治療関連製品、整形外科製品、代替療法製品、身体障害者用自動車改造製品など）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04000">
                <a:tc>
                  <a:txBody>
                    <a:bodyPr/>
                    <a:lstStyle/>
                    <a:p>
                      <a:pPr algn="l" fontAlgn="ctr"/>
                      <a:r>
                        <a:rPr lang="ja-JP" altLang="en-US"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t>サンパウロ</a:t>
                      </a:r>
                      <a:br>
                        <a:rPr lang="en-US" altLang="ja-JP"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br>
                      <a:r>
                        <a:rPr lang="ja-JP" altLang="en-US"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t>放射線学の日</a:t>
                      </a: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5</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上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放射</a:t>
                      </a:r>
                      <a:r>
                        <a:rPr kumimoji="1" lang="ja-JP" altLang="en-US" sz="105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線</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関連機材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04000">
                <a:tc>
                  <a:txBody>
                    <a:bodyPr/>
                    <a:lstStyle/>
                    <a:p>
                      <a:pPr algn="l" fontAlgn="ctr"/>
                      <a:r>
                        <a:rPr lang="ja-JP" altLang="en-US"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t>オスピタラール</a:t>
                      </a: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5</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下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lnSpc>
                          <a:spcPct val="113000"/>
                        </a:lnSpc>
                      </a:pPr>
                      <a:r>
                        <a:rPr kumimoji="1" lang="ja-JP" altLang="en-US" sz="105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病院設備、研究用医療技術、緊急・輸送技術、整形外科、理学療法、薬局、設計、施工、メンテナンス、ランドリー設備、手術センター、看護・監視設備、外傷治療</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技術など</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04000">
                <a:tc>
                  <a:txBody>
                    <a:bodyPr/>
                    <a:lstStyle/>
                    <a:p>
                      <a:pPr algn="l" fontAlgn="ctr"/>
                      <a:r>
                        <a:rPr lang="en-US"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t>FCE</a:t>
                      </a:r>
                      <a:r>
                        <a:rPr lang="ja-JP" altLang="en-US"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t>ファーマ</a:t>
                      </a:r>
                      <a:endParaRPr lang="en-US" altLang="ja-JP" sz="1050" b="0" i="0" u="none" strike="noStrike" baseline="0" dirty="0">
                        <a:solidFill>
                          <a:srgbClr val="000000"/>
                        </a:solidFill>
                        <a:effectLst/>
                        <a:latin typeface="Arial Black" panose="020B0A04020102020204" pitchFamily="34" charset="0"/>
                        <a:ea typeface="HGP創英角ｺﾞｼｯｸUB" panose="020B0900000000000000" pitchFamily="50" charset="-128"/>
                      </a:endParaRP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5</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下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製薬</a:t>
                      </a:r>
                      <a:r>
                        <a:rPr kumimoji="1" lang="ja-JP" altLang="en-US" sz="105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関</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連の原材料、包装、機器、サービス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04000">
                <a:tc>
                  <a:txBody>
                    <a:bodyPr/>
                    <a:lstStyle/>
                    <a:p>
                      <a:pPr algn="l" fontAlgn="ctr"/>
                      <a:r>
                        <a:rPr lang="en-US" altLang="ja-JP"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t>MD&amp;M</a:t>
                      </a:r>
                      <a:r>
                        <a:rPr lang="ja-JP" altLang="en-US"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t>ブラジル</a:t>
                      </a: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6</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下旬</a:t>
                      </a:r>
                      <a:endParaRPr lang="zh-TW" altLang="en-US" sz="1050" b="0" i="0" u="none" strike="noStrike" baseline="0" dirty="0">
                        <a:solidFill>
                          <a:srgbClr val="000000"/>
                        </a:solidFill>
                        <a:effectLst/>
                        <a:latin typeface="Arial" panose="020B0604020202020204" pitchFamily="34" charset="0"/>
                        <a:ea typeface="ＭＳ Ｐゴシック" panose="020B0600070205080204" pitchFamily="50" charset="-128"/>
                      </a:endParaRP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lnSpc>
                          <a:spcPct val="113000"/>
                        </a:lnSpc>
                      </a:pPr>
                      <a:r>
                        <a:rPr kumimoji="1" lang="ja-JP" altLang="en-US" sz="105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心血管装置、整形外科装置、診断装置・画像診断装置などの医療加工技術展示会</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04000">
                <a:tc>
                  <a:txBody>
                    <a:bodyPr/>
                    <a:lstStyle/>
                    <a:p>
                      <a:pPr algn="l" fontAlgn="ctr"/>
                      <a:r>
                        <a:rPr lang="ja-JP" altLang="en-US"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t>医薬品エクスポ</a:t>
                      </a:r>
                      <a:endParaRPr lang="en-US" altLang="ja-JP" sz="1050" b="0" i="0" u="none" strike="noStrike" baseline="0" dirty="0">
                        <a:solidFill>
                          <a:srgbClr val="000000"/>
                        </a:solidFill>
                        <a:effectLst/>
                        <a:latin typeface="Arial Black" panose="020B0A04020102020204" pitchFamily="34" charset="0"/>
                        <a:ea typeface="HGP創英角ｺﾞｼｯｸUB" panose="020B0900000000000000" pitchFamily="50" charset="-128"/>
                      </a:endParaRP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6</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下旬～</a:t>
                      </a:r>
                      <a:b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b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7</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上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lnSpc>
                          <a:spcPct val="113000"/>
                        </a:lnSpc>
                      </a:pP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医</a:t>
                      </a:r>
                      <a:r>
                        <a:rPr kumimoji="1" lang="ja-JP" altLang="en-US" sz="105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薬品、衛生用品、化粧品、人工皮膚化粧品、関連製品、原材料、機器、包装など</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04000">
                <a:tc>
                  <a:txBody>
                    <a:bodyPr/>
                    <a:lstStyle/>
                    <a:p>
                      <a:pPr algn="l" fontAlgn="ctr"/>
                      <a:r>
                        <a:rPr lang="en-US"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t>APCD</a:t>
                      </a:r>
                      <a:br>
                        <a:rPr lang="en-US"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br>
                      <a:r>
                        <a:rPr lang="ja-JP" altLang="en-US"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t>国際歯科会議</a:t>
                      </a:r>
                      <a:endParaRPr lang="en-US" altLang="ja-JP" sz="1050" b="0" i="0" u="none" strike="noStrike" baseline="0" dirty="0">
                        <a:solidFill>
                          <a:srgbClr val="000000"/>
                        </a:solidFill>
                        <a:effectLst/>
                        <a:latin typeface="Arial Black" panose="020B0A04020102020204" pitchFamily="34" charset="0"/>
                        <a:ea typeface="HGP創英角ｺﾞｼｯｸUB" panose="020B0900000000000000" pitchFamily="50" charset="-128"/>
                      </a:endParaRP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1</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下旬～</a:t>
                      </a:r>
                      <a:b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b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2</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上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歯科</a:t>
                      </a:r>
                      <a:r>
                        <a:rPr kumimoji="1" lang="ja-JP" altLang="en-US" sz="105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関連</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の製品、機器、サービス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04000">
                <a:tc>
                  <a:txBody>
                    <a:bodyPr/>
                    <a:lstStyle/>
                    <a:p>
                      <a:pPr algn="l" fontAlgn="ctr"/>
                      <a:r>
                        <a:rPr lang="ja-JP" altLang="en-US" sz="1050" b="0" i="0" u="none" strike="noStrike" baseline="0" dirty="0">
                          <a:solidFill>
                            <a:srgbClr val="000000"/>
                          </a:solidFill>
                          <a:effectLst/>
                          <a:latin typeface="Arial Black" panose="020B0A04020102020204" pitchFamily="34" charset="0"/>
                          <a:ea typeface="HGP創英角ｺﾞｼｯｸUB" panose="020B0900000000000000" pitchFamily="50" charset="-128"/>
                        </a:rPr>
                        <a:t>フィオスピ</a:t>
                      </a:r>
                    </a:p>
                  </a:txBody>
                  <a:tcPr marL="108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1</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下旬～</a:t>
                      </a:r>
                      <a:b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br>
                      <a:r>
                        <a:rPr lang="en-US" altLang="ja-JP" sz="1050" b="0" i="0" u="none" strike="noStrike" baseline="0" dirty="0">
                          <a:solidFill>
                            <a:srgbClr val="000000"/>
                          </a:solidFill>
                          <a:effectLst/>
                          <a:latin typeface="Arial" panose="020B0604020202020204" pitchFamily="34" charset="0"/>
                          <a:ea typeface="ＭＳ Ｐゴシック" panose="020B0600070205080204" pitchFamily="50" charset="-128"/>
                        </a:rPr>
                        <a:t>2</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月上旬</a:t>
                      </a:r>
                    </a:p>
                  </a:txBody>
                  <a:tcPr marL="108000" marR="36000" marT="36000" marB="36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vMerge="1">
                  <a:txBody>
                    <a:bodyPr/>
                    <a:lstStyle/>
                    <a:p>
                      <a:endParaRPr kumimoji="1" lang="ja-JP" altLang="en-US"/>
                    </a:p>
                  </a:txBody>
                  <a:tcPr/>
                </a:tc>
                <a:tc>
                  <a:txBody>
                    <a:bodyPr/>
                    <a:lstStyle/>
                    <a:p>
                      <a:pPr algn="l" fontAlgn="ct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歯科</a:t>
                      </a:r>
                      <a:r>
                        <a:rPr kumimoji="1" lang="ja-JP" altLang="en-US" sz="1050" b="0" i="0" u="none" strike="noStrike" kern="1200" baseline="0" dirty="0">
                          <a:solidFill>
                            <a:srgbClr val="000000"/>
                          </a:solidFill>
                          <a:effectLst/>
                          <a:latin typeface="Arial" panose="020B0604020202020204" pitchFamily="34" charset="0"/>
                          <a:ea typeface="ＭＳ Ｐゴシック" panose="020B0600070205080204" pitchFamily="50" charset="-128"/>
                          <a:cs typeface="+mn-cs"/>
                        </a:rPr>
                        <a:t>関連</a:t>
                      </a:r>
                      <a:r>
                        <a:rPr lang="ja-JP" altLang="en-US" sz="1050" b="0" i="0" u="none" strike="noStrike" baseline="0" dirty="0">
                          <a:solidFill>
                            <a:srgbClr val="000000"/>
                          </a:solidFill>
                          <a:effectLst/>
                          <a:latin typeface="Arial" panose="020B0604020202020204" pitchFamily="34" charset="0"/>
                          <a:ea typeface="ＭＳ Ｐゴシック" panose="020B0600070205080204" pitchFamily="50" charset="-128"/>
                        </a:rPr>
                        <a:t>の製品、機器、サービスを出展</a:t>
                      </a:r>
                    </a:p>
                  </a:txBody>
                  <a:tcPr marL="108000" marR="36000" marT="36000" marB="36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11" name="テキスト ボックス 1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7" name="テキスト ボックス 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で</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多数の医療関連イベントが開かれている。開催地は主にサンパウロとなっている。</a:t>
            </a:r>
          </a:p>
        </p:txBody>
      </p:sp>
    </p:spTree>
    <p:extLst>
      <p:ext uri="{BB962C8B-B14F-4D97-AF65-F5344CB8AC3E}">
        <p14:creationId xmlns:p14="http://schemas.microsoft.com/office/powerpoint/2010/main" val="18042310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219" imgW="270" imgH="270" progId="TCLayout.ActiveDocument.1">
                  <p:embed/>
                </p:oleObj>
              </mc:Choice>
              <mc:Fallback>
                <p:oleObj name="think-cell Slide" r:id="rId219" imgW="270" imgH="270" progId="TCLayout.ActiveDocument.1">
                  <p:embed/>
                  <p:pic>
                    <p:nvPicPr>
                      <p:cNvPr id="7" name="オブジェクト 6" hidden="1"/>
                      <p:cNvPicPr>
                        <a:picLocks noChangeAspect="1" noChangeArrowheads="1"/>
                      </p:cNvPicPr>
                      <p:nvPr/>
                    </p:nvPicPr>
                    <p:blipFill>
                      <a:blip r:embed="rId22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ブラジル／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8122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04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頃</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人の</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ピークを迎え、その後減少傾向になる見込みである。</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齢化が加速し、</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超高齢社会に突入すると見込まれている</a:t>
            </a:r>
          </a:p>
        </p:txBody>
      </p:sp>
      <p:grpSp>
        <p:nvGrpSpPr>
          <p:cNvPr id="66" name="グループ化 65"/>
          <p:cNvGrpSpPr/>
          <p:nvPr/>
        </p:nvGrpSpPr>
        <p:grpSpPr>
          <a:xfrm>
            <a:off x="8228359"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59" name="Chart 358">
            <a:extLst>
              <a:ext uri="{FF2B5EF4-FFF2-40B4-BE49-F238E27FC236}">
                <a16:creationId xmlns:a16="http://schemas.microsoft.com/office/drawing/2014/main" id="{6057B11F-53A4-4B3F-82CB-6F2FF767B75A}"/>
              </a:ext>
            </a:extLst>
          </p:cNvPr>
          <p:cNvGraphicFramePr/>
          <p:nvPr>
            <p:custDataLst>
              <p:tags r:id="rId4"/>
            </p:custDataLst>
          </p:nvPr>
        </p:nvGraphicFramePr>
        <p:xfrm>
          <a:off x="233363" y="2354263"/>
          <a:ext cx="9420225" cy="1473200"/>
        </p:xfrm>
        <a:graphic>
          <a:graphicData uri="http://schemas.openxmlformats.org/drawingml/2006/chart">
            <c:chart xmlns:c="http://schemas.openxmlformats.org/drawingml/2006/chart" xmlns:r="http://schemas.openxmlformats.org/officeDocument/2006/relationships" r:id="rId221"/>
          </a:graphicData>
        </a:graphic>
      </p:graphicFrame>
      <p:cxnSp>
        <p:nvCxnSpPr>
          <p:cNvPr id="14" name="Straight Connector 13">
            <a:extLst>
              <a:ext uri="{FF2B5EF4-FFF2-40B4-BE49-F238E27FC236}">
                <a16:creationId xmlns:a16="http://schemas.microsoft.com/office/drawing/2014/main" id="{C6D7138B-6915-4A25-BC5B-EBA1A92B9ACF}"/>
              </a:ext>
            </a:extLst>
          </p:cNvPr>
          <p:cNvCxnSpPr/>
          <p:nvPr>
            <p:custDataLst>
              <p:tags r:id="rId5"/>
            </p:custDataLst>
          </p:nvPr>
        </p:nvCxnSpPr>
        <p:spPr bwMode="auto">
          <a:xfrm>
            <a:off x="1858963" y="2689225"/>
            <a:ext cx="0" cy="2555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20DE306C-EA5A-4A36-9D24-5552EE2F3DF1}"/>
              </a:ext>
            </a:extLst>
          </p:cNvPr>
          <p:cNvCxnSpPr/>
          <p:nvPr>
            <p:custDataLst>
              <p:tags r:id="rId6"/>
            </p:custDataLst>
          </p:nvPr>
        </p:nvCxnSpPr>
        <p:spPr bwMode="auto">
          <a:xfrm>
            <a:off x="1517650" y="2643188"/>
            <a:ext cx="0" cy="311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3" name="Text Placeholder 12"/>
          <p:cNvSpPr>
            <a:spLocks noGrp="1"/>
          </p:cNvSpPr>
          <p:nvPr>
            <p:custDataLst>
              <p:tags r:id="rId7"/>
            </p:custDataLst>
          </p:nvPr>
        </p:nvSpPr>
        <p:spPr bwMode="auto">
          <a:xfrm>
            <a:off x="14414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D94357-DDE8-41D3-B8E1-8929029A1A53}" type="datetime'''''''''''''02'''''''''''''''''''''''''''''''''''''''''''">
              <a:rPr lang="ja-JP" altLang="en-US" sz="1000" b="0"/>
              <a:pPr algn="ctr">
                <a:spcBef>
                  <a:spcPct val="0"/>
                </a:spcBef>
                <a:spcAft>
                  <a:spcPct val="0"/>
                </a:spcAft>
              </a:pPr>
              <a:t>02</a:t>
            </a:fld>
            <a:endParaRPr kumimoji="0" lang="ja-JP" altLang="en-US" sz="1000" b="0" dirty="0">
              <a:sym typeface="+mn-lt"/>
            </a:endParaRPr>
          </a:p>
        </p:txBody>
      </p:sp>
      <p:sp>
        <p:nvSpPr>
          <p:cNvPr id="217" name="Text Placeholder 12">
            <a:extLst>
              <a:ext uri="{FF2B5EF4-FFF2-40B4-BE49-F238E27FC236}">
                <a16:creationId xmlns:a16="http://schemas.microsoft.com/office/drawing/2014/main" id="{5ED0EDE2-FB70-40BE-A937-DBF66608BDA5}"/>
              </a:ext>
            </a:extLst>
          </p:cNvPr>
          <p:cNvSpPr>
            <a:spLocks noGrp="1"/>
          </p:cNvSpPr>
          <p:nvPr>
            <p:custDataLst>
              <p:tags r:id="rId8"/>
            </p:custDataLst>
          </p:nvPr>
        </p:nvSpPr>
        <p:spPr bwMode="auto">
          <a:xfrm>
            <a:off x="82835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754E67-1C3B-46D2-AEC3-B927FC1F9734}" type="datetime'''''''''''''''''''''''''''''''''''''3''''''''''''''''0'''''''">
              <a:rPr kumimoji="0" lang="ja-JP" altLang="en-US" sz="1000" b="0" smtClean="0"/>
              <a:pPr/>
              <a:t>30</a:t>
            </a:fld>
            <a:endParaRPr kumimoji="0" lang="ja-JP" altLang="en-US" sz="1000" b="0" dirty="0">
              <a:sym typeface="+mn-lt"/>
            </a:endParaRPr>
          </a:p>
        </p:txBody>
      </p:sp>
      <p:sp>
        <p:nvSpPr>
          <p:cNvPr id="49" name="Text Placeholder 12"/>
          <p:cNvSpPr>
            <a:spLocks noGrp="1"/>
          </p:cNvSpPr>
          <p:nvPr>
            <p:custDataLst>
              <p:tags r:id="rId9"/>
            </p:custDataLst>
          </p:nvPr>
        </p:nvSpPr>
        <p:spPr bwMode="auto">
          <a:xfrm>
            <a:off x="926465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85" name="Text Placeholder 12"/>
          <p:cNvSpPr>
            <a:spLocks noGrp="1"/>
          </p:cNvSpPr>
          <p:nvPr>
            <p:custDataLst>
              <p:tags r:id="rId10"/>
            </p:custDataLst>
          </p:nvPr>
        </p:nvSpPr>
        <p:spPr bwMode="auto">
          <a:xfrm>
            <a:off x="687388" y="38147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614E370-FF8E-474B-AD7E-D659AF644BCB}" type="datetime'''''''''2''''0''''''''''''''0''''''''''''''0'''">
              <a:rPr lang="ja-JP" altLang="en-US" sz="1000" b="0"/>
              <a:pPr algn="ctr">
                <a:spcBef>
                  <a:spcPct val="0"/>
                </a:spcBef>
                <a:spcAft>
                  <a:spcPct val="0"/>
                </a:spcAft>
              </a:pPr>
              <a:t>2000</a:t>
            </a:fld>
            <a:endParaRPr kumimoji="0" lang="ja-JP" altLang="en-US" sz="1000" b="0" dirty="0">
              <a:sym typeface="+mn-lt"/>
            </a:endParaRPr>
          </a:p>
        </p:txBody>
      </p:sp>
      <p:sp>
        <p:nvSpPr>
          <p:cNvPr id="84" name="Text Placeholder 12"/>
          <p:cNvSpPr>
            <a:spLocks noGrp="1"/>
          </p:cNvSpPr>
          <p:nvPr>
            <p:custDataLst>
              <p:tags r:id="rId11"/>
            </p:custDataLst>
          </p:nvPr>
        </p:nvSpPr>
        <p:spPr bwMode="auto">
          <a:xfrm>
            <a:off x="10985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87CDC96-33E4-49D8-839F-3B0D83585A67}" type="datetime'0''''''''''''''''''1'''''''''''''''''''''''''''''''''''''">
              <a:rPr lang="ja-JP" altLang="en-US" sz="1000" b="0"/>
              <a:pPr algn="ctr">
                <a:spcBef>
                  <a:spcPct val="0"/>
                </a:spcBef>
                <a:spcAft>
                  <a:spcPct val="0"/>
                </a:spcAft>
              </a:pPr>
              <a:t>01</a:t>
            </a:fld>
            <a:endParaRPr kumimoji="0" lang="ja-JP" altLang="en-US" sz="1000" b="0" dirty="0">
              <a:sym typeface="+mn-lt"/>
            </a:endParaRPr>
          </a:p>
        </p:txBody>
      </p:sp>
      <p:sp useBgFill="1">
        <p:nvSpPr>
          <p:cNvPr id="340" name="テキスト プレースホルダ 9">
            <a:extLst>
              <a:ext uri="{FF2B5EF4-FFF2-40B4-BE49-F238E27FC236}">
                <a16:creationId xmlns:a16="http://schemas.microsoft.com/office/drawing/2014/main" id="{C47A540F-D33D-43E3-B2F9-5A9755BBFDA5}"/>
              </a:ext>
            </a:extLst>
          </p:cNvPr>
          <p:cNvSpPr>
            <a:spLocks noGrp="1"/>
          </p:cNvSpPr>
          <p:nvPr>
            <p:custDataLst>
              <p:tags r:id="rId12"/>
            </p:custDataLst>
          </p:nvPr>
        </p:nvSpPr>
        <p:spPr bwMode="gray">
          <a:xfrm>
            <a:off x="2079625" y="291623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51245E9-84DF-4457-84CE-7DF71B94CDA6}" type="datetime'''''''''''''''''''''''''''1''''''''''''''''''.1'">
              <a:rPr kumimoji="0" lang="ja-JP" altLang="en-US" sz="1000" smtClean="0">
                <a:effectLst/>
                <a:sym typeface="+mn-lt"/>
              </a:rPr>
              <a:pPr marL="0" indent="0">
                <a:spcBef>
                  <a:spcPct val="0"/>
                </a:spcBef>
                <a:buNone/>
              </a:pPr>
              <a:t>1.1</a:t>
            </a:fld>
            <a:endParaRPr kumimoji="0" lang="ja-JP" altLang="en-US" sz="1000" dirty="0">
              <a:sym typeface="+mn-lt"/>
            </a:endParaRPr>
          </a:p>
        </p:txBody>
      </p:sp>
      <p:sp useBgFill="1">
        <p:nvSpPr>
          <p:cNvPr id="357" name="テキスト プレースホルダ 9">
            <a:extLst>
              <a:ext uri="{FF2B5EF4-FFF2-40B4-BE49-F238E27FC236}">
                <a16:creationId xmlns:a16="http://schemas.microsoft.com/office/drawing/2014/main" id="{E4E418C6-F90C-4CBE-A3D7-379D298046A9}"/>
              </a:ext>
            </a:extLst>
          </p:cNvPr>
          <p:cNvSpPr>
            <a:spLocks noGrp="1"/>
          </p:cNvSpPr>
          <p:nvPr>
            <p:custDataLst>
              <p:tags r:id="rId13"/>
            </p:custDataLst>
          </p:nvPr>
        </p:nvSpPr>
        <p:spPr bwMode="gray">
          <a:xfrm>
            <a:off x="1412875" y="278130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0A2612-9150-4F0E-9E5B-16501C765145}" type="datetime'''''''''''''''1''''''.''''''3'">
              <a:rPr lang="ja-JP" altLang="en-US" sz="1000" smtClean="0">
                <a:effectLst/>
                <a:sym typeface="+mn-lt"/>
              </a:rPr>
              <a:pPr marL="0" indent="0" algn="ctr">
                <a:spcBef>
                  <a:spcPct val="0"/>
                </a:spcBef>
                <a:buNone/>
              </a:pPr>
              <a:t>1.3</a:t>
            </a:fld>
            <a:endParaRPr lang="ja-JP" altLang="en-US" sz="1000" dirty="0">
              <a:sym typeface="+mn-lt"/>
            </a:endParaRPr>
          </a:p>
        </p:txBody>
      </p:sp>
      <p:sp>
        <p:nvSpPr>
          <p:cNvPr id="80" name="Text Placeholder 12"/>
          <p:cNvSpPr>
            <a:spLocks noGrp="1"/>
          </p:cNvSpPr>
          <p:nvPr>
            <p:custDataLst>
              <p:tags r:id="rId14"/>
            </p:custDataLst>
          </p:nvPr>
        </p:nvSpPr>
        <p:spPr bwMode="auto">
          <a:xfrm>
            <a:off x="21256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58BDE03-15B0-438A-ADF3-0D85D0EF1A15}" type="datetime'''''''''''''''''''''''''''''''''''''''0''''''''''4'''''">
              <a:rPr lang="ja-JP" altLang="en-US" sz="1000" b="0"/>
              <a:pPr algn="ctr">
                <a:spcBef>
                  <a:spcPct val="0"/>
                </a:spcBef>
                <a:spcAft>
                  <a:spcPct val="0"/>
                </a:spcAft>
              </a:pPr>
              <a:t>04</a:t>
            </a:fld>
            <a:endParaRPr kumimoji="0" lang="ja-JP" altLang="en-US" sz="1000" b="0" dirty="0">
              <a:sym typeface="+mn-lt"/>
            </a:endParaRPr>
          </a:p>
        </p:txBody>
      </p:sp>
      <p:sp>
        <p:nvSpPr>
          <p:cNvPr id="78" name="Text Placeholder 12"/>
          <p:cNvSpPr>
            <a:spLocks noGrp="1"/>
          </p:cNvSpPr>
          <p:nvPr>
            <p:custDataLst>
              <p:tags r:id="rId15"/>
            </p:custDataLst>
          </p:nvPr>
        </p:nvSpPr>
        <p:spPr bwMode="auto">
          <a:xfrm>
            <a:off x="24669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C4AE68-9FF2-4BD8-8ACF-302003735B1F}" type="datetime'''''''''''''''''''''''''''0''''''''''''''5'''''''''">
              <a:rPr lang="ja-JP" altLang="en-US" sz="1000" b="0"/>
              <a:pPr algn="ctr">
                <a:spcBef>
                  <a:spcPct val="0"/>
                </a:spcBef>
                <a:spcAft>
                  <a:spcPct val="0"/>
                </a:spcAft>
              </a:pPr>
              <a:t>05</a:t>
            </a:fld>
            <a:endParaRPr kumimoji="0" lang="ja-JP" altLang="en-US" sz="1000" b="0" dirty="0">
              <a:sym typeface="+mn-lt"/>
            </a:endParaRPr>
          </a:p>
        </p:txBody>
      </p:sp>
      <p:sp>
        <p:nvSpPr>
          <p:cNvPr id="47" name="Text Placeholder 12"/>
          <p:cNvSpPr>
            <a:spLocks noGrp="1"/>
          </p:cNvSpPr>
          <p:nvPr>
            <p:custDataLst>
              <p:tags r:id="rId16"/>
            </p:custDataLst>
          </p:nvPr>
        </p:nvSpPr>
        <p:spPr bwMode="auto">
          <a:xfrm>
            <a:off x="28098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2A2B7A-B147-41B3-9DF8-ADDEC8F01450}" type="datetime'''''''''''''''''''''''''0''''''''6'''''''''''''''''''''''''''">
              <a:rPr lang="ja-JP" altLang="en-US" sz="1000" b="0"/>
              <a:pPr algn="ctr">
                <a:spcBef>
                  <a:spcPct val="0"/>
                </a:spcBef>
                <a:spcAft>
                  <a:spcPct val="0"/>
                </a:spcAft>
              </a:pPr>
              <a:t>06</a:t>
            </a:fld>
            <a:endParaRPr kumimoji="0" lang="ja-JP" altLang="en-US" sz="1000" b="0" dirty="0">
              <a:sym typeface="+mn-lt"/>
            </a:endParaRPr>
          </a:p>
        </p:txBody>
      </p:sp>
      <p:sp>
        <p:nvSpPr>
          <p:cNvPr id="46" name="Text Placeholder 12"/>
          <p:cNvSpPr>
            <a:spLocks noGrp="1"/>
          </p:cNvSpPr>
          <p:nvPr>
            <p:custDataLst>
              <p:tags r:id="rId17"/>
            </p:custDataLst>
          </p:nvPr>
        </p:nvSpPr>
        <p:spPr bwMode="auto">
          <a:xfrm>
            <a:off x="31511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B796D6-EE30-4F20-ACAA-D2422D6299B2}" type="datetime'''''''''''''''''''''0''''7'''''''''''''''''''''''">
              <a:rPr lang="ja-JP" altLang="en-US" sz="1000" b="0"/>
              <a:pPr algn="ctr">
                <a:spcBef>
                  <a:spcPct val="0"/>
                </a:spcBef>
                <a:spcAft>
                  <a:spcPct val="0"/>
                </a:spcAft>
              </a:pPr>
              <a:t>07</a:t>
            </a:fld>
            <a:endParaRPr kumimoji="0" lang="ja-JP" altLang="en-US" sz="1000" b="0" dirty="0">
              <a:sym typeface="+mn-lt"/>
            </a:endParaRPr>
          </a:p>
        </p:txBody>
      </p:sp>
      <p:sp>
        <p:nvSpPr>
          <p:cNvPr id="41" name="Text Placeholder 12"/>
          <p:cNvSpPr>
            <a:spLocks noGrp="1"/>
          </p:cNvSpPr>
          <p:nvPr>
            <p:custDataLst>
              <p:tags r:id="rId18"/>
            </p:custDataLst>
          </p:nvPr>
        </p:nvSpPr>
        <p:spPr bwMode="auto">
          <a:xfrm>
            <a:off x="34940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2535B86-BB4A-417B-B0C7-9C752CEDB19D}" type="datetime'''''0''''''''''''''''''''8'''''''''''''''''''''''''''''''''">
              <a:rPr lang="ja-JP" altLang="en-US" sz="1000" b="0"/>
              <a:pPr algn="ctr">
                <a:spcBef>
                  <a:spcPct val="0"/>
                </a:spcBef>
                <a:spcAft>
                  <a:spcPct val="0"/>
                </a:spcAft>
              </a:pPr>
              <a:t>08</a:t>
            </a:fld>
            <a:endParaRPr kumimoji="0" lang="ja-JP" altLang="en-US" sz="1000" b="0" dirty="0">
              <a:sym typeface="+mn-lt"/>
            </a:endParaRPr>
          </a:p>
        </p:txBody>
      </p:sp>
      <p:sp>
        <p:nvSpPr>
          <p:cNvPr id="76" name="Text Placeholder 12"/>
          <p:cNvSpPr>
            <a:spLocks noGrp="1"/>
          </p:cNvSpPr>
          <p:nvPr>
            <p:custDataLst>
              <p:tags r:id="rId19"/>
            </p:custDataLst>
          </p:nvPr>
        </p:nvSpPr>
        <p:spPr bwMode="auto">
          <a:xfrm>
            <a:off x="62309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2CAC04-EBC3-45FD-A603-3C869E04F2F5}" type="datetime'''''''''''''''''1''''''''''''''6'">
              <a:rPr lang="ja-JP" altLang="en-US" sz="1000" b="0"/>
              <a:pPr algn="ctr">
                <a:spcBef>
                  <a:spcPct val="0"/>
                </a:spcBef>
                <a:spcAft>
                  <a:spcPct val="0"/>
                </a:spcAft>
              </a:pPr>
              <a:t>16</a:t>
            </a:fld>
            <a:endParaRPr kumimoji="0" lang="ja-JP" altLang="en-US" sz="1000" b="0" dirty="0">
              <a:sym typeface="+mn-lt"/>
            </a:endParaRPr>
          </a:p>
        </p:txBody>
      </p:sp>
      <p:sp>
        <p:nvSpPr>
          <p:cNvPr id="43" name="Text Placeholder 12"/>
          <p:cNvSpPr>
            <a:spLocks noGrp="1"/>
          </p:cNvSpPr>
          <p:nvPr>
            <p:custDataLst>
              <p:tags r:id="rId20"/>
            </p:custDataLst>
          </p:nvPr>
        </p:nvSpPr>
        <p:spPr bwMode="auto">
          <a:xfrm>
            <a:off x="38354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05D953-E140-4D4A-AE50-3F5876E2F23B}" type="datetime'''''''''''''''''''''''''''''0''''''''''''''''''''''9'''''">
              <a:rPr lang="ja-JP" altLang="en-US" sz="1000" b="0"/>
              <a:pPr algn="ctr">
                <a:spcBef>
                  <a:spcPct val="0"/>
                </a:spcBef>
                <a:spcAft>
                  <a:spcPct val="0"/>
                </a:spcAft>
              </a:pPr>
              <a:t>09</a:t>
            </a:fld>
            <a:endParaRPr kumimoji="0" lang="ja-JP" altLang="en-US" sz="1000" b="0" dirty="0">
              <a:sym typeface="+mn-lt"/>
            </a:endParaRPr>
          </a:p>
        </p:txBody>
      </p:sp>
      <p:sp>
        <p:nvSpPr>
          <p:cNvPr id="82" name="Text Placeholder 12"/>
          <p:cNvSpPr>
            <a:spLocks noGrp="1"/>
          </p:cNvSpPr>
          <p:nvPr>
            <p:custDataLst>
              <p:tags r:id="rId21"/>
            </p:custDataLst>
          </p:nvPr>
        </p:nvSpPr>
        <p:spPr bwMode="auto">
          <a:xfrm>
            <a:off x="17827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C6701E-A898-4761-A33C-C5F2B762C261}" type="datetime'''0''''''''3'''''''''''''">
              <a:rPr lang="ja-JP" altLang="en-US" sz="1000" b="0"/>
              <a:pPr algn="ctr">
                <a:spcBef>
                  <a:spcPct val="0"/>
                </a:spcBef>
                <a:spcAft>
                  <a:spcPct val="0"/>
                </a:spcAft>
              </a:pPr>
              <a:t>03</a:t>
            </a:fld>
            <a:endParaRPr kumimoji="0" lang="ja-JP" altLang="en-US" sz="1000" b="0" dirty="0">
              <a:sym typeface="+mn-lt"/>
            </a:endParaRPr>
          </a:p>
        </p:txBody>
      </p:sp>
      <p:sp>
        <p:nvSpPr>
          <p:cNvPr id="42" name="Text Placeholder 12"/>
          <p:cNvSpPr>
            <a:spLocks noGrp="1"/>
          </p:cNvSpPr>
          <p:nvPr>
            <p:custDataLst>
              <p:tags r:id="rId22"/>
            </p:custDataLst>
          </p:nvPr>
        </p:nvSpPr>
        <p:spPr bwMode="auto">
          <a:xfrm>
            <a:off x="41783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14E1EED-E91D-4209-BC5E-9E107AEDB7F5}" type="datetime'''''''''''''''''''''''''''''''''''1''''''''''''''''0'">
              <a:rPr lang="ja-JP" altLang="en-US" sz="1000" b="0"/>
              <a:pPr algn="ctr">
                <a:spcBef>
                  <a:spcPct val="0"/>
                </a:spcBef>
                <a:spcAft>
                  <a:spcPct val="0"/>
                </a:spcAft>
              </a:pPr>
              <a:t>10</a:t>
            </a:fld>
            <a:endParaRPr kumimoji="0" lang="ja-JP" altLang="en-US" sz="1000" b="0" dirty="0">
              <a:sym typeface="+mn-lt"/>
            </a:endParaRPr>
          </a:p>
        </p:txBody>
      </p:sp>
      <p:sp>
        <p:nvSpPr>
          <p:cNvPr id="51" name="Text Placeholder 12"/>
          <p:cNvSpPr>
            <a:spLocks noGrp="1"/>
          </p:cNvSpPr>
          <p:nvPr>
            <p:custDataLst>
              <p:tags r:id="rId23"/>
            </p:custDataLst>
          </p:nvPr>
        </p:nvSpPr>
        <p:spPr bwMode="auto">
          <a:xfrm>
            <a:off x="45196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946BCD-F90F-44CE-ACFA-42BBF6DABDE1}" type="datetime'''''''''1''''1'''''''''''''''''''''''''''''''''''''''''">
              <a:rPr lang="ja-JP" altLang="en-US" sz="1000" b="0"/>
              <a:pPr algn="ctr">
                <a:spcBef>
                  <a:spcPct val="0"/>
                </a:spcBef>
                <a:spcAft>
                  <a:spcPct val="0"/>
                </a:spcAft>
              </a:pPr>
              <a:t>11</a:t>
            </a:fld>
            <a:endParaRPr kumimoji="0" lang="ja-JP" altLang="en-US" sz="1000" b="0" dirty="0">
              <a:sym typeface="+mn-lt"/>
            </a:endParaRPr>
          </a:p>
        </p:txBody>
      </p:sp>
      <p:sp>
        <p:nvSpPr>
          <p:cNvPr id="44" name="Text Placeholder 12"/>
          <p:cNvSpPr>
            <a:spLocks noGrp="1"/>
          </p:cNvSpPr>
          <p:nvPr>
            <p:custDataLst>
              <p:tags r:id="rId24"/>
            </p:custDataLst>
          </p:nvPr>
        </p:nvSpPr>
        <p:spPr bwMode="auto">
          <a:xfrm>
            <a:off x="52038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26D5F4-9EE4-4AD5-B750-A3D363507366}" type="datetime'''''''''''''''''''''''1''3'''''''''''''''''''''''''''''">
              <a:rPr lang="ja-JP" altLang="en-US" sz="1000" b="0"/>
              <a:pPr algn="ctr">
                <a:spcBef>
                  <a:spcPct val="0"/>
                </a:spcBef>
                <a:spcAft>
                  <a:spcPct val="0"/>
                </a:spcAft>
              </a:pPr>
              <a:t>13</a:t>
            </a:fld>
            <a:endParaRPr kumimoji="0" lang="ja-JP" altLang="en-US" sz="1000" b="0" dirty="0">
              <a:sym typeface="+mn-lt"/>
            </a:endParaRPr>
          </a:p>
        </p:txBody>
      </p:sp>
      <p:sp>
        <p:nvSpPr>
          <p:cNvPr id="45" name="Text Placeholder 12"/>
          <p:cNvSpPr>
            <a:spLocks noGrp="1"/>
          </p:cNvSpPr>
          <p:nvPr>
            <p:custDataLst>
              <p:tags r:id="rId25"/>
            </p:custDataLst>
          </p:nvPr>
        </p:nvSpPr>
        <p:spPr bwMode="auto">
          <a:xfrm>
            <a:off x="55467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41FDAA-7E64-48EB-AB63-DCAD483719E1}" type="datetime'''''''''''''''''''''1''''''''''''''''''''''''''''4'''''''''">
              <a:rPr lang="ja-JP" altLang="en-US" sz="1000" b="0"/>
              <a:pPr algn="ctr">
                <a:spcBef>
                  <a:spcPct val="0"/>
                </a:spcBef>
                <a:spcAft>
                  <a:spcPct val="0"/>
                </a:spcAft>
              </a:pPr>
              <a:t>14</a:t>
            </a:fld>
            <a:endParaRPr kumimoji="0" lang="ja-JP" altLang="en-US" sz="1000" b="0" dirty="0">
              <a:sym typeface="+mn-lt"/>
            </a:endParaRPr>
          </a:p>
        </p:txBody>
      </p:sp>
      <p:sp>
        <p:nvSpPr>
          <p:cNvPr id="52" name="Text Placeholder 12"/>
          <p:cNvSpPr>
            <a:spLocks noGrp="1"/>
          </p:cNvSpPr>
          <p:nvPr>
            <p:custDataLst>
              <p:tags r:id="rId26"/>
            </p:custDataLst>
          </p:nvPr>
        </p:nvSpPr>
        <p:spPr bwMode="auto">
          <a:xfrm>
            <a:off x="75993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BF8376A-2596-4237-A0EB-7B2B2AB5F01F}" type="datetime'''''''''''''''''''''''''''''''''''2''''''''''''''''0'">
              <a:rPr lang="ja-JP" altLang="en-US" sz="1000" b="0"/>
              <a:pPr algn="ctr">
                <a:spcBef>
                  <a:spcPct val="0"/>
                </a:spcBef>
                <a:spcAft>
                  <a:spcPct val="0"/>
                </a:spcAft>
              </a:pPr>
              <a:t>20</a:t>
            </a:fld>
            <a:endParaRPr kumimoji="0" lang="ja-JP" altLang="en-US" sz="1000" b="0" dirty="0">
              <a:sym typeface="+mn-lt"/>
            </a:endParaRPr>
          </a:p>
        </p:txBody>
      </p:sp>
      <p:sp>
        <p:nvSpPr>
          <p:cNvPr id="77" name="Text Placeholder 12"/>
          <p:cNvSpPr>
            <a:spLocks noGrp="1"/>
          </p:cNvSpPr>
          <p:nvPr>
            <p:custDataLst>
              <p:tags r:id="rId27"/>
            </p:custDataLst>
          </p:nvPr>
        </p:nvSpPr>
        <p:spPr bwMode="auto">
          <a:xfrm>
            <a:off x="58880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463A15-56B3-416C-A0BA-C2FB72E86C1E}" type="datetime'''''''''''''''''''1''''5'''">
              <a:rPr lang="ja-JP" altLang="en-US" sz="1000" b="0"/>
              <a:pPr algn="ctr">
                <a:spcBef>
                  <a:spcPct val="0"/>
                </a:spcBef>
                <a:spcAft>
                  <a:spcPct val="0"/>
                </a:spcAft>
              </a:pPr>
              <a:t>15</a:t>
            </a:fld>
            <a:endParaRPr kumimoji="0" lang="ja-JP" altLang="en-US" sz="1000" b="0" dirty="0">
              <a:sym typeface="+mn-lt"/>
            </a:endParaRPr>
          </a:p>
        </p:txBody>
      </p:sp>
      <p:sp useBgFill="1">
        <p:nvSpPr>
          <p:cNvPr id="346" name="テキスト プレースホルダ 9">
            <a:extLst>
              <a:ext uri="{FF2B5EF4-FFF2-40B4-BE49-F238E27FC236}">
                <a16:creationId xmlns:a16="http://schemas.microsoft.com/office/drawing/2014/main" id="{BA433C76-5CC2-4F86-B167-0DE91A39FF4A}"/>
              </a:ext>
            </a:extLst>
          </p:cNvPr>
          <p:cNvSpPr>
            <a:spLocks noGrp="1"/>
          </p:cNvSpPr>
          <p:nvPr>
            <p:custDataLst>
              <p:tags r:id="rId28"/>
            </p:custDataLst>
          </p:nvPr>
        </p:nvSpPr>
        <p:spPr bwMode="gray">
          <a:xfrm>
            <a:off x="8918575" y="3567113"/>
            <a:ext cx="252413"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DDB676-1A32-4F22-BF3C-AA0F063AEE54}" type="datetime'''''''''''''''''-''''''''0.''''1'''''''''''''''''''''''''">
              <a:rPr lang="ja-JP" altLang="en-US" sz="1000" smtClean="0">
                <a:effectLst/>
                <a:sym typeface="+mn-lt"/>
              </a:rPr>
              <a:pPr marL="0" indent="0" algn="ctr">
                <a:spcBef>
                  <a:spcPct val="0"/>
                </a:spcBef>
                <a:buNone/>
              </a:pPr>
              <a:t>-0.1</a:t>
            </a:fld>
            <a:endParaRPr lang="ja-JP" altLang="en-US" sz="1000" dirty="0">
              <a:sym typeface="+mn-lt"/>
            </a:endParaRPr>
          </a:p>
        </p:txBody>
      </p:sp>
      <p:sp>
        <p:nvSpPr>
          <p:cNvPr id="195" name="Text Placeholder 12"/>
          <p:cNvSpPr>
            <a:spLocks noGrp="1"/>
          </p:cNvSpPr>
          <p:nvPr>
            <p:custDataLst>
              <p:tags r:id="rId29"/>
            </p:custDataLst>
          </p:nvPr>
        </p:nvSpPr>
        <p:spPr bwMode="auto">
          <a:xfrm>
            <a:off x="65722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39C518-B58B-4303-ABDF-CED3167BFDD1}" type="datetime'''''''''''''''''''''''''''''1''''''''''''''''''''''''''''''7'">
              <a:rPr lang="ja-JP" altLang="en-US" sz="1000" b="0" smtClean="0"/>
              <a:pPr algn="ctr">
                <a:spcBef>
                  <a:spcPct val="0"/>
                </a:spcBef>
                <a:spcAft>
                  <a:spcPct val="0"/>
                </a:spcAft>
              </a:pPr>
              <a:t>17</a:t>
            </a:fld>
            <a:endParaRPr kumimoji="0" lang="ja-JP" altLang="en-US" sz="1000" b="0" dirty="0">
              <a:sym typeface="+mn-lt"/>
            </a:endParaRPr>
          </a:p>
        </p:txBody>
      </p:sp>
      <p:sp>
        <p:nvSpPr>
          <p:cNvPr id="196" name="Text Placeholder 12"/>
          <p:cNvSpPr>
            <a:spLocks noGrp="1"/>
          </p:cNvSpPr>
          <p:nvPr>
            <p:custDataLst>
              <p:tags r:id="rId30"/>
            </p:custDataLst>
          </p:nvPr>
        </p:nvSpPr>
        <p:spPr bwMode="auto">
          <a:xfrm>
            <a:off x="69151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069BE2-0EB0-463A-A8C5-DF7F3CCD5835}" type="datetime'''''''''''''''''''''''''''''1''''''''''''''''8'''''''''''''''">
              <a:rPr lang="en-US" altLang="en-US" sz="1000" b="0" smtClean="0"/>
              <a:pPr algn="ctr">
                <a:spcBef>
                  <a:spcPct val="0"/>
                </a:spcBef>
                <a:spcAft>
                  <a:spcPct val="0"/>
                </a:spcAft>
              </a:pPr>
              <a:t>18</a:t>
            </a:fld>
            <a:endParaRPr kumimoji="0" lang="ja-JP" altLang="en-US" sz="1000" b="0" dirty="0">
              <a:sym typeface="+mn-lt"/>
            </a:endParaRPr>
          </a:p>
        </p:txBody>
      </p:sp>
      <p:sp>
        <p:nvSpPr>
          <p:cNvPr id="197" name="Text Placeholder 12"/>
          <p:cNvSpPr>
            <a:spLocks noGrp="1"/>
          </p:cNvSpPr>
          <p:nvPr>
            <p:custDataLst>
              <p:tags r:id="rId31"/>
            </p:custDataLst>
          </p:nvPr>
        </p:nvSpPr>
        <p:spPr bwMode="auto">
          <a:xfrm>
            <a:off x="72564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8B49BBF-BEB1-4CB4-B464-A8E52B4DE807}" type="datetime'''''''''''''''''''''''1''9'''''''''''''''''''''''''''">
              <a:rPr lang="en-US" altLang="en-US" sz="1000" b="0" smtClean="0"/>
              <a:pPr algn="ctr">
                <a:spcBef>
                  <a:spcPct val="0"/>
                </a:spcBef>
                <a:spcAft>
                  <a:spcPct val="0"/>
                </a:spcAft>
              </a:pPr>
              <a:t>19</a:t>
            </a:fld>
            <a:endParaRPr kumimoji="0" lang="ja-JP" altLang="en-US" sz="1000" b="0" dirty="0">
              <a:sym typeface="+mn-lt"/>
            </a:endParaRPr>
          </a:p>
        </p:txBody>
      </p:sp>
      <p:sp>
        <p:nvSpPr>
          <p:cNvPr id="53" name="Text Placeholder 12"/>
          <p:cNvSpPr>
            <a:spLocks noGrp="1"/>
          </p:cNvSpPr>
          <p:nvPr>
            <p:custDataLst>
              <p:tags r:id="rId32"/>
            </p:custDataLst>
          </p:nvPr>
        </p:nvSpPr>
        <p:spPr bwMode="auto">
          <a:xfrm>
            <a:off x="79406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1BDD25-B6B0-49B9-BB7C-D405F07494DA}" type="datetime'2''''''''''''''''''''''''''1'''''''''''">
              <a:rPr lang="ja-JP" altLang="en-US" sz="1000" b="0" smtClean="0"/>
              <a:pPr/>
              <a:t>21</a:t>
            </a:fld>
            <a:endParaRPr kumimoji="0" lang="ja-JP" altLang="en-US" sz="1000" b="0" dirty="0">
              <a:sym typeface="+mn-lt"/>
            </a:endParaRPr>
          </a:p>
        </p:txBody>
      </p:sp>
      <p:sp>
        <p:nvSpPr>
          <p:cNvPr id="39" name="Text Placeholder 12"/>
          <p:cNvSpPr>
            <a:spLocks noGrp="1"/>
          </p:cNvSpPr>
          <p:nvPr>
            <p:custDataLst>
              <p:tags r:id="rId33"/>
            </p:custDataLst>
          </p:nvPr>
        </p:nvSpPr>
        <p:spPr bwMode="auto">
          <a:xfrm>
            <a:off x="86248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CDEE21-36C6-4D9A-B1CB-1318A6D2ACA8}" type="datetime'4''''''''''''''''''''''''0'''''''''''''''''''''''''''''">
              <a:rPr lang="ja-JP" altLang="en-US" sz="1000" b="0"/>
              <a:pPr algn="ctr">
                <a:spcBef>
                  <a:spcPct val="0"/>
                </a:spcBef>
                <a:spcAft>
                  <a:spcPct val="0"/>
                </a:spcAft>
              </a:pPr>
              <a:t>40</a:t>
            </a:fld>
            <a:endParaRPr kumimoji="0" lang="ja-JP" altLang="en-US" sz="1000" b="0" dirty="0">
              <a:sym typeface="+mn-lt"/>
            </a:endParaRPr>
          </a:p>
        </p:txBody>
      </p:sp>
      <p:sp>
        <p:nvSpPr>
          <p:cNvPr id="40" name="Text Placeholder 12"/>
          <p:cNvSpPr>
            <a:spLocks noGrp="1"/>
          </p:cNvSpPr>
          <p:nvPr>
            <p:custDataLst>
              <p:tags r:id="rId34"/>
            </p:custDataLst>
          </p:nvPr>
        </p:nvSpPr>
        <p:spPr bwMode="auto">
          <a:xfrm>
            <a:off x="89677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B7E0B6-CDED-4006-BBD3-CBA1B27C1185}" type="datetime'''''''''''''''''''''''5''''0'''''''''''''">
              <a:rPr lang="ja-JP" altLang="en-US" sz="1000" b="0"/>
              <a:pPr algn="ctr">
                <a:spcBef>
                  <a:spcPct val="0"/>
                </a:spcBef>
                <a:spcAft>
                  <a:spcPct val="0"/>
                </a:spcAft>
              </a:pPr>
              <a:t>50</a:t>
            </a:fld>
            <a:endParaRPr kumimoji="0" lang="ja-JP" altLang="en-US" sz="1000" b="0" dirty="0">
              <a:sym typeface="+mn-lt"/>
            </a:endParaRPr>
          </a:p>
        </p:txBody>
      </p:sp>
      <p:sp>
        <p:nvSpPr>
          <p:cNvPr id="48" name="Text Placeholder 12"/>
          <p:cNvSpPr>
            <a:spLocks noGrp="1"/>
          </p:cNvSpPr>
          <p:nvPr>
            <p:custDataLst>
              <p:tags r:id="rId35"/>
            </p:custDataLst>
          </p:nvPr>
        </p:nvSpPr>
        <p:spPr bwMode="auto">
          <a:xfrm>
            <a:off x="32543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useBgFill="1">
        <p:nvSpPr>
          <p:cNvPr id="355" name="テキスト プレースホルダ 9">
            <a:extLst>
              <a:ext uri="{FF2B5EF4-FFF2-40B4-BE49-F238E27FC236}">
                <a16:creationId xmlns:a16="http://schemas.microsoft.com/office/drawing/2014/main" id="{78298472-F557-4D95-B2EA-D14BE0F821F4}"/>
              </a:ext>
            </a:extLst>
          </p:cNvPr>
          <p:cNvSpPr>
            <a:spLocks noGrp="1"/>
          </p:cNvSpPr>
          <p:nvPr>
            <p:custDataLst>
              <p:tags r:id="rId36"/>
            </p:custDataLst>
          </p:nvPr>
        </p:nvSpPr>
        <p:spPr bwMode="gray">
          <a:xfrm>
            <a:off x="1755775" y="282733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5DAA57-6BF8-4145-8107-99078623B755}" type="datetime'''''''1''''''.''''''''''''''''''''''''''''''''''''2'''''''''">
              <a:rPr kumimoji="0" lang="ja-JP" altLang="en-US" sz="1000" smtClean="0">
                <a:effectLst/>
                <a:sym typeface="+mn-lt"/>
              </a:rPr>
              <a:pPr marL="0" indent="0" algn="ctr">
                <a:spcBef>
                  <a:spcPct val="0"/>
                </a:spcBef>
                <a:buNone/>
              </a:pPr>
              <a:t>1.2</a:t>
            </a:fld>
            <a:endParaRPr kumimoji="0" lang="ja-JP" altLang="en-US" sz="1000" dirty="0">
              <a:sym typeface="+mn-lt"/>
            </a:endParaRPr>
          </a:p>
        </p:txBody>
      </p:sp>
      <p:sp>
        <p:nvSpPr>
          <p:cNvPr id="50" name="Text Placeholder 12"/>
          <p:cNvSpPr>
            <a:spLocks noGrp="1"/>
          </p:cNvSpPr>
          <p:nvPr>
            <p:custDataLst>
              <p:tags r:id="rId37"/>
            </p:custDataLst>
          </p:nvPr>
        </p:nvSpPr>
        <p:spPr bwMode="auto">
          <a:xfrm>
            <a:off x="48625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FE8B08E-88CC-4C76-A441-B0DA6823ECDE}" type="datetime'''''''''''''''''''1''''''''2'''''''''''''''''">
              <a:rPr lang="ja-JP" altLang="en-US" sz="1000" b="0"/>
              <a:pPr algn="ctr">
                <a:spcBef>
                  <a:spcPct val="0"/>
                </a:spcBef>
                <a:spcAft>
                  <a:spcPct val="0"/>
                </a:spcAft>
              </a:pPr>
              <a:t>12</a:t>
            </a:fld>
            <a:endParaRPr kumimoji="0" lang="ja-JP" altLang="en-US" sz="1000" b="0" dirty="0">
              <a:sym typeface="+mn-lt"/>
            </a:endParaRPr>
          </a:p>
        </p:txBody>
      </p:sp>
      <p:cxnSp>
        <p:nvCxnSpPr>
          <p:cNvPr id="87" name="Straight Connector 86"/>
          <p:cNvCxnSpPr/>
          <p:nvPr>
            <p:custDataLst>
              <p:tags r:id="rId38"/>
            </p:custDataLst>
          </p:nvPr>
        </p:nvCxnSpPr>
        <p:spPr bwMode="gray">
          <a:xfrm>
            <a:off x="8455025" y="1484313"/>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39"/>
            </p:custDataLst>
          </p:nvPr>
        </p:nvSpPr>
        <p:spPr bwMode="gray">
          <a:xfrm>
            <a:off x="8535988" y="1620838"/>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8" name="Oval 87"/>
          <p:cNvSpPr/>
          <p:nvPr>
            <p:custDataLst>
              <p:tags r:id="rId40"/>
            </p:custDataLst>
          </p:nvPr>
        </p:nvSpPr>
        <p:spPr bwMode="gray">
          <a:xfrm>
            <a:off x="8543925" y="14462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noGrp="1"/>
          </p:cNvSpPr>
          <p:nvPr>
            <p:custDataLst>
              <p:tags r:id="rId41"/>
            </p:custDataLst>
          </p:nvPr>
        </p:nvSpPr>
        <p:spPr bwMode="auto">
          <a:xfrm>
            <a:off x="8766175" y="14128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noGrp="1"/>
          </p:cNvSpPr>
          <p:nvPr>
            <p:custDataLst>
              <p:tags r:id="rId42"/>
            </p:custDataLst>
          </p:nvPr>
        </p:nvSpPr>
        <p:spPr bwMode="auto">
          <a:xfrm>
            <a:off x="8766175" y="161607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cxnSp>
        <p:nvCxnSpPr>
          <p:cNvPr id="206" name="Straight Connector 205">
            <a:extLst>
              <a:ext uri="{FF2B5EF4-FFF2-40B4-BE49-F238E27FC236}">
                <a16:creationId xmlns:a16="http://schemas.microsoft.com/office/drawing/2014/main" id="{0ACB9C67-F8B1-4092-9E6A-73A6767D3F68}"/>
              </a:ext>
            </a:extLst>
          </p:cNvPr>
          <p:cNvCxnSpPr/>
          <p:nvPr>
            <p:custDataLst>
              <p:tags r:id="rId43"/>
            </p:custDataLst>
          </p:nvPr>
        </p:nvCxnSpPr>
        <p:spPr bwMode="auto">
          <a:xfrm>
            <a:off x="29860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44"/>
            </p:custDataLst>
          </p:nvPr>
        </p:nvCxnSpPr>
        <p:spPr bwMode="auto">
          <a:xfrm>
            <a:off x="1949450" y="48799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45"/>
            </p:custDataLst>
          </p:nvPr>
        </p:nvCxnSpPr>
        <p:spPr bwMode="auto">
          <a:xfrm>
            <a:off x="1603375" y="4878387"/>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46"/>
            </p:custDataLst>
          </p:nvPr>
        </p:nvCxnSpPr>
        <p:spPr bwMode="auto">
          <a:xfrm>
            <a:off x="7134225" y="491966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p:nvPr>
            <p:custDataLst>
              <p:tags r:id="rId47"/>
            </p:custDataLst>
          </p:nvPr>
        </p:nvCxnSpPr>
        <p:spPr bwMode="auto">
          <a:xfrm>
            <a:off x="8863012" y="5973764"/>
            <a:ext cx="128588" cy="174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p:nvPr>
            <p:custDataLst>
              <p:tags r:id="rId48"/>
            </p:custDataLst>
          </p:nvPr>
        </p:nvCxnSpPr>
        <p:spPr bwMode="auto">
          <a:xfrm>
            <a:off x="8172450" y="5911850"/>
            <a:ext cx="128588" cy="333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49"/>
            </p:custDataLst>
          </p:nvPr>
        </p:nvCxnSpPr>
        <p:spPr bwMode="auto">
          <a:xfrm>
            <a:off x="40243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50"/>
            </p:custDataLst>
          </p:nvPr>
        </p:nvCxnSpPr>
        <p:spPr bwMode="auto">
          <a:xfrm>
            <a:off x="5407025" y="490220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51"/>
            </p:custDataLst>
          </p:nvPr>
        </p:nvCxnSpPr>
        <p:spPr bwMode="auto">
          <a:xfrm>
            <a:off x="3332163" y="5834063"/>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p:nvPr>
            <p:custDataLst>
              <p:tags r:id="rId52"/>
            </p:custDataLst>
          </p:nvPr>
        </p:nvCxnSpPr>
        <p:spPr bwMode="auto">
          <a:xfrm>
            <a:off x="2295525" y="4881562"/>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p:nvPr>
            <p:custDataLst>
              <p:tags r:id="rId53"/>
            </p:custDataLst>
          </p:nvPr>
        </p:nvCxnSpPr>
        <p:spPr bwMode="auto">
          <a:xfrm>
            <a:off x="3332163" y="48879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54"/>
            </p:custDataLst>
          </p:nvPr>
        </p:nvCxnSpPr>
        <p:spPr bwMode="auto">
          <a:xfrm>
            <a:off x="8516938" y="4979989"/>
            <a:ext cx="128588" cy="555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55"/>
            </p:custDataLst>
          </p:nvPr>
        </p:nvCxnSpPr>
        <p:spPr bwMode="auto">
          <a:xfrm>
            <a:off x="4714875" y="5859462"/>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56"/>
            </p:custDataLst>
          </p:nvPr>
        </p:nvCxnSpPr>
        <p:spPr bwMode="auto">
          <a:xfrm>
            <a:off x="5060950" y="5865812"/>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57"/>
            </p:custDataLst>
          </p:nvPr>
        </p:nvCxnSpPr>
        <p:spPr bwMode="auto">
          <a:xfrm>
            <a:off x="6443662" y="4911726"/>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58"/>
            </p:custDataLst>
          </p:nvPr>
        </p:nvCxnSpPr>
        <p:spPr bwMode="auto">
          <a:xfrm>
            <a:off x="9128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59"/>
            </p:custDataLst>
          </p:nvPr>
        </p:nvCxnSpPr>
        <p:spPr bwMode="auto">
          <a:xfrm>
            <a:off x="912813" y="48736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p:nvPr>
            <p:custDataLst>
              <p:tags r:id="rId60"/>
            </p:custDataLst>
          </p:nvPr>
        </p:nvCxnSpPr>
        <p:spPr bwMode="auto">
          <a:xfrm>
            <a:off x="912813" y="5781674"/>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61"/>
            </p:custDataLst>
          </p:nvPr>
        </p:nvCxnSpPr>
        <p:spPr bwMode="auto">
          <a:xfrm>
            <a:off x="1603375" y="5797549"/>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62"/>
            </p:custDataLst>
          </p:nvPr>
        </p:nvCxnSpPr>
        <p:spPr bwMode="auto">
          <a:xfrm>
            <a:off x="12588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63"/>
            </p:custDataLst>
          </p:nvPr>
        </p:nvCxnSpPr>
        <p:spPr bwMode="auto">
          <a:xfrm>
            <a:off x="609758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64"/>
            </p:custDataLst>
          </p:nvPr>
        </p:nvCxnSpPr>
        <p:spPr bwMode="auto">
          <a:xfrm>
            <a:off x="1258888" y="487521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p:nvPr>
            <p:custDataLst>
              <p:tags r:id="rId65"/>
            </p:custDataLst>
          </p:nvPr>
        </p:nvCxnSpPr>
        <p:spPr bwMode="auto">
          <a:xfrm>
            <a:off x="1258888" y="5789612"/>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66"/>
            </p:custDataLst>
          </p:nvPr>
        </p:nvCxnSpPr>
        <p:spPr bwMode="auto">
          <a:xfrm>
            <a:off x="1603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67"/>
            </p:custDataLst>
          </p:nvPr>
        </p:nvCxnSpPr>
        <p:spPr bwMode="auto">
          <a:xfrm>
            <a:off x="1949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68"/>
            </p:custDataLst>
          </p:nvPr>
        </p:nvCxnSpPr>
        <p:spPr bwMode="auto">
          <a:xfrm>
            <a:off x="1949450" y="5805488"/>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69"/>
            </p:custDataLst>
          </p:nvPr>
        </p:nvCxnSpPr>
        <p:spPr bwMode="auto">
          <a:xfrm>
            <a:off x="22955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70"/>
            </p:custDataLst>
          </p:nvPr>
        </p:nvCxnSpPr>
        <p:spPr bwMode="auto">
          <a:xfrm>
            <a:off x="2295525" y="581342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B56814A-F45C-4E84-B84B-6713A08CA0D8}"/>
              </a:ext>
            </a:extLst>
          </p:cNvPr>
          <p:cNvCxnSpPr/>
          <p:nvPr>
            <p:custDataLst>
              <p:tags r:id="rId71"/>
            </p:custDataLst>
          </p:nvPr>
        </p:nvCxnSpPr>
        <p:spPr bwMode="auto">
          <a:xfrm>
            <a:off x="26416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72"/>
            </p:custDataLst>
          </p:nvPr>
        </p:nvCxnSpPr>
        <p:spPr bwMode="auto">
          <a:xfrm>
            <a:off x="2641600" y="48831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73"/>
            </p:custDataLst>
          </p:nvPr>
        </p:nvCxnSpPr>
        <p:spPr bwMode="auto">
          <a:xfrm>
            <a:off x="2641600" y="581977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p:nvPr>
            <p:custDataLst>
              <p:tags r:id="rId74"/>
            </p:custDataLst>
          </p:nvPr>
        </p:nvCxnSpPr>
        <p:spPr bwMode="auto">
          <a:xfrm>
            <a:off x="2986088" y="488473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75"/>
            </p:custDataLst>
          </p:nvPr>
        </p:nvCxnSpPr>
        <p:spPr bwMode="auto">
          <a:xfrm>
            <a:off x="2986088" y="5826125"/>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76"/>
            </p:custDataLst>
          </p:nvPr>
        </p:nvCxnSpPr>
        <p:spPr bwMode="auto">
          <a:xfrm>
            <a:off x="4368800" y="5853112"/>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77"/>
            </p:custDataLst>
          </p:nvPr>
        </p:nvCxnSpPr>
        <p:spPr bwMode="auto">
          <a:xfrm>
            <a:off x="33321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78"/>
            </p:custDataLst>
          </p:nvPr>
        </p:nvCxnSpPr>
        <p:spPr bwMode="auto">
          <a:xfrm>
            <a:off x="36782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p:nvPr>
            <p:custDataLst>
              <p:tags r:id="rId79"/>
            </p:custDataLst>
          </p:nvPr>
        </p:nvCxnSpPr>
        <p:spPr bwMode="auto">
          <a:xfrm>
            <a:off x="3678238" y="488950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80"/>
            </p:custDataLst>
          </p:nvPr>
        </p:nvCxnSpPr>
        <p:spPr bwMode="auto">
          <a:xfrm>
            <a:off x="3678238" y="5840413"/>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81"/>
            </p:custDataLst>
          </p:nvPr>
        </p:nvCxnSpPr>
        <p:spPr bwMode="auto">
          <a:xfrm>
            <a:off x="4024313" y="48926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82"/>
            </p:custDataLst>
          </p:nvPr>
        </p:nvCxnSpPr>
        <p:spPr bwMode="auto">
          <a:xfrm>
            <a:off x="4024313" y="5846763"/>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83"/>
            </p:custDataLst>
          </p:nvPr>
        </p:nvCxnSpPr>
        <p:spPr bwMode="auto">
          <a:xfrm>
            <a:off x="43688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84"/>
            </p:custDataLst>
          </p:nvPr>
        </p:nvCxnSpPr>
        <p:spPr bwMode="auto">
          <a:xfrm>
            <a:off x="4368800" y="48942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85"/>
            </p:custDataLst>
          </p:nvPr>
        </p:nvCxnSpPr>
        <p:spPr bwMode="auto">
          <a:xfrm>
            <a:off x="47148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86"/>
            </p:custDataLst>
          </p:nvPr>
        </p:nvCxnSpPr>
        <p:spPr bwMode="auto">
          <a:xfrm>
            <a:off x="4714875" y="489585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87"/>
            </p:custDataLst>
          </p:nvPr>
        </p:nvCxnSpPr>
        <p:spPr bwMode="auto">
          <a:xfrm>
            <a:off x="50609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88"/>
            </p:custDataLst>
          </p:nvPr>
        </p:nvCxnSpPr>
        <p:spPr bwMode="auto">
          <a:xfrm>
            <a:off x="5060950" y="4899026"/>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89"/>
            </p:custDataLst>
          </p:nvPr>
        </p:nvCxnSpPr>
        <p:spPr bwMode="auto">
          <a:xfrm>
            <a:off x="54070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90"/>
            </p:custDataLst>
          </p:nvPr>
        </p:nvCxnSpPr>
        <p:spPr bwMode="auto">
          <a:xfrm>
            <a:off x="5407025" y="5873750"/>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91"/>
            </p:custDataLst>
          </p:nvPr>
        </p:nvCxnSpPr>
        <p:spPr bwMode="auto">
          <a:xfrm>
            <a:off x="57515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92"/>
            </p:custDataLst>
          </p:nvPr>
        </p:nvCxnSpPr>
        <p:spPr bwMode="auto">
          <a:xfrm>
            <a:off x="5751513" y="4905376"/>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93"/>
            </p:custDataLst>
          </p:nvPr>
        </p:nvCxnSpPr>
        <p:spPr bwMode="auto">
          <a:xfrm>
            <a:off x="5751513" y="5880101"/>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94"/>
            </p:custDataLst>
          </p:nvPr>
        </p:nvCxnSpPr>
        <p:spPr bwMode="auto">
          <a:xfrm>
            <a:off x="6097587" y="490855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p:nvPr>
            <p:custDataLst>
              <p:tags r:id="rId95"/>
            </p:custDataLst>
          </p:nvPr>
        </p:nvCxnSpPr>
        <p:spPr bwMode="auto">
          <a:xfrm>
            <a:off x="6097588" y="588486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96"/>
            </p:custDataLst>
          </p:nvPr>
        </p:nvCxnSpPr>
        <p:spPr bwMode="auto">
          <a:xfrm>
            <a:off x="6443662"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45A83A54-8EC9-4CA6-9FC4-0D926A02916E}"/>
              </a:ext>
            </a:extLst>
          </p:cNvPr>
          <p:cNvCxnSpPr/>
          <p:nvPr>
            <p:custDataLst>
              <p:tags r:id="rId97"/>
            </p:custDataLst>
          </p:nvPr>
        </p:nvCxnSpPr>
        <p:spPr bwMode="auto">
          <a:xfrm>
            <a:off x="6443663" y="588962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98"/>
            </p:custDataLst>
          </p:nvPr>
        </p:nvCxnSpPr>
        <p:spPr bwMode="auto">
          <a:xfrm>
            <a:off x="67897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99"/>
            </p:custDataLst>
          </p:nvPr>
        </p:nvCxnSpPr>
        <p:spPr bwMode="auto">
          <a:xfrm>
            <a:off x="6789738" y="491490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p:nvPr>
            <p:custDataLst>
              <p:tags r:id="rId100"/>
            </p:custDataLst>
          </p:nvPr>
        </p:nvCxnSpPr>
        <p:spPr bwMode="auto">
          <a:xfrm>
            <a:off x="6789738" y="589597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101"/>
            </p:custDataLst>
          </p:nvPr>
        </p:nvCxnSpPr>
        <p:spPr bwMode="auto">
          <a:xfrm>
            <a:off x="71342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102"/>
            </p:custDataLst>
          </p:nvPr>
        </p:nvCxnSpPr>
        <p:spPr bwMode="auto">
          <a:xfrm>
            <a:off x="7134225" y="589915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103"/>
            </p:custDataLst>
          </p:nvPr>
        </p:nvCxnSpPr>
        <p:spPr bwMode="auto">
          <a:xfrm>
            <a:off x="7480301" y="4797425"/>
            <a:ext cx="1238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104"/>
            </p:custDataLst>
          </p:nvPr>
        </p:nvCxnSpPr>
        <p:spPr bwMode="auto">
          <a:xfrm>
            <a:off x="7480301" y="4922839"/>
            <a:ext cx="1238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p:nvPr>
            <p:custDataLst>
              <p:tags r:id="rId105"/>
            </p:custDataLst>
          </p:nvPr>
        </p:nvCxnSpPr>
        <p:spPr bwMode="auto">
          <a:xfrm>
            <a:off x="7480300" y="590391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106"/>
            </p:custDataLst>
          </p:nvPr>
        </p:nvCxnSpPr>
        <p:spPr bwMode="auto">
          <a:xfrm>
            <a:off x="8863013" y="5035550"/>
            <a:ext cx="128588" cy="698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107"/>
            </p:custDataLst>
          </p:nvPr>
        </p:nvCxnSpPr>
        <p:spPr bwMode="auto">
          <a:xfrm>
            <a:off x="7829550" y="4797425"/>
            <a:ext cx="1206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108"/>
            </p:custDataLst>
          </p:nvPr>
        </p:nvCxnSpPr>
        <p:spPr bwMode="auto">
          <a:xfrm>
            <a:off x="7829550" y="4927601"/>
            <a:ext cx="120650"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p:nvPr>
            <p:custDataLst>
              <p:tags r:id="rId109"/>
            </p:custDataLst>
          </p:nvPr>
        </p:nvCxnSpPr>
        <p:spPr bwMode="auto">
          <a:xfrm>
            <a:off x="7826375" y="590867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110"/>
            </p:custDataLst>
          </p:nvPr>
        </p:nvCxnSpPr>
        <p:spPr bwMode="auto">
          <a:xfrm>
            <a:off x="8175626" y="4797425"/>
            <a:ext cx="12541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111"/>
            </p:custDataLst>
          </p:nvPr>
        </p:nvCxnSpPr>
        <p:spPr bwMode="auto">
          <a:xfrm>
            <a:off x="8175626" y="4933950"/>
            <a:ext cx="125413" cy="460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112"/>
            </p:custDataLst>
          </p:nvPr>
        </p:nvCxnSpPr>
        <p:spPr bwMode="auto">
          <a:xfrm>
            <a:off x="85169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p:nvPr>
            <p:custDataLst>
              <p:tags r:id="rId113"/>
            </p:custDataLst>
          </p:nvPr>
        </p:nvCxnSpPr>
        <p:spPr bwMode="auto">
          <a:xfrm>
            <a:off x="8516938" y="5945189"/>
            <a:ext cx="128588" cy="285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114"/>
            </p:custDataLst>
          </p:nvPr>
        </p:nvCxnSpPr>
        <p:spPr bwMode="auto">
          <a:xfrm>
            <a:off x="88630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83" name="Chart 382">
            <a:extLst>
              <a:ext uri="{FF2B5EF4-FFF2-40B4-BE49-F238E27FC236}">
                <a16:creationId xmlns:a16="http://schemas.microsoft.com/office/drawing/2014/main" id="{3DA82FE2-F733-469B-907F-A36002A5986A}"/>
              </a:ext>
            </a:extLst>
          </p:cNvPr>
          <p:cNvGraphicFramePr/>
          <p:nvPr>
            <p:custDataLst>
              <p:tags r:id="rId115"/>
            </p:custDataLst>
          </p:nvPr>
        </p:nvGraphicFramePr>
        <p:xfrm>
          <a:off x="96838" y="4699000"/>
          <a:ext cx="9259887" cy="1600200"/>
        </p:xfrm>
        <a:graphic>
          <a:graphicData uri="http://schemas.openxmlformats.org/drawingml/2006/chart">
            <c:chart xmlns:c="http://schemas.openxmlformats.org/drawingml/2006/chart" xmlns:r="http://schemas.openxmlformats.org/officeDocument/2006/relationships" r:id="rId222"/>
          </a:graphicData>
        </a:graphic>
      </p:graphicFrame>
      <p:sp>
        <p:nvSpPr>
          <p:cNvPr id="121" name="Text Placeholder 12"/>
          <p:cNvSpPr>
            <a:spLocks noGrp="1"/>
          </p:cNvSpPr>
          <p:nvPr>
            <p:custDataLst>
              <p:tags r:id="rId116"/>
            </p:custDataLst>
          </p:nvPr>
        </p:nvSpPr>
        <p:spPr bwMode="auto">
          <a:xfrm>
            <a:off x="7294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23660C-D144-4C7C-8452-D07B80B845D0}" type="datetime'''''''''''''''''''''''''''1''''''''''''9'''">
              <a:rPr lang="ja-JP" altLang="en-US" sz="1000" b="0" smtClean="0"/>
              <a:pPr/>
              <a:t>19</a:t>
            </a:fld>
            <a:endParaRPr kumimoji="0" lang="ja-JP" altLang="en-US" sz="1000" b="0" dirty="0">
              <a:sym typeface="+mn-lt"/>
            </a:endParaRPr>
          </a:p>
        </p:txBody>
      </p:sp>
      <p:sp>
        <p:nvSpPr>
          <p:cNvPr id="151" name="Text Placeholder 12"/>
          <p:cNvSpPr>
            <a:spLocks noGrp="1"/>
          </p:cNvSpPr>
          <p:nvPr>
            <p:custDataLst>
              <p:tags r:id="rId117"/>
            </p:custDataLst>
          </p:nvPr>
        </p:nvSpPr>
        <p:spPr bwMode="gray">
          <a:xfrm>
            <a:off x="7577138" y="53419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880165B-431E-4583-8598-E25FF6E3A58F}" type="datetime'''6''''''9''''''.''''''9'''''''''''''''''''''">
              <a:rPr lang="ja-JP" altLang="en-US" sz="1000" b="0" smtClean="0">
                <a:effectLst/>
              </a:rPr>
              <a:pPr/>
              <a:t>69.9</a:t>
            </a:fld>
            <a:endParaRPr kumimoji="0" lang="ja-JP" altLang="en-US" sz="1000" b="0" dirty="0">
              <a:sym typeface="+mn-lt"/>
            </a:endParaRPr>
          </a:p>
        </p:txBody>
      </p:sp>
      <p:sp>
        <p:nvSpPr>
          <p:cNvPr id="172" name="Text Placeholder 12"/>
          <p:cNvSpPr>
            <a:spLocks noGrp="1"/>
          </p:cNvSpPr>
          <p:nvPr>
            <p:custDataLst>
              <p:tags r:id="rId118"/>
            </p:custDataLst>
          </p:nvPr>
        </p:nvSpPr>
        <p:spPr bwMode="gray">
          <a:xfrm>
            <a:off x="7577138" y="59785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CDF80F3-5636-4E07-ADEF-246B00FDE0C5}" type="datetime'2''''''''''''''''''''''''''0''.8'''''''''''''''''''">
              <a:rPr lang="ja-JP" altLang="en-US" sz="1000" b="0" smtClean="0">
                <a:solidFill>
                  <a:schemeClr val="bg1"/>
                </a:solidFill>
                <a:effectLst/>
              </a:rPr>
              <a:pPr/>
              <a:t>20.8</a:t>
            </a:fld>
            <a:endParaRPr kumimoji="0" lang="ja-JP" altLang="en-US" sz="1000" b="0" dirty="0">
              <a:solidFill>
                <a:schemeClr val="bg1"/>
              </a:solidFill>
              <a:sym typeface="+mn-lt"/>
            </a:endParaRPr>
          </a:p>
        </p:txBody>
      </p:sp>
      <p:sp>
        <p:nvSpPr>
          <p:cNvPr id="122" name="Text Placeholder 12"/>
          <p:cNvSpPr>
            <a:spLocks noGrp="1"/>
          </p:cNvSpPr>
          <p:nvPr>
            <p:custDataLst>
              <p:tags r:id="rId119"/>
            </p:custDataLst>
          </p:nvPr>
        </p:nvSpPr>
        <p:spPr bwMode="auto">
          <a:xfrm>
            <a:off x="76406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B37A71F-31FC-4E1A-ACD7-FB4551B1B023}" type="datetime'''''''''2''''''''''''''''''''''''''''''''''''0'''">
              <a:rPr lang="ja-JP" altLang="en-US" sz="1000" b="0" smtClean="0"/>
              <a:pPr/>
              <a:t>20</a:t>
            </a:fld>
            <a:endParaRPr kumimoji="0" lang="ja-JP" altLang="en-US" sz="1000" b="0" dirty="0">
              <a:sym typeface="+mn-lt"/>
            </a:endParaRPr>
          </a:p>
        </p:txBody>
      </p:sp>
      <p:sp>
        <p:nvSpPr>
          <p:cNvPr id="152" name="Text Placeholder 12"/>
          <p:cNvSpPr>
            <a:spLocks noGrp="1"/>
          </p:cNvSpPr>
          <p:nvPr>
            <p:custDataLst>
              <p:tags r:id="rId120"/>
            </p:custDataLst>
          </p:nvPr>
        </p:nvSpPr>
        <p:spPr bwMode="gray">
          <a:xfrm>
            <a:off x="7923213" y="53451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9E8644D-54E6-483E-912E-53DA6C22F119}" type="datetime'''''''''''''''''''''''''''6''''''''''''''9''''''''.''9'">
              <a:rPr lang="ja-JP" altLang="en-US" sz="1000" b="0" smtClean="0">
                <a:effectLst/>
              </a:rPr>
              <a:pPr/>
              <a:t>69.9</a:t>
            </a:fld>
            <a:endParaRPr kumimoji="0" lang="ja-JP" altLang="en-US" sz="1000" b="0" dirty="0">
              <a:sym typeface="+mn-lt"/>
            </a:endParaRPr>
          </a:p>
        </p:txBody>
      </p:sp>
      <p:sp>
        <p:nvSpPr>
          <p:cNvPr id="173" name="Text Placeholder 12"/>
          <p:cNvSpPr>
            <a:spLocks noGrp="1"/>
          </p:cNvSpPr>
          <p:nvPr>
            <p:custDataLst>
              <p:tags r:id="rId121"/>
            </p:custDataLst>
          </p:nvPr>
        </p:nvSpPr>
        <p:spPr bwMode="gray">
          <a:xfrm>
            <a:off x="7923213" y="59801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4DBFAD9-8C79-485D-8407-073149BE71B9}" type="datetime'''''''''''''''''''''''''''2''''''0''''''''.5'">
              <a:rPr lang="ja-JP" altLang="en-US" sz="1000" b="0" smtClean="0">
                <a:solidFill>
                  <a:schemeClr val="bg1"/>
                </a:solidFill>
                <a:effectLst/>
              </a:rPr>
              <a:pPr/>
              <a:t>20.5</a:t>
            </a:fld>
            <a:endParaRPr kumimoji="0" lang="ja-JP" altLang="en-US" sz="1000" b="0" dirty="0">
              <a:solidFill>
                <a:schemeClr val="bg1"/>
              </a:solidFill>
              <a:sym typeface="+mn-lt"/>
            </a:endParaRPr>
          </a:p>
        </p:txBody>
      </p:sp>
      <p:sp>
        <p:nvSpPr>
          <p:cNvPr id="123" name="Text Placeholder 12"/>
          <p:cNvSpPr>
            <a:spLocks noGrp="1"/>
          </p:cNvSpPr>
          <p:nvPr>
            <p:custDataLst>
              <p:tags r:id="rId122"/>
            </p:custDataLst>
          </p:nvPr>
        </p:nvSpPr>
        <p:spPr bwMode="auto">
          <a:xfrm>
            <a:off x="7986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246CAB-33D3-4746-98B1-D6544AE412B8}" type="datetime'''''''2''''''''''''''''''''''1'">
              <a:rPr lang="ja-JP" altLang="en-US" sz="1000" b="0" smtClean="0"/>
              <a:pPr/>
              <a:t>21</a:t>
            </a:fld>
            <a:endParaRPr kumimoji="0" lang="ja-JP" altLang="en-US" sz="1000" b="0" dirty="0">
              <a:sym typeface="+mn-lt"/>
            </a:endParaRPr>
          </a:p>
        </p:txBody>
      </p:sp>
      <p:sp>
        <p:nvSpPr>
          <p:cNvPr id="323" name="テキスト プレースホルダ 9">
            <a:extLst>
              <a:ext uri="{FF2B5EF4-FFF2-40B4-BE49-F238E27FC236}">
                <a16:creationId xmlns:a16="http://schemas.microsoft.com/office/drawing/2014/main" id="{61E866FC-B48C-4F59-BE26-D52D53B77919}"/>
              </a:ext>
            </a:extLst>
          </p:cNvPr>
          <p:cNvSpPr>
            <a:spLocks noGrp="1"/>
          </p:cNvSpPr>
          <p:nvPr>
            <p:custDataLst>
              <p:tags r:id="rId123"/>
            </p:custDataLst>
          </p:nvPr>
        </p:nvSpPr>
        <p:spPr bwMode="gray">
          <a:xfrm>
            <a:off x="8269288" y="4811713"/>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D46E2E-070F-4B3C-8A70-5E2A8C016B91}" type="datetime'''''''''''1''''''3''''''.''''0'''''''''''''''''''''">
              <a:rPr lang="ja-JP" altLang="en-US" sz="1000" smtClean="0">
                <a:effectLst/>
              </a:rPr>
              <a:pPr/>
              <a:t>13.0</a:t>
            </a:fld>
            <a:endParaRPr lang="ja-JP" altLang="en-US" sz="1000" dirty="0">
              <a:sym typeface="+mn-lt"/>
            </a:endParaRPr>
          </a:p>
        </p:txBody>
      </p:sp>
      <p:sp>
        <p:nvSpPr>
          <p:cNvPr id="313" name="テキスト プレースホルダ 9">
            <a:extLst>
              <a:ext uri="{FF2B5EF4-FFF2-40B4-BE49-F238E27FC236}">
                <a16:creationId xmlns:a16="http://schemas.microsoft.com/office/drawing/2014/main" id="{BA66B69D-6B10-42F1-B692-E4E77120CE66}"/>
              </a:ext>
            </a:extLst>
          </p:cNvPr>
          <p:cNvSpPr>
            <a:spLocks noGrp="1"/>
          </p:cNvSpPr>
          <p:nvPr>
            <p:custDataLst>
              <p:tags r:id="rId124"/>
            </p:custDataLst>
          </p:nvPr>
        </p:nvSpPr>
        <p:spPr bwMode="gray">
          <a:xfrm>
            <a:off x="8269288" y="538638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25F598-DC61-4FA5-8D8E-6F6B62946E1B}" type="datetime'''''''''''''''''''''''''6''''''''''''''''''8.8'''''''''''''">
              <a:rPr lang="ja-JP" altLang="en-US" sz="1000" smtClean="0">
                <a:effectLst/>
              </a:rPr>
              <a:pPr/>
              <a:t>68.8</a:t>
            </a:fld>
            <a:endParaRPr lang="ja-JP" altLang="en-US" sz="1000" dirty="0">
              <a:sym typeface="+mn-lt"/>
            </a:endParaRPr>
          </a:p>
        </p:txBody>
      </p:sp>
      <p:sp>
        <p:nvSpPr>
          <p:cNvPr id="324" name="テキスト プレースホルダ 9">
            <a:extLst>
              <a:ext uri="{FF2B5EF4-FFF2-40B4-BE49-F238E27FC236}">
                <a16:creationId xmlns:a16="http://schemas.microsoft.com/office/drawing/2014/main" id="{B7194AEE-54FE-4EB3-9E5E-5205EF2F271D}"/>
              </a:ext>
            </a:extLst>
          </p:cNvPr>
          <p:cNvSpPr>
            <a:spLocks noGrp="1"/>
          </p:cNvSpPr>
          <p:nvPr>
            <p:custDataLst>
              <p:tags r:id="rId125"/>
            </p:custDataLst>
          </p:nvPr>
        </p:nvSpPr>
        <p:spPr bwMode="gray">
          <a:xfrm>
            <a:off x="8269288" y="599598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AAE273-AD82-4C80-B849-864C77D36515}" type="datetime'''''''1''''''8''''.''''''''''''''''''2'''''''''''''''''''">
              <a:rPr lang="ja-JP" altLang="en-US" sz="1000" smtClean="0">
                <a:solidFill>
                  <a:schemeClr val="bg1"/>
                </a:solidFill>
                <a:effectLst/>
              </a:rPr>
              <a:pPr/>
              <a:t>18.2</a:t>
            </a:fld>
            <a:endParaRPr lang="ja-JP" altLang="en-US" sz="1000" dirty="0">
              <a:solidFill>
                <a:schemeClr val="bg1"/>
              </a:solidFill>
              <a:sym typeface="+mn-lt"/>
            </a:endParaRPr>
          </a:p>
        </p:txBody>
      </p:sp>
      <p:sp>
        <p:nvSpPr>
          <p:cNvPr id="124" name="Text Placeholder 12"/>
          <p:cNvSpPr>
            <a:spLocks noGrp="1"/>
          </p:cNvSpPr>
          <p:nvPr>
            <p:custDataLst>
              <p:tags r:id="rId126"/>
            </p:custDataLst>
          </p:nvPr>
        </p:nvSpPr>
        <p:spPr bwMode="auto">
          <a:xfrm>
            <a:off x="8332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FDBE6E2-8222-4BD6-8F78-051D45DA7F7F}" type="datetime'''''''''''''''''''''3''''''''0'''''''">
              <a:rPr lang="ja-JP" altLang="en-US" sz="1000" b="0" smtClean="0"/>
              <a:pPr/>
              <a:t>30</a:t>
            </a:fld>
            <a:endParaRPr kumimoji="0" lang="ja-JP" altLang="en-US" sz="1000" b="0" dirty="0">
              <a:sym typeface="+mn-lt"/>
            </a:endParaRPr>
          </a:p>
        </p:txBody>
      </p:sp>
      <p:sp>
        <p:nvSpPr>
          <p:cNvPr id="316" name="テキスト プレースホルダ 9">
            <a:extLst>
              <a:ext uri="{FF2B5EF4-FFF2-40B4-BE49-F238E27FC236}">
                <a16:creationId xmlns:a16="http://schemas.microsoft.com/office/drawing/2014/main" id="{BCE4E5F5-FDBC-4D2E-BCF5-DF02E2C9554B}"/>
              </a:ext>
            </a:extLst>
          </p:cNvPr>
          <p:cNvSpPr>
            <a:spLocks noGrp="1"/>
          </p:cNvSpPr>
          <p:nvPr>
            <p:custDataLst>
              <p:tags r:id="rId127"/>
            </p:custDataLst>
          </p:nvPr>
        </p:nvSpPr>
        <p:spPr bwMode="gray">
          <a:xfrm>
            <a:off x="8613775" y="54276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A9E134-5273-4476-A65A-E999147EA808}" type="datetime'''''''''''''''''66''''''''''''''''''''''.''8'''''''''''''''">
              <a:rPr lang="ja-JP" altLang="en-US" sz="1000" smtClean="0">
                <a:effectLst/>
              </a:rPr>
              <a:pPr/>
              <a:t>66.8</a:t>
            </a:fld>
            <a:endParaRPr lang="ja-JP" altLang="en-US" sz="1000" dirty="0">
              <a:sym typeface="+mn-lt"/>
            </a:endParaRPr>
          </a:p>
        </p:txBody>
      </p:sp>
      <p:sp>
        <p:nvSpPr>
          <p:cNvPr id="320" name="テキスト プレースホルダ 9">
            <a:extLst>
              <a:ext uri="{FF2B5EF4-FFF2-40B4-BE49-F238E27FC236}">
                <a16:creationId xmlns:a16="http://schemas.microsoft.com/office/drawing/2014/main" id="{FE260616-8365-43E8-B53B-A943D617D0D8}"/>
              </a:ext>
            </a:extLst>
          </p:cNvPr>
          <p:cNvSpPr>
            <a:spLocks noGrp="1"/>
          </p:cNvSpPr>
          <p:nvPr>
            <p:custDataLst>
              <p:tags r:id="rId128"/>
            </p:custDataLst>
          </p:nvPr>
        </p:nvSpPr>
        <p:spPr bwMode="gray">
          <a:xfrm>
            <a:off x="8613775" y="601027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956D90-20B0-4F96-82DD-EF5F233102F0}" type="datetime'''''''''''''''''''''''''''1''''''''6''''''''''.''''''''''2'''">
              <a:rPr lang="ja-JP" altLang="en-US" sz="1000" smtClean="0">
                <a:solidFill>
                  <a:schemeClr val="bg1"/>
                </a:solidFill>
                <a:effectLst/>
              </a:rPr>
              <a:pPr/>
              <a:t>16.2</a:t>
            </a:fld>
            <a:endParaRPr lang="ja-JP" altLang="en-US" sz="1000" dirty="0">
              <a:solidFill>
                <a:schemeClr val="bg1"/>
              </a:solidFill>
              <a:sym typeface="+mn-lt"/>
            </a:endParaRPr>
          </a:p>
        </p:txBody>
      </p:sp>
      <p:sp>
        <p:nvSpPr>
          <p:cNvPr id="192" name="Text Placeholder 12">
            <a:extLst>
              <a:ext uri="{FF2B5EF4-FFF2-40B4-BE49-F238E27FC236}">
                <a16:creationId xmlns:a16="http://schemas.microsoft.com/office/drawing/2014/main" id="{51531CC3-6EAD-4A66-8230-493D0DA36DF8}"/>
              </a:ext>
            </a:extLst>
          </p:cNvPr>
          <p:cNvSpPr>
            <a:spLocks noGrp="1"/>
          </p:cNvSpPr>
          <p:nvPr>
            <p:custDataLst>
              <p:tags r:id="rId129"/>
            </p:custDataLst>
          </p:nvPr>
        </p:nvSpPr>
        <p:spPr bwMode="auto">
          <a:xfrm>
            <a:off x="8677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9F001AB-AA60-4139-B91D-B328130CB889}" type="datetime'4''''''''''''''''''''''''''''''''''0'''">
              <a:rPr kumimoji="0" lang="ja-JP" altLang="en-US" sz="1000" b="0" smtClean="0"/>
              <a:pPr/>
              <a:t>40</a:t>
            </a:fld>
            <a:endParaRPr kumimoji="0" lang="ja-JP" altLang="en-US" sz="1000" b="0" dirty="0">
              <a:sym typeface="+mn-lt"/>
            </a:endParaRPr>
          </a:p>
        </p:txBody>
      </p:sp>
      <p:sp>
        <p:nvSpPr>
          <p:cNvPr id="105" name="Text Placeholder 12"/>
          <p:cNvSpPr>
            <a:spLocks noGrp="1"/>
          </p:cNvSpPr>
          <p:nvPr>
            <p:custDataLst>
              <p:tags r:id="rId130"/>
            </p:custDataLst>
          </p:nvPr>
        </p:nvSpPr>
        <p:spPr bwMode="auto">
          <a:xfrm>
            <a:off x="10731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AD2300-962D-4654-9122-1E9F1D3442E3}" type="datetime'''''''''''''''''''''''''''''''''''''''''''0''''''''''1'''">
              <a:rPr lang="ja-JP" altLang="en-US" sz="1000" b="0"/>
              <a:pPr algn="ctr">
                <a:spcBef>
                  <a:spcPct val="0"/>
                </a:spcBef>
                <a:spcAft>
                  <a:spcPct val="0"/>
                </a:spcAft>
              </a:pPr>
              <a:t>01</a:t>
            </a:fld>
            <a:endParaRPr kumimoji="0" lang="ja-JP" altLang="en-US" sz="1000" b="0" dirty="0">
              <a:sym typeface="+mn-lt"/>
            </a:endParaRPr>
          </a:p>
        </p:txBody>
      </p:sp>
      <p:sp>
        <p:nvSpPr>
          <p:cNvPr id="219" name="テキスト プレースホルダ 9">
            <a:extLst>
              <a:ext uri="{FF2B5EF4-FFF2-40B4-BE49-F238E27FC236}">
                <a16:creationId xmlns:a16="http://schemas.microsoft.com/office/drawing/2014/main" id="{65013779-4DA5-4A14-9A15-131FE0AC9304}"/>
              </a:ext>
            </a:extLst>
          </p:cNvPr>
          <p:cNvSpPr>
            <a:spLocks noGrp="1"/>
          </p:cNvSpPr>
          <p:nvPr>
            <p:custDataLst>
              <p:tags r:id="rId131"/>
            </p:custDataLst>
          </p:nvPr>
        </p:nvSpPr>
        <p:spPr bwMode="gray">
          <a:xfrm>
            <a:off x="8959850" y="547211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8932A4-F48E-4FC7-80F4-5CC7906EBFCD}" type="datetime'''''''''''''''63''''''''.''''''''''''''''''''''2'''''">
              <a:rPr lang="ja-JP" altLang="en-US" sz="1000" smtClean="0">
                <a:effectLst/>
              </a:rPr>
              <a:pPr/>
              <a:t>63.2</a:t>
            </a:fld>
            <a:endParaRPr lang="ja-JP" altLang="en-US" sz="1000" dirty="0">
              <a:sym typeface="+mn-lt"/>
            </a:endParaRPr>
          </a:p>
        </p:txBody>
      </p:sp>
      <p:sp>
        <p:nvSpPr>
          <p:cNvPr id="155" name="Text Placeholder 12"/>
          <p:cNvSpPr>
            <a:spLocks noGrp="1"/>
          </p:cNvSpPr>
          <p:nvPr>
            <p:custDataLst>
              <p:tags r:id="rId132"/>
            </p:custDataLst>
          </p:nvPr>
        </p:nvSpPr>
        <p:spPr bwMode="gray">
          <a:xfrm>
            <a:off x="1009650" y="59182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0B5E5C-DB6E-4E61-841C-392CD99549E5}" type="datetime'''''''''2''''''9''''.''''''''''''''''''''''''3'''''">
              <a:rPr lang="ja-JP" altLang="en-US" sz="1000" b="0" smtClean="0">
                <a:solidFill>
                  <a:schemeClr val="bg1"/>
                </a:solidFill>
                <a:effectLst/>
              </a:rPr>
              <a:pPr/>
              <a:t>29.3</a:t>
            </a:fld>
            <a:endParaRPr kumimoji="0" lang="ja-JP" altLang="en-US" sz="1000" b="0" dirty="0">
              <a:solidFill>
                <a:schemeClr val="bg1"/>
              </a:solidFill>
              <a:sym typeface="+mn-lt"/>
            </a:endParaRPr>
          </a:p>
        </p:txBody>
      </p:sp>
      <p:sp>
        <p:nvSpPr>
          <p:cNvPr id="199" name="Text Placeholder 12">
            <a:extLst>
              <a:ext uri="{FF2B5EF4-FFF2-40B4-BE49-F238E27FC236}">
                <a16:creationId xmlns:a16="http://schemas.microsoft.com/office/drawing/2014/main" id="{B58B24F0-A1A7-40E6-BB37-A9F3BDC150CF}"/>
              </a:ext>
            </a:extLst>
          </p:cNvPr>
          <p:cNvSpPr>
            <a:spLocks noGrp="1"/>
          </p:cNvSpPr>
          <p:nvPr>
            <p:custDataLst>
              <p:tags r:id="rId133"/>
            </p:custDataLst>
          </p:nvPr>
        </p:nvSpPr>
        <p:spPr bwMode="auto">
          <a:xfrm>
            <a:off x="9023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71B545F-6579-4654-8E3A-0301F40A8AF9}" type="datetime'''''''''5''''''0'''">
              <a:rPr kumimoji="0" lang="ja-JP" altLang="en-US" sz="1000" b="0" smtClean="0"/>
              <a:pPr/>
              <a:t>50</a:t>
            </a:fld>
            <a:endParaRPr kumimoji="0" lang="ja-JP" altLang="en-US" sz="1000" b="0" dirty="0">
              <a:sym typeface="+mn-lt"/>
            </a:endParaRPr>
          </a:p>
        </p:txBody>
      </p:sp>
      <p:sp>
        <p:nvSpPr>
          <p:cNvPr id="125" name="Text Placeholder 12"/>
          <p:cNvSpPr>
            <a:spLocks noGrp="1"/>
          </p:cNvSpPr>
          <p:nvPr>
            <p:custDataLst>
              <p:tags r:id="rId134"/>
            </p:custDataLst>
          </p:nvPr>
        </p:nvSpPr>
        <p:spPr bwMode="auto">
          <a:xfrm>
            <a:off x="9310688" y="4875213"/>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D14E672-2587-4A15-A85D-F06385583E6C}" type="datetime'''6''5歳''''''以''''''''''''''''''''''''''''''上'''''''">
              <a:rPr lang="ja-JP" altLang="en-US" sz="1000" b="0"/>
              <a:pPr>
                <a:spcBef>
                  <a:spcPct val="0"/>
                </a:spcBef>
                <a:spcAft>
                  <a:spcPct val="0"/>
                </a:spcAft>
              </a:pPr>
              <a:t>65歳以上</a:t>
            </a:fld>
            <a:endParaRPr kumimoji="0" lang="ja-JP" altLang="en-US" sz="1000" b="0" dirty="0">
              <a:sym typeface="+mn-lt"/>
            </a:endParaRPr>
          </a:p>
        </p:txBody>
      </p:sp>
      <p:sp>
        <p:nvSpPr>
          <p:cNvPr id="115" name="Text Placeholder 12"/>
          <p:cNvSpPr>
            <a:spLocks noGrp="1"/>
          </p:cNvSpPr>
          <p:nvPr>
            <p:custDataLst>
              <p:tags r:id="rId135"/>
            </p:custDataLst>
          </p:nvPr>
        </p:nvSpPr>
        <p:spPr bwMode="auto">
          <a:xfrm>
            <a:off x="4529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7CE8E2-3CFC-4DA7-A1AD-EF0BC7CB44C5}" type="datetime'''''''''1''''''''''''''''''''''''''''''''''''''1'''''''''">
              <a:rPr lang="ja-JP" altLang="en-US" sz="1000" b="0"/>
              <a:pPr algn="ctr">
                <a:spcBef>
                  <a:spcPct val="0"/>
                </a:spcBef>
                <a:spcAft>
                  <a:spcPct val="0"/>
                </a:spcAft>
              </a:pPr>
              <a:t>11</a:t>
            </a:fld>
            <a:endParaRPr kumimoji="0" lang="ja-JP" altLang="en-US" sz="1000" b="0" dirty="0">
              <a:sym typeface="+mn-lt"/>
            </a:endParaRPr>
          </a:p>
        </p:txBody>
      </p:sp>
      <p:sp>
        <p:nvSpPr>
          <p:cNvPr id="126" name="Text Placeholder 12"/>
          <p:cNvSpPr>
            <a:spLocks noGrp="1"/>
          </p:cNvSpPr>
          <p:nvPr>
            <p:custDataLst>
              <p:tags r:id="rId136"/>
            </p:custDataLst>
          </p:nvPr>
        </p:nvSpPr>
        <p:spPr bwMode="auto">
          <a:xfrm>
            <a:off x="9310688" y="5472113"/>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51CF21C-B2CB-4F19-A691-195957F3036E}" type="datetime'''''''''15''''～''''''''''''''''''''''''''''6''''''''''4''歳'''">
              <a:rPr lang="ja-JP" altLang="en-US" sz="1000" b="0"/>
              <a:pPr>
                <a:spcBef>
                  <a:spcPct val="0"/>
                </a:spcBef>
                <a:spcAft>
                  <a:spcPct val="0"/>
                </a:spcAft>
              </a:pPr>
              <a:t>15～64歳</a:t>
            </a:fld>
            <a:endParaRPr kumimoji="0" lang="ja-JP" altLang="en-US" sz="1000" b="0" dirty="0">
              <a:sym typeface="+mn-lt"/>
            </a:endParaRPr>
          </a:p>
        </p:txBody>
      </p:sp>
      <p:sp>
        <p:nvSpPr>
          <p:cNvPr id="127" name="Text Placeholder 12"/>
          <p:cNvSpPr>
            <a:spLocks noGrp="1"/>
          </p:cNvSpPr>
          <p:nvPr>
            <p:custDataLst>
              <p:tags r:id="rId137"/>
            </p:custDataLst>
          </p:nvPr>
        </p:nvSpPr>
        <p:spPr bwMode="auto">
          <a:xfrm>
            <a:off x="9310688" y="6019800"/>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6DB4CB8-EEAB-4400-8895-D85F23D75D75}" type="datetime'''1''''''''''''''''''''5''''''''''歳未''''''''''''''''''''''満'">
              <a:rPr lang="ja-JP" altLang="en-US" sz="1000" b="0"/>
              <a:pPr>
                <a:spcBef>
                  <a:spcPct val="0"/>
                </a:spcBef>
                <a:spcAft>
                  <a:spcPct val="0"/>
                </a:spcAft>
              </a:pPr>
              <a:t>15歳未満</a:t>
            </a:fld>
            <a:endParaRPr kumimoji="0" lang="ja-JP" altLang="en-US" sz="1000" b="0" dirty="0">
              <a:sym typeface="+mn-lt"/>
            </a:endParaRPr>
          </a:p>
        </p:txBody>
      </p:sp>
      <p:sp>
        <p:nvSpPr>
          <p:cNvPr id="136" name="Text Placeholder 12"/>
          <p:cNvSpPr>
            <a:spLocks noGrp="1"/>
          </p:cNvSpPr>
          <p:nvPr>
            <p:custDataLst>
              <p:tags r:id="rId138"/>
            </p:custDataLst>
          </p:nvPr>
        </p:nvSpPr>
        <p:spPr bwMode="gray">
          <a:xfrm>
            <a:off x="1700213" y="52657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D6AF214-2DCA-4D3A-AAEE-90D019D8F963}" type="datetime'''''''''6''''''''6.''''''''''''''''''''''''''''''0'''''''''">
              <a:rPr lang="ja-JP" altLang="en-US" sz="1000" b="0" smtClean="0">
                <a:effectLst/>
              </a:rPr>
              <a:pPr/>
              <a:t>66.0</a:t>
            </a:fld>
            <a:endParaRPr kumimoji="0" lang="ja-JP" altLang="en-US" sz="1000" b="0" dirty="0">
              <a:sym typeface="+mn-lt"/>
            </a:endParaRPr>
          </a:p>
        </p:txBody>
      </p:sp>
      <p:sp>
        <p:nvSpPr>
          <p:cNvPr id="104" name="Text Placeholder 12"/>
          <p:cNvSpPr>
            <a:spLocks noGrp="1"/>
          </p:cNvSpPr>
          <p:nvPr>
            <p:custDataLst>
              <p:tags r:id="rId139"/>
            </p:custDataLst>
          </p:nvPr>
        </p:nvSpPr>
        <p:spPr bwMode="auto">
          <a:xfrm>
            <a:off x="657225"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E0A5E5-6972-41B6-A4F5-85E676E0B2B7}" type="datetime'''''''2''''''''''''0''''''''''0''''''''''''''''''''0'''''''">
              <a:rPr lang="ja-JP" altLang="en-US" sz="1000" b="0"/>
              <a:pPr algn="ctr">
                <a:spcBef>
                  <a:spcPct val="0"/>
                </a:spcBef>
                <a:spcAft>
                  <a:spcPct val="0"/>
                </a:spcAft>
              </a:pPr>
              <a:t>2000</a:t>
            </a:fld>
            <a:endParaRPr kumimoji="0" lang="ja-JP" altLang="en-US" sz="1000" b="0" dirty="0">
              <a:sym typeface="+mn-lt"/>
            </a:endParaRPr>
          </a:p>
        </p:txBody>
      </p:sp>
      <p:sp>
        <p:nvSpPr>
          <p:cNvPr id="165" name="Text Placeholder 12"/>
          <p:cNvSpPr>
            <a:spLocks noGrp="1"/>
          </p:cNvSpPr>
          <p:nvPr>
            <p:custDataLst>
              <p:tags r:id="rId140"/>
            </p:custDataLst>
          </p:nvPr>
        </p:nvSpPr>
        <p:spPr bwMode="gray">
          <a:xfrm>
            <a:off x="4465638" y="59531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A79449D-B533-4DFB-ABA0-8BEEDDD6C248}" type="datetime'''''''''''''''''''2''''''''''''''''4''''.''''3'''''''''">
              <a:rPr lang="ja-JP" altLang="en-US" sz="1000" b="0" smtClean="0">
                <a:solidFill>
                  <a:schemeClr val="bg1"/>
                </a:solidFill>
                <a:effectLst/>
              </a:rPr>
              <a:pPr/>
              <a:t>24.3</a:t>
            </a:fld>
            <a:endParaRPr kumimoji="0" lang="ja-JP" altLang="en-US" sz="1000" b="0" dirty="0">
              <a:solidFill>
                <a:schemeClr val="bg1"/>
              </a:solidFill>
              <a:sym typeface="+mn-lt"/>
            </a:endParaRPr>
          </a:p>
        </p:txBody>
      </p:sp>
      <p:sp>
        <p:nvSpPr>
          <p:cNvPr id="143" name="Text Placeholder 12"/>
          <p:cNvSpPr>
            <a:spLocks noGrp="1"/>
          </p:cNvSpPr>
          <p:nvPr>
            <p:custDataLst>
              <p:tags r:id="rId141"/>
            </p:custDataLst>
          </p:nvPr>
        </p:nvSpPr>
        <p:spPr bwMode="gray">
          <a:xfrm>
            <a:off x="4121150" y="52974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9238BB0-49EB-46EF-9EA6-9F8C7400FCCA}" type="datetime'68''''''''''''''.''''''''''''''''''''''''''''3'">
              <a:rPr lang="ja-JP" altLang="en-US" sz="1000" b="0" smtClean="0">
                <a:effectLst/>
              </a:rPr>
              <a:pPr/>
              <a:t>68.3</a:t>
            </a:fld>
            <a:endParaRPr kumimoji="0" lang="ja-JP" altLang="en-US" sz="1000" b="0" dirty="0">
              <a:sym typeface="+mn-lt"/>
            </a:endParaRPr>
          </a:p>
        </p:txBody>
      </p:sp>
      <p:sp>
        <p:nvSpPr>
          <p:cNvPr id="109" name="Text Placeholder 12"/>
          <p:cNvSpPr>
            <a:spLocks noGrp="1"/>
          </p:cNvSpPr>
          <p:nvPr>
            <p:custDataLst>
              <p:tags r:id="rId142"/>
            </p:custDataLst>
          </p:nvPr>
        </p:nvSpPr>
        <p:spPr bwMode="auto">
          <a:xfrm>
            <a:off x="24558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104C758-AB6D-4557-AA63-95F9BED9C432}" type="datetime'''''''''''''''''''''''''''''''''''''''05'''''''''''''''''''''">
              <a:rPr lang="ja-JP" altLang="en-US" sz="1000" b="0"/>
              <a:pPr algn="ctr">
                <a:spcBef>
                  <a:spcPct val="0"/>
                </a:spcBef>
                <a:spcAft>
                  <a:spcPct val="0"/>
                </a:spcAft>
              </a:pPr>
              <a:t>05</a:t>
            </a:fld>
            <a:endParaRPr kumimoji="0" lang="ja-JP" altLang="en-US" sz="1000" b="0" dirty="0">
              <a:sym typeface="+mn-lt"/>
            </a:endParaRPr>
          </a:p>
        </p:txBody>
      </p:sp>
      <p:sp>
        <p:nvSpPr>
          <p:cNvPr id="158" name="Text Placeholder 12"/>
          <p:cNvSpPr>
            <a:spLocks noGrp="1"/>
          </p:cNvSpPr>
          <p:nvPr>
            <p:custDataLst>
              <p:tags r:id="rId143"/>
            </p:custDataLst>
          </p:nvPr>
        </p:nvSpPr>
        <p:spPr bwMode="gray">
          <a:xfrm>
            <a:off x="2046288" y="59309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C96D6F2-E945-455B-8550-955FF04DCE55}" type="datetime'''''''''''''''''''''''27''''''''''''''.''''''6'''''''">
              <a:rPr lang="ja-JP" altLang="en-US" sz="1000" b="0" smtClean="0">
                <a:solidFill>
                  <a:schemeClr val="bg1"/>
                </a:solidFill>
                <a:effectLst/>
              </a:rPr>
              <a:pPr/>
              <a:t>27.6</a:t>
            </a:fld>
            <a:endParaRPr kumimoji="0" lang="ja-JP" altLang="en-US" sz="1000" b="0" dirty="0">
              <a:solidFill>
                <a:schemeClr val="bg1"/>
              </a:solidFill>
              <a:sym typeface="+mn-lt"/>
            </a:endParaRPr>
          </a:p>
        </p:txBody>
      </p:sp>
      <p:sp>
        <p:nvSpPr>
          <p:cNvPr id="154" name="Text Placeholder 12"/>
          <p:cNvSpPr>
            <a:spLocks noGrp="1"/>
          </p:cNvSpPr>
          <p:nvPr>
            <p:custDataLst>
              <p:tags r:id="rId144"/>
            </p:custDataLst>
          </p:nvPr>
        </p:nvSpPr>
        <p:spPr bwMode="gray">
          <a:xfrm>
            <a:off x="663575" y="59150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17FA1F-B7B4-4A8B-85AE-6AFE104E8F8E}" type="datetime'''''''2''''''''''''''''''''''9''''''''''.''''8'''''">
              <a:rPr lang="ja-JP" altLang="en-US" sz="1000" b="0" smtClean="0">
                <a:solidFill>
                  <a:schemeClr val="bg1"/>
                </a:solidFill>
                <a:effectLst/>
              </a:rPr>
              <a:pPr/>
              <a:t>29.8</a:t>
            </a:fld>
            <a:endParaRPr kumimoji="0" lang="ja-JP" altLang="en-US" sz="1000" b="0" dirty="0">
              <a:solidFill>
                <a:schemeClr val="bg1"/>
              </a:solidFill>
              <a:sym typeface="+mn-lt"/>
            </a:endParaRPr>
          </a:p>
        </p:txBody>
      </p:sp>
      <p:sp>
        <p:nvSpPr>
          <p:cNvPr id="103" name="Text Placeholder 12"/>
          <p:cNvSpPr>
            <a:spLocks noGrp="1"/>
          </p:cNvSpPr>
          <p:nvPr>
            <p:custDataLst>
              <p:tags r:id="rId145"/>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33" name="Text Placeholder 12"/>
          <p:cNvSpPr>
            <a:spLocks noGrp="1"/>
          </p:cNvSpPr>
          <p:nvPr>
            <p:custDataLst>
              <p:tags r:id="rId146"/>
            </p:custDataLst>
          </p:nvPr>
        </p:nvSpPr>
        <p:spPr bwMode="gray">
          <a:xfrm>
            <a:off x="663575" y="52514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384C5C0-D6C5-487C-B3C2-191403647B51}" type="datetime'''''''''6''4''''''''.''''''''''''''''''''''''''''''7'''''''">
              <a:rPr lang="ja-JP" altLang="en-US" sz="1000" b="0" smtClean="0">
                <a:effectLst/>
              </a:rPr>
              <a:pPr/>
              <a:t>64.7</a:t>
            </a:fld>
            <a:endParaRPr kumimoji="0" lang="ja-JP" altLang="en-US" sz="1000" b="0" dirty="0">
              <a:sym typeface="+mn-lt"/>
            </a:endParaRPr>
          </a:p>
        </p:txBody>
      </p:sp>
      <p:sp>
        <p:nvSpPr>
          <p:cNvPr id="159" name="Text Placeholder 12"/>
          <p:cNvSpPr>
            <a:spLocks noGrp="1"/>
          </p:cNvSpPr>
          <p:nvPr>
            <p:custDataLst>
              <p:tags r:id="rId147"/>
            </p:custDataLst>
          </p:nvPr>
        </p:nvSpPr>
        <p:spPr bwMode="gray">
          <a:xfrm>
            <a:off x="2392363" y="59340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E91E716-B167-44D1-8964-00AC4023C27E}" type="datetime'''2''''''''''7''''''''''''.''''1'''''''''''''">
              <a:rPr lang="ja-JP" altLang="en-US" sz="1000" b="0" smtClean="0">
                <a:solidFill>
                  <a:schemeClr val="bg1"/>
                </a:solidFill>
                <a:effectLst/>
              </a:rPr>
              <a:pPr/>
              <a:t>27.1</a:t>
            </a:fld>
            <a:endParaRPr kumimoji="0" lang="ja-JP" altLang="en-US" sz="1000" b="0" dirty="0">
              <a:solidFill>
                <a:schemeClr val="bg1"/>
              </a:solidFill>
              <a:sym typeface="+mn-lt"/>
            </a:endParaRPr>
          </a:p>
        </p:txBody>
      </p:sp>
      <p:sp>
        <p:nvSpPr>
          <p:cNvPr id="380" name="テキスト プレースホルダ 9">
            <a:extLst>
              <a:ext uri="{FF2B5EF4-FFF2-40B4-BE49-F238E27FC236}">
                <a16:creationId xmlns:a16="http://schemas.microsoft.com/office/drawing/2014/main" id="{591A646C-1F4F-41C4-95C5-0E7F2BA0EBFA}"/>
              </a:ext>
            </a:extLst>
          </p:cNvPr>
          <p:cNvSpPr>
            <a:spLocks noGrp="1"/>
          </p:cNvSpPr>
          <p:nvPr>
            <p:custDataLst>
              <p:tags r:id="rId148"/>
            </p:custDataLst>
          </p:nvPr>
        </p:nvSpPr>
        <p:spPr bwMode="gray">
          <a:xfrm>
            <a:off x="6575425" y="4779963"/>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F12DA1-A18C-481F-BCF5-AA4D87AC651E}" type="datetime'''''''''''''''''8''''.''''''''''''4'''''''''''''''''''''''">
              <a:rPr lang="ja-JP" altLang="en-US" sz="1000" smtClean="0">
                <a:effectLst/>
                <a:sym typeface="+mn-lt"/>
              </a:rPr>
              <a:pPr marL="0" indent="0" algn="ctr">
                <a:spcBef>
                  <a:spcPct val="0"/>
                </a:spcBef>
                <a:buNone/>
              </a:pPr>
              <a:t>8.4</a:t>
            </a:fld>
            <a:endParaRPr lang="ja-JP" altLang="en-US" sz="1000" dirty="0">
              <a:sym typeface="+mn-lt"/>
            </a:endParaRPr>
          </a:p>
        </p:txBody>
      </p:sp>
      <p:sp>
        <p:nvSpPr>
          <p:cNvPr id="160" name="Text Placeholder 12"/>
          <p:cNvSpPr>
            <a:spLocks noGrp="1"/>
          </p:cNvSpPr>
          <p:nvPr>
            <p:custDataLst>
              <p:tags r:id="rId149"/>
            </p:custDataLst>
          </p:nvPr>
        </p:nvSpPr>
        <p:spPr bwMode="gray">
          <a:xfrm>
            <a:off x="2738438" y="59372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ED311D1-D577-4E8E-AC73-4EEBF4706AE8}" type="datetime'''''''2''''6''''.''''''''''''''''''''7'''''''''''''''''''''''">
              <a:rPr lang="ja-JP" altLang="en-US" sz="1000" b="0" smtClean="0">
                <a:solidFill>
                  <a:schemeClr val="bg1"/>
                </a:solidFill>
                <a:effectLst/>
              </a:rPr>
              <a:pPr/>
              <a:t>26.7</a:t>
            </a:fld>
            <a:endParaRPr kumimoji="0" lang="ja-JP" altLang="en-US" sz="1000" b="0" dirty="0">
              <a:solidFill>
                <a:schemeClr val="bg1"/>
              </a:solidFill>
              <a:sym typeface="+mn-lt"/>
            </a:endParaRPr>
          </a:p>
        </p:txBody>
      </p:sp>
      <p:sp>
        <p:nvSpPr>
          <p:cNvPr id="134" name="Text Placeholder 12"/>
          <p:cNvSpPr>
            <a:spLocks noGrp="1"/>
          </p:cNvSpPr>
          <p:nvPr>
            <p:custDataLst>
              <p:tags r:id="rId150"/>
            </p:custDataLst>
          </p:nvPr>
        </p:nvSpPr>
        <p:spPr bwMode="gray">
          <a:xfrm>
            <a:off x="1009650" y="52562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9F4257F-5FBB-4932-AABB-FD0AA1248655}" type="datetime'''''''6''''''5''''''''''''''''''''.''''''''1'''">
              <a:rPr lang="ja-JP" altLang="en-US" sz="1000" b="0" smtClean="0">
                <a:effectLst/>
              </a:rPr>
              <a:pPr/>
              <a:t>65.1</a:t>
            </a:fld>
            <a:endParaRPr kumimoji="0" lang="ja-JP" altLang="en-US" sz="1000" b="0" dirty="0">
              <a:sym typeface="+mn-lt"/>
            </a:endParaRPr>
          </a:p>
        </p:txBody>
      </p:sp>
      <p:sp>
        <p:nvSpPr>
          <p:cNvPr id="218" name="テキスト プレースホルダ 9">
            <a:extLst>
              <a:ext uri="{FF2B5EF4-FFF2-40B4-BE49-F238E27FC236}">
                <a16:creationId xmlns:a16="http://schemas.microsoft.com/office/drawing/2014/main" id="{F9264BE3-ABB5-4E10-A721-625D1B80591F}"/>
              </a:ext>
            </a:extLst>
          </p:cNvPr>
          <p:cNvSpPr>
            <a:spLocks noGrp="1"/>
          </p:cNvSpPr>
          <p:nvPr>
            <p:custDataLst>
              <p:tags r:id="rId151"/>
            </p:custDataLst>
          </p:nvPr>
        </p:nvSpPr>
        <p:spPr bwMode="gray">
          <a:xfrm>
            <a:off x="8959850" y="4875213"/>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568CA0-82E8-48AB-95F8-50470D1A4CAB}" type="datetime'''''''''''2''''1''''''''''''''''''''''.''''9'''''''">
              <a:rPr lang="ja-JP" altLang="en-US" sz="1000" smtClean="0">
                <a:effectLst/>
              </a:rPr>
              <a:pPr/>
              <a:t>21.9</a:t>
            </a:fld>
            <a:endParaRPr lang="ja-JP" altLang="en-US" sz="1000" dirty="0">
              <a:sym typeface="+mn-lt"/>
            </a:endParaRPr>
          </a:p>
        </p:txBody>
      </p:sp>
      <p:sp>
        <p:nvSpPr>
          <p:cNvPr id="110" name="Text Placeholder 12"/>
          <p:cNvSpPr>
            <a:spLocks noGrp="1"/>
          </p:cNvSpPr>
          <p:nvPr>
            <p:custDataLst>
              <p:tags r:id="rId152"/>
            </p:custDataLst>
          </p:nvPr>
        </p:nvSpPr>
        <p:spPr bwMode="auto">
          <a:xfrm>
            <a:off x="28019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C3A514-AD48-4BA1-84A7-13FE707322D3}" type="datetime'''''''0''''''''''''6'''''''''''''">
              <a:rPr lang="ja-JP" altLang="en-US" sz="1000" b="0"/>
              <a:pPr algn="ctr">
                <a:spcBef>
                  <a:spcPct val="0"/>
                </a:spcBef>
                <a:spcAft>
                  <a:spcPct val="0"/>
                </a:spcAft>
              </a:pPr>
              <a:t>06</a:t>
            </a:fld>
            <a:endParaRPr kumimoji="0" lang="ja-JP" altLang="en-US" sz="1000" b="0" dirty="0">
              <a:sym typeface="+mn-lt"/>
            </a:endParaRPr>
          </a:p>
        </p:txBody>
      </p:sp>
      <p:sp>
        <p:nvSpPr>
          <p:cNvPr id="135" name="Text Placeholder 12"/>
          <p:cNvSpPr>
            <a:spLocks noGrp="1"/>
          </p:cNvSpPr>
          <p:nvPr>
            <p:custDataLst>
              <p:tags r:id="rId153"/>
            </p:custDataLst>
          </p:nvPr>
        </p:nvSpPr>
        <p:spPr bwMode="gray">
          <a:xfrm>
            <a:off x="1355725" y="52609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4D3D735-459C-46CB-A26C-4BF652A544BA}" type="datetime'''''6''''''5''''''.''''''''''''''''''5'''">
              <a:rPr lang="ja-JP" altLang="en-US" sz="1000" b="0" smtClean="0">
                <a:effectLst/>
              </a:rPr>
              <a:pPr/>
              <a:t>65.5</a:t>
            </a:fld>
            <a:endParaRPr kumimoji="0" lang="ja-JP" altLang="en-US" sz="1000" b="0" dirty="0">
              <a:sym typeface="+mn-lt"/>
            </a:endParaRPr>
          </a:p>
        </p:txBody>
      </p:sp>
      <p:sp>
        <p:nvSpPr>
          <p:cNvPr id="148" name="Text Placeholder 12"/>
          <p:cNvSpPr>
            <a:spLocks noGrp="1"/>
          </p:cNvSpPr>
          <p:nvPr>
            <p:custDataLst>
              <p:tags r:id="rId154"/>
            </p:custDataLst>
          </p:nvPr>
        </p:nvSpPr>
        <p:spPr bwMode="gray">
          <a:xfrm>
            <a:off x="5848350" y="53197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BFAB8A0-CE2F-4E75-A0C3-14E5AF155BBF}" type="datetime'''''''''''''''''''69''.''6'''''''">
              <a:rPr lang="ja-JP" altLang="en-US" sz="1000" b="0" smtClean="0">
                <a:effectLst/>
              </a:rPr>
              <a:pPr/>
              <a:t>69.6</a:t>
            </a:fld>
            <a:endParaRPr kumimoji="0" lang="ja-JP" altLang="en-US" sz="1000" b="0" dirty="0">
              <a:sym typeface="+mn-lt"/>
            </a:endParaRPr>
          </a:p>
        </p:txBody>
      </p:sp>
      <p:sp>
        <p:nvSpPr>
          <p:cNvPr id="156" name="Text Placeholder 12"/>
          <p:cNvSpPr>
            <a:spLocks noGrp="1"/>
          </p:cNvSpPr>
          <p:nvPr>
            <p:custDataLst>
              <p:tags r:id="rId155"/>
            </p:custDataLst>
          </p:nvPr>
        </p:nvSpPr>
        <p:spPr bwMode="gray">
          <a:xfrm>
            <a:off x="1355725" y="59229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B714692-D367-4563-88A2-AF24C418D052}" type="datetime'''''''''''''''2''8''''''''''.''''''''7'''''''''''''''">
              <a:rPr lang="ja-JP" altLang="en-US" sz="1000" b="0" smtClean="0">
                <a:solidFill>
                  <a:schemeClr val="bg1"/>
                </a:solidFill>
                <a:effectLst/>
              </a:rPr>
              <a:pPr/>
              <a:t>28.7</a:t>
            </a:fld>
            <a:endParaRPr kumimoji="0" lang="ja-JP" altLang="en-US" sz="1000" b="0" dirty="0">
              <a:solidFill>
                <a:schemeClr val="bg1"/>
              </a:solidFill>
              <a:sym typeface="+mn-lt"/>
            </a:endParaRPr>
          </a:p>
        </p:txBody>
      </p:sp>
      <p:sp>
        <p:nvSpPr>
          <p:cNvPr id="106" name="Text Placeholder 12"/>
          <p:cNvSpPr>
            <a:spLocks noGrp="1"/>
          </p:cNvSpPr>
          <p:nvPr>
            <p:custDataLst>
              <p:tags r:id="rId156"/>
            </p:custDataLst>
          </p:nvPr>
        </p:nvSpPr>
        <p:spPr bwMode="auto">
          <a:xfrm>
            <a:off x="1419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29EAE60-BA06-420A-BE1D-14FCB389662C}" type="datetime'''''''''''''0''''''''''''''''''''2'''''''''''''">
              <a:rPr lang="ja-JP" altLang="en-US" sz="1000" b="0"/>
              <a:pPr algn="ctr">
                <a:spcBef>
                  <a:spcPct val="0"/>
                </a:spcBef>
                <a:spcAft>
                  <a:spcPct val="0"/>
                </a:spcAft>
              </a:pPr>
              <a:t>02</a:t>
            </a:fld>
            <a:endParaRPr kumimoji="0" lang="ja-JP" altLang="en-US" sz="1000" b="0" dirty="0">
              <a:sym typeface="+mn-lt"/>
            </a:endParaRPr>
          </a:p>
        </p:txBody>
      </p:sp>
      <p:sp>
        <p:nvSpPr>
          <p:cNvPr id="167" name="Text Placeholder 12"/>
          <p:cNvSpPr>
            <a:spLocks noGrp="1"/>
          </p:cNvSpPr>
          <p:nvPr>
            <p:custDataLst>
              <p:tags r:id="rId157"/>
            </p:custDataLst>
          </p:nvPr>
        </p:nvSpPr>
        <p:spPr bwMode="gray">
          <a:xfrm>
            <a:off x="5157788" y="59610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80C65F6-E27D-42BD-92F9-2666E790D6D4}" type="datetime'''''''''''2''3''''''''.''''''''''3'''''''''''''''''''''''''">
              <a:rPr lang="ja-JP" altLang="en-US" sz="1000" b="0" smtClean="0">
                <a:solidFill>
                  <a:schemeClr val="bg1"/>
                </a:solidFill>
                <a:effectLst/>
              </a:rPr>
              <a:pPr/>
              <a:t>23.3</a:t>
            </a:fld>
            <a:endParaRPr kumimoji="0" lang="ja-JP" altLang="en-US" sz="1000" b="0" dirty="0">
              <a:solidFill>
                <a:schemeClr val="bg1"/>
              </a:solidFill>
              <a:sym typeface="+mn-lt"/>
            </a:endParaRPr>
          </a:p>
        </p:txBody>
      </p:sp>
      <p:sp>
        <p:nvSpPr>
          <p:cNvPr id="138" name="Text Placeholder 12"/>
          <p:cNvSpPr>
            <a:spLocks noGrp="1"/>
          </p:cNvSpPr>
          <p:nvPr>
            <p:custDataLst>
              <p:tags r:id="rId158"/>
            </p:custDataLst>
          </p:nvPr>
        </p:nvSpPr>
        <p:spPr bwMode="gray">
          <a:xfrm>
            <a:off x="2392363" y="52752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1112278-7874-4666-98CD-714B07DC3C79}" type="datetime'''''6''''6''.''''''''''''''''''''''''''''''''''''''7'''">
              <a:rPr lang="ja-JP" altLang="en-US" sz="1000" b="0" smtClean="0">
                <a:effectLst/>
              </a:rPr>
              <a:pPr/>
              <a:t>66.7</a:t>
            </a:fld>
            <a:endParaRPr kumimoji="0" lang="ja-JP" altLang="en-US" sz="1000" b="0" dirty="0">
              <a:sym typeface="+mn-lt"/>
            </a:endParaRPr>
          </a:p>
        </p:txBody>
      </p:sp>
      <p:sp>
        <p:nvSpPr>
          <p:cNvPr id="157" name="Text Placeholder 12"/>
          <p:cNvSpPr>
            <a:spLocks noGrp="1"/>
          </p:cNvSpPr>
          <p:nvPr>
            <p:custDataLst>
              <p:tags r:id="rId159"/>
            </p:custDataLst>
          </p:nvPr>
        </p:nvSpPr>
        <p:spPr bwMode="gray">
          <a:xfrm>
            <a:off x="1700213" y="59261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580A69F-ACF5-41B6-9599-D758BB9EEE1E}" type="datetime'''''''''2''''''''''''''''8''''''''.''''''''''''''2'''''''">
              <a:rPr lang="ja-JP" altLang="en-US" sz="1000" b="0" smtClean="0">
                <a:solidFill>
                  <a:schemeClr val="bg1"/>
                </a:solidFill>
                <a:effectLst/>
              </a:rPr>
              <a:pPr/>
              <a:t>28.2</a:t>
            </a:fld>
            <a:endParaRPr kumimoji="0" lang="ja-JP" altLang="en-US" sz="1000" b="0" dirty="0">
              <a:solidFill>
                <a:schemeClr val="bg1"/>
              </a:solidFill>
              <a:sym typeface="+mn-lt"/>
            </a:endParaRPr>
          </a:p>
        </p:txBody>
      </p:sp>
      <p:sp>
        <p:nvSpPr>
          <p:cNvPr id="107" name="Text Placeholder 12"/>
          <p:cNvSpPr>
            <a:spLocks noGrp="1"/>
          </p:cNvSpPr>
          <p:nvPr>
            <p:custDataLst>
              <p:tags r:id="rId160"/>
            </p:custDataLst>
          </p:nvPr>
        </p:nvSpPr>
        <p:spPr bwMode="auto">
          <a:xfrm>
            <a:off x="1763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C2B2B5A-F81A-4F16-B25B-312A1FDFC040}" type="datetime'''''''''''''0''''''''''''''''''''''''''''3'''''''''''''">
              <a:rPr lang="ja-JP" altLang="en-US" sz="1000" b="0"/>
              <a:pPr algn="ctr">
                <a:spcBef>
                  <a:spcPct val="0"/>
                </a:spcBef>
                <a:spcAft>
                  <a:spcPct val="0"/>
                </a:spcAft>
              </a:pPr>
              <a:t>03</a:t>
            </a:fld>
            <a:endParaRPr kumimoji="0" lang="ja-JP" altLang="en-US" sz="1000" b="0" dirty="0">
              <a:sym typeface="+mn-lt"/>
            </a:endParaRPr>
          </a:p>
        </p:txBody>
      </p:sp>
      <p:sp>
        <p:nvSpPr>
          <p:cNvPr id="137" name="Text Placeholder 12"/>
          <p:cNvSpPr>
            <a:spLocks noGrp="1"/>
          </p:cNvSpPr>
          <p:nvPr>
            <p:custDataLst>
              <p:tags r:id="rId161"/>
            </p:custDataLst>
          </p:nvPr>
        </p:nvSpPr>
        <p:spPr bwMode="gray">
          <a:xfrm>
            <a:off x="2046288" y="52705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0084DCA-748E-471B-A4C7-EA617E59936E}" type="datetime'''6''''''''''''''''''''6''''''''.''''''''4'''''''''''">
              <a:rPr lang="ja-JP" altLang="en-US" sz="1000" b="0" smtClean="0">
                <a:effectLst/>
              </a:rPr>
              <a:pPr/>
              <a:t>66.4</a:t>
            </a:fld>
            <a:endParaRPr kumimoji="0" lang="ja-JP" altLang="en-US" sz="1000" b="0" dirty="0">
              <a:sym typeface="+mn-lt"/>
            </a:endParaRPr>
          </a:p>
        </p:txBody>
      </p:sp>
      <p:sp>
        <p:nvSpPr>
          <p:cNvPr id="108" name="Text Placeholder 12"/>
          <p:cNvSpPr>
            <a:spLocks noGrp="1"/>
          </p:cNvSpPr>
          <p:nvPr>
            <p:custDataLst>
              <p:tags r:id="rId162"/>
            </p:custDataLst>
          </p:nvPr>
        </p:nvSpPr>
        <p:spPr bwMode="auto">
          <a:xfrm>
            <a:off x="2109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716FA4-1A2A-4C3F-8A96-EE85760FF4BD}" type="datetime'''0''''''''''''''''4'''''''''''''''''''''''''">
              <a:rPr lang="ja-JP" altLang="en-US" sz="1000" b="0"/>
              <a:pPr algn="ctr">
                <a:spcBef>
                  <a:spcPct val="0"/>
                </a:spcBef>
                <a:spcAft>
                  <a:spcPct val="0"/>
                </a:spcAft>
              </a:pPr>
              <a:t>04</a:t>
            </a:fld>
            <a:endParaRPr kumimoji="0" lang="ja-JP" altLang="en-US" sz="1000" b="0" dirty="0">
              <a:sym typeface="+mn-lt"/>
            </a:endParaRPr>
          </a:p>
        </p:txBody>
      </p:sp>
      <p:sp>
        <p:nvSpPr>
          <p:cNvPr id="168" name="Text Placeholder 12"/>
          <p:cNvSpPr>
            <a:spLocks noGrp="1"/>
          </p:cNvSpPr>
          <p:nvPr>
            <p:custDataLst>
              <p:tags r:id="rId163"/>
            </p:custDataLst>
          </p:nvPr>
        </p:nvSpPr>
        <p:spPr bwMode="gray">
          <a:xfrm>
            <a:off x="5503863" y="59642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DDACCAA-71D2-4EFB-9E06-09C5BDEE6E55}" type="datetime'''''''2''''2''''.''''''''9'''''''''''">
              <a:rPr lang="ja-JP" altLang="en-US" sz="1000" b="0" smtClean="0">
                <a:solidFill>
                  <a:schemeClr val="bg1"/>
                </a:solidFill>
                <a:effectLst/>
              </a:rPr>
              <a:pPr/>
              <a:t>22.9</a:t>
            </a:fld>
            <a:endParaRPr kumimoji="0" lang="ja-JP" altLang="en-US" sz="1000" b="0" dirty="0">
              <a:solidFill>
                <a:schemeClr val="bg1"/>
              </a:solidFill>
              <a:sym typeface="+mn-lt"/>
            </a:endParaRPr>
          </a:p>
        </p:txBody>
      </p:sp>
      <p:sp>
        <p:nvSpPr>
          <p:cNvPr id="161" name="Text Placeholder 12"/>
          <p:cNvSpPr>
            <a:spLocks noGrp="1"/>
          </p:cNvSpPr>
          <p:nvPr>
            <p:custDataLst>
              <p:tags r:id="rId164"/>
            </p:custDataLst>
          </p:nvPr>
        </p:nvSpPr>
        <p:spPr bwMode="gray">
          <a:xfrm>
            <a:off x="3082925" y="59404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DE34EC-751F-4ED0-AB4A-11D07DCB7DFB}" type="datetime'''''2''''6''.''''''''''''''''''''''''''''''''''''''2'">
              <a:rPr lang="ja-JP" altLang="en-US" sz="1000" b="0" smtClean="0">
                <a:solidFill>
                  <a:schemeClr val="bg1"/>
                </a:solidFill>
                <a:effectLst/>
              </a:rPr>
              <a:pPr/>
              <a:t>26.2</a:t>
            </a:fld>
            <a:endParaRPr kumimoji="0" lang="ja-JP" altLang="en-US" sz="1000" b="0" dirty="0">
              <a:solidFill>
                <a:schemeClr val="bg1"/>
              </a:solidFill>
              <a:sym typeface="+mn-lt"/>
            </a:endParaRPr>
          </a:p>
        </p:txBody>
      </p:sp>
      <p:sp>
        <p:nvSpPr>
          <p:cNvPr id="139" name="Text Placeholder 12"/>
          <p:cNvSpPr>
            <a:spLocks noGrp="1"/>
          </p:cNvSpPr>
          <p:nvPr>
            <p:custDataLst>
              <p:tags r:id="rId165"/>
            </p:custDataLst>
          </p:nvPr>
        </p:nvSpPr>
        <p:spPr bwMode="gray">
          <a:xfrm>
            <a:off x="2738438" y="52784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7AACEF4-FE21-42A4-A242-C4BE2E735D90}" type="datetime'''''''''''6''''''''''''''''''''''7''''''''.1'''''''''''''''">
              <a:rPr lang="ja-JP" altLang="en-US" sz="1000" b="0" smtClean="0">
                <a:effectLst/>
              </a:rPr>
              <a:pPr/>
              <a:t>67.1</a:t>
            </a:fld>
            <a:endParaRPr kumimoji="0" lang="ja-JP" altLang="en-US" sz="1000" b="0" dirty="0">
              <a:sym typeface="+mn-lt"/>
            </a:endParaRPr>
          </a:p>
        </p:txBody>
      </p:sp>
      <p:sp>
        <p:nvSpPr>
          <p:cNvPr id="213" name="テキスト プレースホルダ 9"/>
          <p:cNvSpPr>
            <a:spLocks noGrp="1"/>
          </p:cNvSpPr>
          <p:nvPr>
            <p:custDataLst>
              <p:tags r:id="rId166"/>
            </p:custDataLst>
          </p:nvPr>
        </p:nvSpPr>
        <p:spPr bwMode="gray">
          <a:xfrm>
            <a:off x="6886575" y="533241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DF4357-BB56-4777-A603-B4B31F4ACD47}" type="datetime'''''''''''''''''''''''''''''6''''9''''''''''''''''.''''9'''''">
              <a:rPr lang="ja-JP" altLang="en-US" sz="1000" smtClean="0">
                <a:effectLst/>
              </a:rPr>
              <a:pPr/>
              <a:t>69.9</a:t>
            </a:fld>
            <a:endParaRPr kumimoji="0" lang="ja-JP" altLang="en-US" sz="1000" dirty="0">
              <a:sym typeface="+mn-lt"/>
            </a:endParaRPr>
          </a:p>
        </p:txBody>
      </p:sp>
      <p:sp>
        <p:nvSpPr>
          <p:cNvPr id="140" name="Text Placeholder 12"/>
          <p:cNvSpPr>
            <a:spLocks noGrp="1"/>
          </p:cNvSpPr>
          <p:nvPr>
            <p:custDataLst>
              <p:tags r:id="rId167"/>
            </p:custDataLst>
          </p:nvPr>
        </p:nvSpPr>
        <p:spPr bwMode="gray">
          <a:xfrm>
            <a:off x="3082925" y="52847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DC71549-9CCC-4755-B701-74806F0EAC80}" type="datetime'''''6''7''''''''''''''''''''''''''.''''''''''''4'''">
              <a:rPr lang="ja-JP" altLang="en-US" sz="1000" b="0" smtClean="0">
                <a:effectLst/>
              </a:rPr>
              <a:pPr/>
              <a:t>67.4</a:t>
            </a:fld>
            <a:endParaRPr kumimoji="0" lang="ja-JP" altLang="en-US" sz="1000" b="0" dirty="0">
              <a:sym typeface="+mn-lt"/>
            </a:endParaRPr>
          </a:p>
        </p:txBody>
      </p:sp>
      <p:sp>
        <p:nvSpPr>
          <p:cNvPr id="113" name="Text Placeholder 12"/>
          <p:cNvSpPr>
            <a:spLocks noGrp="1"/>
          </p:cNvSpPr>
          <p:nvPr>
            <p:custDataLst>
              <p:tags r:id="rId168"/>
            </p:custDataLst>
          </p:nvPr>
        </p:nvSpPr>
        <p:spPr bwMode="auto">
          <a:xfrm>
            <a:off x="38385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DD7D5B-2F6E-4200-9368-C743345B5B29}" type="datetime'''0''''''''''''''''''''''''''''''''''''''''''9'''''''''">
              <a:rPr lang="ja-JP" altLang="en-US" sz="1000" b="0"/>
              <a:pPr algn="ctr">
                <a:spcBef>
                  <a:spcPct val="0"/>
                </a:spcBef>
                <a:spcAft>
                  <a:spcPct val="0"/>
                </a:spcAft>
              </a:pPr>
              <a:t>09</a:t>
            </a:fld>
            <a:endParaRPr kumimoji="0" lang="ja-JP" altLang="en-US" sz="1000" b="0" dirty="0">
              <a:sym typeface="+mn-lt"/>
            </a:endParaRPr>
          </a:p>
        </p:txBody>
      </p:sp>
      <p:sp>
        <p:nvSpPr>
          <p:cNvPr id="111" name="Text Placeholder 12"/>
          <p:cNvSpPr>
            <a:spLocks noGrp="1"/>
          </p:cNvSpPr>
          <p:nvPr>
            <p:custDataLst>
              <p:tags r:id="rId169"/>
            </p:custDataLst>
          </p:nvPr>
        </p:nvSpPr>
        <p:spPr bwMode="auto">
          <a:xfrm>
            <a:off x="31464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94CD9F-0EFE-4F4D-B6DE-11B6C00B9B77}" type="datetime'0''''''''''''''''''''''''''''''''''''''''''''''''7'''''''''''">
              <a:rPr lang="ja-JP" altLang="en-US" sz="1000" b="0"/>
              <a:pPr algn="ctr">
                <a:spcBef>
                  <a:spcPct val="0"/>
                </a:spcBef>
                <a:spcAft>
                  <a:spcPct val="0"/>
                </a:spcAft>
              </a:pPr>
              <a:t>07</a:t>
            </a:fld>
            <a:endParaRPr kumimoji="0" lang="ja-JP" altLang="en-US" sz="1000" b="0" dirty="0">
              <a:sym typeface="+mn-lt"/>
            </a:endParaRPr>
          </a:p>
        </p:txBody>
      </p:sp>
      <p:sp>
        <p:nvSpPr>
          <p:cNvPr id="141" name="Text Placeholder 12"/>
          <p:cNvSpPr>
            <a:spLocks noGrp="1"/>
          </p:cNvSpPr>
          <p:nvPr>
            <p:custDataLst>
              <p:tags r:id="rId170"/>
            </p:custDataLst>
          </p:nvPr>
        </p:nvSpPr>
        <p:spPr bwMode="gray">
          <a:xfrm>
            <a:off x="3429000" y="52879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30C010-1BD4-46AD-889A-39964A1CB1E2}" type="datetime'''''''''''''''''''''''''''''67''''''''''''''''''''''''''''.7'">
              <a:rPr lang="ja-JP" altLang="en-US" sz="1000" b="0" smtClean="0">
                <a:effectLst/>
              </a:rPr>
              <a:pPr/>
              <a:t>67.7</a:t>
            </a:fld>
            <a:endParaRPr kumimoji="0" lang="ja-JP" altLang="en-US" sz="1000" b="0" dirty="0">
              <a:sym typeface="+mn-lt"/>
            </a:endParaRPr>
          </a:p>
        </p:txBody>
      </p:sp>
      <p:sp>
        <p:nvSpPr>
          <p:cNvPr id="162" name="Text Placeholder 12"/>
          <p:cNvSpPr>
            <a:spLocks noGrp="1"/>
          </p:cNvSpPr>
          <p:nvPr>
            <p:custDataLst>
              <p:tags r:id="rId171"/>
            </p:custDataLst>
          </p:nvPr>
        </p:nvSpPr>
        <p:spPr bwMode="gray">
          <a:xfrm>
            <a:off x="3429000" y="59436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5CBCCE4-E810-4DAC-98DE-A6D95A24C2C9}" type="datetime'''''''''''''''2''''5''''''.''''''7'">
              <a:rPr lang="ja-JP" altLang="en-US" sz="1000" b="0" smtClean="0">
                <a:solidFill>
                  <a:schemeClr val="bg1"/>
                </a:solidFill>
                <a:effectLst/>
              </a:rPr>
              <a:pPr/>
              <a:t>25.7</a:t>
            </a:fld>
            <a:endParaRPr kumimoji="0" lang="ja-JP" altLang="en-US" sz="1000" b="0" dirty="0">
              <a:solidFill>
                <a:schemeClr val="bg1"/>
              </a:solidFill>
              <a:sym typeface="+mn-lt"/>
            </a:endParaRPr>
          </a:p>
        </p:txBody>
      </p:sp>
      <p:sp>
        <p:nvSpPr>
          <p:cNvPr id="112" name="Text Placeholder 12"/>
          <p:cNvSpPr>
            <a:spLocks noGrp="1"/>
          </p:cNvSpPr>
          <p:nvPr>
            <p:custDataLst>
              <p:tags r:id="rId172"/>
            </p:custDataLst>
          </p:nvPr>
        </p:nvSpPr>
        <p:spPr bwMode="auto">
          <a:xfrm>
            <a:off x="34925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312F32-54D4-4E9B-94AB-84FE1E27B2D7}" type="datetime'''''''''''''''''''0''''''''8'''''''''''''''''''''''''''''''''">
              <a:rPr lang="ja-JP" altLang="en-US" sz="1000" b="0"/>
              <a:pPr algn="ctr">
                <a:spcBef>
                  <a:spcPct val="0"/>
                </a:spcBef>
                <a:spcAft>
                  <a:spcPct val="0"/>
                </a:spcAft>
              </a:pPr>
              <a:t>08</a:t>
            </a:fld>
            <a:endParaRPr kumimoji="0" lang="ja-JP" altLang="en-US" sz="1000" b="0" dirty="0">
              <a:sym typeface="+mn-lt"/>
            </a:endParaRPr>
          </a:p>
        </p:txBody>
      </p:sp>
      <p:sp>
        <p:nvSpPr>
          <p:cNvPr id="166" name="Text Placeholder 12"/>
          <p:cNvSpPr>
            <a:spLocks noGrp="1"/>
          </p:cNvSpPr>
          <p:nvPr>
            <p:custDataLst>
              <p:tags r:id="rId173"/>
            </p:custDataLst>
          </p:nvPr>
        </p:nvSpPr>
        <p:spPr bwMode="gray">
          <a:xfrm>
            <a:off x="4811713" y="59563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C00F569-4F5C-40A7-870F-3ACC1DEE7ADE}" type="datetime'''''''''''''''''2''''''''''''''''''''''''''''''''''3.''''8'''">
              <a:rPr lang="ja-JP" altLang="en-US" sz="1000" b="0" smtClean="0">
                <a:solidFill>
                  <a:schemeClr val="bg1"/>
                </a:solidFill>
                <a:effectLst/>
              </a:rPr>
              <a:pPr/>
              <a:t>23.8</a:t>
            </a:fld>
            <a:endParaRPr kumimoji="0" lang="ja-JP" altLang="en-US" sz="1000" b="0" dirty="0">
              <a:solidFill>
                <a:schemeClr val="bg1"/>
              </a:solidFill>
              <a:sym typeface="+mn-lt"/>
            </a:endParaRPr>
          </a:p>
        </p:txBody>
      </p:sp>
      <p:sp>
        <p:nvSpPr>
          <p:cNvPr id="142" name="Text Placeholder 12"/>
          <p:cNvSpPr>
            <a:spLocks noGrp="1"/>
          </p:cNvSpPr>
          <p:nvPr>
            <p:custDataLst>
              <p:tags r:id="rId174"/>
            </p:custDataLst>
          </p:nvPr>
        </p:nvSpPr>
        <p:spPr bwMode="gray">
          <a:xfrm>
            <a:off x="3775075" y="52927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8260F0-04CC-49FE-A6F4-94F91AE29A07}" type="datetime'''''''''''''''6''8''.''''''''''''''0'''''''''">
              <a:rPr lang="ja-JP" altLang="en-US" sz="1000" b="0" smtClean="0">
                <a:effectLst/>
              </a:rPr>
              <a:pPr/>
              <a:t>68.0</a:t>
            </a:fld>
            <a:endParaRPr kumimoji="0" lang="ja-JP" altLang="en-US" sz="1000" b="0" dirty="0">
              <a:sym typeface="+mn-lt"/>
            </a:endParaRPr>
          </a:p>
        </p:txBody>
      </p:sp>
      <p:sp>
        <p:nvSpPr>
          <p:cNvPr id="163" name="Text Placeholder 12"/>
          <p:cNvSpPr>
            <a:spLocks noGrp="1"/>
          </p:cNvSpPr>
          <p:nvPr>
            <p:custDataLst>
              <p:tags r:id="rId175"/>
            </p:custDataLst>
          </p:nvPr>
        </p:nvSpPr>
        <p:spPr bwMode="gray">
          <a:xfrm>
            <a:off x="3775075" y="59467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0DC9E1-E73B-4534-AD80-CDCCB50C237C}" type="datetime'''''''''''25''''.2'''''''''''''">
              <a:rPr lang="ja-JP" altLang="en-US" sz="1000" b="0" smtClean="0">
                <a:solidFill>
                  <a:schemeClr val="bg1"/>
                </a:solidFill>
                <a:effectLst/>
              </a:rPr>
              <a:pPr/>
              <a:t>25.2</a:t>
            </a:fld>
            <a:endParaRPr kumimoji="0" lang="ja-JP" altLang="en-US" sz="1000" b="0" dirty="0">
              <a:solidFill>
                <a:schemeClr val="bg1"/>
              </a:solidFill>
              <a:sym typeface="+mn-lt"/>
            </a:endParaRPr>
          </a:p>
        </p:txBody>
      </p:sp>
      <p:sp>
        <p:nvSpPr>
          <p:cNvPr id="164" name="Text Placeholder 12"/>
          <p:cNvSpPr>
            <a:spLocks noGrp="1"/>
          </p:cNvSpPr>
          <p:nvPr>
            <p:custDataLst>
              <p:tags r:id="rId176"/>
            </p:custDataLst>
          </p:nvPr>
        </p:nvSpPr>
        <p:spPr bwMode="gray">
          <a:xfrm>
            <a:off x="4121150" y="59499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61A70C-4AF6-453D-83CA-66D5B19A4D86}" type="datetime'''''''''''''''''''''''''''''''''''''''''''''''24''''''''.8'''">
              <a:rPr lang="ja-JP" altLang="en-US" sz="1000" b="0" smtClean="0">
                <a:solidFill>
                  <a:schemeClr val="bg1"/>
                </a:solidFill>
                <a:effectLst/>
              </a:rPr>
              <a:pPr/>
              <a:t>24.8</a:t>
            </a:fld>
            <a:endParaRPr kumimoji="0" lang="ja-JP" altLang="en-US" sz="1000" b="0" dirty="0">
              <a:solidFill>
                <a:schemeClr val="bg1"/>
              </a:solidFill>
              <a:sym typeface="+mn-lt"/>
            </a:endParaRPr>
          </a:p>
        </p:txBody>
      </p:sp>
      <p:sp>
        <p:nvSpPr>
          <p:cNvPr id="114" name="Text Placeholder 12"/>
          <p:cNvSpPr>
            <a:spLocks noGrp="1"/>
          </p:cNvSpPr>
          <p:nvPr>
            <p:custDataLst>
              <p:tags r:id="rId177"/>
            </p:custDataLst>
          </p:nvPr>
        </p:nvSpPr>
        <p:spPr bwMode="auto">
          <a:xfrm>
            <a:off x="41846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4D7184-D3BD-4531-9589-0096F9542DF7}" type="datetime'''''''''''''''''1''''''''''''''''''''''''''''''''''0'">
              <a:rPr lang="ja-JP" altLang="en-US" sz="1000" b="0"/>
              <a:pPr algn="ctr">
                <a:spcBef>
                  <a:spcPct val="0"/>
                </a:spcBef>
                <a:spcAft>
                  <a:spcPct val="0"/>
                </a:spcAft>
              </a:pPr>
              <a:t>10</a:t>
            </a:fld>
            <a:endParaRPr kumimoji="0" lang="ja-JP" altLang="en-US" sz="1000" b="0" dirty="0">
              <a:sym typeface="+mn-lt"/>
            </a:endParaRPr>
          </a:p>
        </p:txBody>
      </p:sp>
      <p:sp>
        <p:nvSpPr>
          <p:cNvPr id="144" name="Text Placeholder 12"/>
          <p:cNvSpPr>
            <a:spLocks noGrp="1"/>
          </p:cNvSpPr>
          <p:nvPr>
            <p:custDataLst>
              <p:tags r:id="rId178"/>
            </p:custDataLst>
          </p:nvPr>
        </p:nvSpPr>
        <p:spPr bwMode="gray">
          <a:xfrm>
            <a:off x="4465638" y="53006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CF93EAB-CD08-4AE1-9DC6-B5FC44693E70}" type="datetime'''6''''8''''.''''''''''''''''''''''''''''''''7'''">
              <a:rPr lang="ja-JP" altLang="en-US" sz="1000" b="0" smtClean="0">
                <a:effectLst/>
              </a:rPr>
              <a:pPr/>
              <a:t>68.7</a:t>
            </a:fld>
            <a:endParaRPr kumimoji="0" lang="ja-JP" altLang="en-US" sz="1000" b="0" dirty="0">
              <a:sym typeface="+mn-lt"/>
            </a:endParaRPr>
          </a:p>
        </p:txBody>
      </p:sp>
      <p:sp>
        <p:nvSpPr>
          <p:cNvPr id="117" name="Text Placeholder 12"/>
          <p:cNvSpPr>
            <a:spLocks noGrp="1"/>
          </p:cNvSpPr>
          <p:nvPr>
            <p:custDataLst>
              <p:tags r:id="rId179"/>
            </p:custDataLst>
          </p:nvPr>
        </p:nvSpPr>
        <p:spPr bwMode="auto">
          <a:xfrm>
            <a:off x="52212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9698AC8-38A4-4A09-A092-6AD3196646FB}" type="datetime'''''''''''''''''''''''''''''''''''''''''1''''''''''''''''3'''">
              <a:rPr lang="ja-JP" altLang="en-US" sz="1000" b="0"/>
              <a:pPr algn="ctr">
                <a:spcBef>
                  <a:spcPct val="0"/>
                </a:spcBef>
                <a:spcAft>
                  <a:spcPct val="0"/>
                </a:spcAft>
              </a:pPr>
              <a:t>13</a:t>
            </a:fld>
            <a:endParaRPr kumimoji="0" lang="ja-JP" altLang="en-US" sz="1000" b="0" dirty="0">
              <a:sym typeface="+mn-lt"/>
            </a:endParaRPr>
          </a:p>
        </p:txBody>
      </p:sp>
      <p:sp>
        <p:nvSpPr>
          <p:cNvPr id="145" name="Text Placeholder 12"/>
          <p:cNvSpPr>
            <a:spLocks noGrp="1"/>
          </p:cNvSpPr>
          <p:nvPr>
            <p:custDataLst>
              <p:tags r:id="rId180"/>
            </p:custDataLst>
          </p:nvPr>
        </p:nvSpPr>
        <p:spPr bwMode="gray">
          <a:xfrm>
            <a:off x="4811713" y="53054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15F5281-81AD-462B-B4FB-96CAAF8EE6E6}" type="datetime'''''''''''''''''''''6''''''''''''''''''8''''''''.''''''9'">
              <a:rPr lang="ja-JP" altLang="en-US" sz="1000" b="0" smtClean="0">
                <a:effectLst/>
              </a:rPr>
              <a:pPr/>
              <a:t>68.9</a:t>
            </a:fld>
            <a:endParaRPr kumimoji="0" lang="ja-JP" altLang="en-US" sz="1000" b="0" dirty="0">
              <a:sym typeface="+mn-lt"/>
            </a:endParaRPr>
          </a:p>
        </p:txBody>
      </p:sp>
      <p:sp>
        <p:nvSpPr>
          <p:cNvPr id="368" name="テキスト プレースホルダ 9">
            <a:extLst>
              <a:ext uri="{FF2B5EF4-FFF2-40B4-BE49-F238E27FC236}">
                <a16:creationId xmlns:a16="http://schemas.microsoft.com/office/drawing/2014/main" id="{0C21AA62-9FCB-48F7-B253-6C05C7BADB49}"/>
              </a:ext>
            </a:extLst>
          </p:cNvPr>
          <p:cNvSpPr>
            <a:spLocks noGrp="1"/>
          </p:cNvSpPr>
          <p:nvPr>
            <p:custDataLst>
              <p:tags r:id="rId181"/>
            </p:custDataLst>
          </p:nvPr>
        </p:nvSpPr>
        <p:spPr bwMode="gray">
          <a:xfrm>
            <a:off x="2427288" y="4764088"/>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56136A7-382B-48E8-8EE9-7EB7E1E898F1}" type="datetime'6''''''''''''.''''''''''''''''''''''''''''1'''''''''''">
              <a:rPr kumimoji="0" lang="ja-JP" altLang="en-US" sz="1000" smtClean="0">
                <a:effectLst/>
                <a:sym typeface="+mn-lt"/>
              </a:rPr>
              <a:pPr marL="0" indent="0" algn="ctr">
                <a:spcBef>
                  <a:spcPct val="0"/>
                </a:spcBef>
                <a:buNone/>
              </a:pPr>
              <a:t>6.1</a:t>
            </a:fld>
            <a:endParaRPr kumimoji="0" lang="ja-JP" altLang="en-US" sz="1000" dirty="0">
              <a:sym typeface="+mn-lt"/>
            </a:endParaRPr>
          </a:p>
        </p:txBody>
      </p:sp>
      <p:sp>
        <p:nvSpPr>
          <p:cNvPr id="116" name="Text Placeholder 12"/>
          <p:cNvSpPr>
            <a:spLocks noGrp="1"/>
          </p:cNvSpPr>
          <p:nvPr>
            <p:custDataLst>
              <p:tags r:id="rId182"/>
            </p:custDataLst>
          </p:nvPr>
        </p:nvSpPr>
        <p:spPr bwMode="auto">
          <a:xfrm>
            <a:off x="48752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DA9588-E833-465B-ACCD-8278ECC47FE8}" type="datetime'''''''''''''''''1''''''''''''''''2'">
              <a:rPr lang="ja-JP" altLang="en-US" sz="1000" b="0"/>
              <a:pPr algn="ctr">
                <a:spcBef>
                  <a:spcPct val="0"/>
                </a:spcBef>
                <a:spcAft>
                  <a:spcPct val="0"/>
                </a:spcAft>
              </a:pPr>
              <a:t>12</a:t>
            </a:fld>
            <a:endParaRPr kumimoji="0" lang="ja-JP" altLang="en-US" sz="1000" b="0" dirty="0">
              <a:sym typeface="+mn-lt"/>
            </a:endParaRPr>
          </a:p>
        </p:txBody>
      </p:sp>
      <p:sp>
        <p:nvSpPr>
          <p:cNvPr id="146" name="Text Placeholder 12"/>
          <p:cNvSpPr>
            <a:spLocks noGrp="1"/>
          </p:cNvSpPr>
          <p:nvPr>
            <p:custDataLst>
              <p:tags r:id="rId183"/>
            </p:custDataLst>
          </p:nvPr>
        </p:nvSpPr>
        <p:spPr bwMode="gray">
          <a:xfrm>
            <a:off x="5157788" y="53117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CC1201D-1375-4872-8CD6-895873E5A43A}" type="datetime'''''''''''6''''''''9''''''''''.''''''''''''''2'">
              <a:rPr lang="ja-JP" altLang="en-US" sz="1000" b="0" smtClean="0">
                <a:effectLst/>
              </a:rPr>
              <a:pPr/>
              <a:t>69.2</a:t>
            </a:fld>
            <a:endParaRPr kumimoji="0" lang="ja-JP" altLang="en-US" sz="1000" b="0" dirty="0">
              <a:sym typeface="+mn-lt"/>
            </a:endParaRPr>
          </a:p>
        </p:txBody>
      </p:sp>
      <p:sp>
        <p:nvSpPr>
          <p:cNvPr id="147" name="Text Placeholder 12"/>
          <p:cNvSpPr>
            <a:spLocks noGrp="1"/>
          </p:cNvSpPr>
          <p:nvPr>
            <p:custDataLst>
              <p:tags r:id="rId184"/>
            </p:custDataLst>
          </p:nvPr>
        </p:nvSpPr>
        <p:spPr bwMode="gray">
          <a:xfrm>
            <a:off x="5503863" y="53165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19BEB38-E7DE-4DD5-B6B4-177DA58E639A}" type="datetime'''''''''''''''''''''''''69''''''''''''''''''''.''''''4'''''''">
              <a:rPr lang="ja-JP" altLang="en-US" sz="1000" b="0" smtClean="0">
                <a:effectLst/>
              </a:rPr>
              <a:pPr/>
              <a:t>69.4</a:t>
            </a:fld>
            <a:endParaRPr kumimoji="0" lang="ja-JP" altLang="en-US" sz="1000" b="0" dirty="0">
              <a:sym typeface="+mn-lt"/>
            </a:endParaRPr>
          </a:p>
        </p:txBody>
      </p:sp>
      <p:sp>
        <p:nvSpPr>
          <p:cNvPr id="118" name="Text Placeholder 12"/>
          <p:cNvSpPr>
            <a:spLocks noGrp="1"/>
          </p:cNvSpPr>
          <p:nvPr>
            <p:custDataLst>
              <p:tags r:id="rId185"/>
            </p:custDataLst>
          </p:nvPr>
        </p:nvSpPr>
        <p:spPr bwMode="auto">
          <a:xfrm>
            <a:off x="55673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9CAFD-4474-4EA7-9F6D-0A1DC54822BB}" type="datetime'''''''''''''''''''''''''''''''''''''1''''''''4'''''''''''''''">
              <a:rPr lang="ja-JP" altLang="en-US" sz="1000" b="0"/>
              <a:pPr algn="ctr">
                <a:spcBef>
                  <a:spcPct val="0"/>
                </a:spcBef>
                <a:spcAft>
                  <a:spcPct val="0"/>
                </a:spcAft>
              </a:pPr>
              <a:t>14</a:t>
            </a:fld>
            <a:endParaRPr kumimoji="0" lang="ja-JP" altLang="en-US" sz="1000" b="0" dirty="0">
              <a:sym typeface="+mn-lt"/>
            </a:endParaRPr>
          </a:p>
        </p:txBody>
      </p:sp>
      <p:sp>
        <p:nvSpPr>
          <p:cNvPr id="169" name="Text Placeholder 12"/>
          <p:cNvSpPr>
            <a:spLocks noGrp="1"/>
          </p:cNvSpPr>
          <p:nvPr>
            <p:custDataLst>
              <p:tags r:id="rId186"/>
            </p:custDataLst>
          </p:nvPr>
        </p:nvSpPr>
        <p:spPr bwMode="gray">
          <a:xfrm>
            <a:off x="5848350" y="59658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06FB0EC-C761-4162-BD00-E1303729A848}" type="datetime'''''''2''''''''''''2''''''''''.''''''''''''''''''5'''''''''''">
              <a:rPr lang="ja-JP" altLang="en-US" sz="1000" b="0" smtClean="0">
                <a:solidFill>
                  <a:schemeClr val="bg1"/>
                </a:solidFill>
                <a:effectLst/>
              </a:rPr>
              <a:pPr/>
              <a:t>22.5</a:t>
            </a:fld>
            <a:endParaRPr kumimoji="0" lang="ja-JP" altLang="en-US" sz="1000" b="0" dirty="0">
              <a:solidFill>
                <a:schemeClr val="bg1"/>
              </a:solidFill>
              <a:sym typeface="+mn-lt"/>
            </a:endParaRPr>
          </a:p>
        </p:txBody>
      </p:sp>
      <p:sp>
        <p:nvSpPr>
          <p:cNvPr id="119" name="Text Placeholder 12"/>
          <p:cNvSpPr>
            <a:spLocks noGrp="1"/>
          </p:cNvSpPr>
          <p:nvPr>
            <p:custDataLst>
              <p:tags r:id="rId187"/>
            </p:custDataLst>
          </p:nvPr>
        </p:nvSpPr>
        <p:spPr bwMode="auto">
          <a:xfrm>
            <a:off x="59118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E22820E-F5DA-4AE0-B906-5F48A9FE4173}" type="datetime'1''''''''''''''''''''''''''''''''''''''''''''5'''''">
              <a:rPr lang="ja-JP" altLang="en-US" sz="1000" b="0"/>
              <a:pPr algn="ctr">
                <a:spcBef>
                  <a:spcPct val="0"/>
                </a:spcBef>
                <a:spcAft>
                  <a:spcPct val="0"/>
                </a:spcAft>
              </a:pPr>
              <a:t>15</a:t>
            </a:fld>
            <a:endParaRPr kumimoji="0" lang="ja-JP" altLang="en-US" sz="1000" b="0" dirty="0">
              <a:sym typeface="+mn-lt"/>
            </a:endParaRPr>
          </a:p>
        </p:txBody>
      </p:sp>
      <p:sp>
        <p:nvSpPr>
          <p:cNvPr id="377" name="テキスト プレースホルダ 9">
            <a:extLst>
              <a:ext uri="{FF2B5EF4-FFF2-40B4-BE49-F238E27FC236}">
                <a16:creationId xmlns:a16="http://schemas.microsoft.com/office/drawing/2014/main" id="{19738CDB-458E-4289-BC2E-6A49CA37FF5C}"/>
              </a:ext>
            </a:extLst>
          </p:cNvPr>
          <p:cNvSpPr>
            <a:spLocks noGrp="1"/>
          </p:cNvSpPr>
          <p:nvPr>
            <p:custDataLst>
              <p:tags r:id="rId188"/>
            </p:custDataLst>
          </p:nvPr>
        </p:nvSpPr>
        <p:spPr bwMode="gray">
          <a:xfrm>
            <a:off x="5538788" y="4775200"/>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DE5BBF-23EB-4D90-A4B1-7EE2FC965612}" type="datetime'''''''''''''7''''''''''''''''''''''.7'''''''''''''''">
              <a:rPr kumimoji="0" lang="ja-JP" altLang="en-US" sz="1000" smtClean="0">
                <a:effectLst/>
                <a:sym typeface="+mn-lt"/>
              </a:rPr>
              <a:pPr marL="0" indent="0" algn="ctr">
                <a:spcBef>
                  <a:spcPct val="0"/>
                </a:spcBef>
                <a:buNone/>
              </a:pPr>
              <a:t>7.7</a:t>
            </a:fld>
            <a:endParaRPr kumimoji="0" lang="ja-JP" altLang="en-US" sz="1000" dirty="0">
              <a:sym typeface="+mn-lt"/>
            </a:endParaRPr>
          </a:p>
        </p:txBody>
      </p:sp>
      <p:sp>
        <p:nvSpPr>
          <p:cNvPr id="149" name="Text Placeholder 12"/>
          <p:cNvSpPr>
            <a:spLocks noGrp="1"/>
          </p:cNvSpPr>
          <p:nvPr>
            <p:custDataLst>
              <p:tags r:id="rId189"/>
            </p:custDataLst>
          </p:nvPr>
        </p:nvSpPr>
        <p:spPr bwMode="gray">
          <a:xfrm>
            <a:off x="6194425" y="53244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DF87D38-877F-4808-8107-96FD44FCE095}" type="datetime'''''''''''''''''''''''''''''''''''6''''''''''''''''9''''.7'">
              <a:rPr lang="ja-JP" altLang="en-US" sz="1000" b="0" smtClean="0">
                <a:effectLst/>
              </a:rPr>
              <a:pPr/>
              <a:t>69.7</a:t>
            </a:fld>
            <a:endParaRPr kumimoji="0" lang="ja-JP" altLang="en-US" sz="1000" b="0" dirty="0">
              <a:sym typeface="+mn-lt"/>
            </a:endParaRPr>
          </a:p>
        </p:txBody>
      </p:sp>
      <p:sp>
        <p:nvSpPr>
          <p:cNvPr id="170" name="Text Placeholder 12"/>
          <p:cNvSpPr>
            <a:spLocks noGrp="1"/>
          </p:cNvSpPr>
          <p:nvPr>
            <p:custDataLst>
              <p:tags r:id="rId190"/>
            </p:custDataLst>
          </p:nvPr>
        </p:nvSpPr>
        <p:spPr bwMode="gray">
          <a:xfrm>
            <a:off x="6194425" y="59690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F3FBB26-1C78-4033-A1C2-2944C21654B1}" type="datetime'''''''''2''''''''2''''''''.''''''1'''''''''">
              <a:rPr lang="ja-JP" altLang="en-US" sz="1000" b="0" smtClean="0">
                <a:solidFill>
                  <a:schemeClr val="bg1"/>
                </a:solidFill>
                <a:effectLst/>
              </a:rPr>
              <a:pPr/>
              <a:t>22.1</a:t>
            </a:fld>
            <a:endParaRPr kumimoji="0" lang="ja-JP" altLang="en-US" sz="1000" b="0" dirty="0">
              <a:solidFill>
                <a:schemeClr val="bg1"/>
              </a:solidFill>
              <a:sym typeface="+mn-lt"/>
            </a:endParaRPr>
          </a:p>
        </p:txBody>
      </p:sp>
      <p:sp>
        <p:nvSpPr>
          <p:cNvPr id="120" name="Text Placeholder 12"/>
          <p:cNvSpPr>
            <a:spLocks noGrp="1"/>
          </p:cNvSpPr>
          <p:nvPr>
            <p:custDataLst>
              <p:tags r:id="rId191"/>
            </p:custDataLst>
          </p:nvPr>
        </p:nvSpPr>
        <p:spPr bwMode="auto">
          <a:xfrm>
            <a:off x="6257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74D5B59-A911-4290-B4CA-3337FD5D6CE2}" type="datetime'''''''''1''''''''6'''''''''''''''">
              <a:rPr lang="ja-JP" altLang="en-US" sz="1000" b="0"/>
              <a:pPr algn="ctr">
                <a:spcBef>
                  <a:spcPct val="0"/>
                </a:spcBef>
                <a:spcAft>
                  <a:spcPct val="0"/>
                </a:spcAft>
              </a:pPr>
              <a:t>16</a:t>
            </a:fld>
            <a:endParaRPr kumimoji="0" lang="ja-JP" altLang="en-US" sz="1000" b="0" dirty="0">
              <a:sym typeface="+mn-lt"/>
            </a:endParaRPr>
          </a:p>
        </p:txBody>
      </p:sp>
      <p:sp>
        <p:nvSpPr>
          <p:cNvPr id="209" name="テキスト プレースホルダ 9"/>
          <p:cNvSpPr>
            <a:spLocks noGrp="1"/>
          </p:cNvSpPr>
          <p:nvPr>
            <p:custDataLst>
              <p:tags r:id="rId192"/>
            </p:custDataLst>
          </p:nvPr>
        </p:nvSpPr>
        <p:spPr bwMode="gray">
          <a:xfrm>
            <a:off x="6540500" y="532923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1216FE-3259-4580-BD9C-8AA80ECDC293}" type="datetime'''''''''''''6''''''''''9''''.''''''''8'''''''''">
              <a:rPr lang="ja-JP" altLang="en-US" sz="1000" smtClean="0">
                <a:effectLst/>
              </a:rPr>
              <a:pPr/>
              <a:t>69.8</a:t>
            </a:fld>
            <a:endParaRPr kumimoji="0" lang="ja-JP" altLang="en-US" sz="1000" dirty="0">
              <a:sym typeface="+mn-lt"/>
            </a:endParaRPr>
          </a:p>
        </p:txBody>
      </p:sp>
      <p:sp>
        <p:nvSpPr>
          <p:cNvPr id="212" name="テキスト プレースホルダ 9"/>
          <p:cNvSpPr>
            <a:spLocks noGrp="1"/>
          </p:cNvSpPr>
          <p:nvPr>
            <p:custDataLst>
              <p:tags r:id="rId193"/>
            </p:custDataLst>
          </p:nvPr>
        </p:nvSpPr>
        <p:spPr bwMode="gray">
          <a:xfrm>
            <a:off x="6540500" y="597217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8CB002-9734-468D-A144-42C175DB5FA2}" type="datetime'''''''''''''''''2''''1''''.''''7'''''''''''''''">
              <a:rPr lang="ja-JP" altLang="en-US" sz="1000" smtClean="0">
                <a:solidFill>
                  <a:schemeClr val="bg1"/>
                </a:solidFill>
                <a:effectLst/>
              </a:rPr>
              <a:pPr/>
              <a:t>21.7</a:t>
            </a:fld>
            <a:endParaRPr kumimoji="0" lang="ja-JP" altLang="en-US" sz="1000" dirty="0">
              <a:solidFill>
                <a:schemeClr val="bg1"/>
              </a:solidFill>
              <a:sym typeface="+mn-lt"/>
            </a:endParaRPr>
          </a:p>
        </p:txBody>
      </p:sp>
      <p:sp>
        <p:nvSpPr>
          <p:cNvPr id="319" name="テキスト プレースホルダ 9">
            <a:extLst>
              <a:ext uri="{FF2B5EF4-FFF2-40B4-BE49-F238E27FC236}">
                <a16:creationId xmlns:a16="http://schemas.microsoft.com/office/drawing/2014/main" id="{86BAEA56-9B45-4FA0-953D-FC2B5545E33B}"/>
              </a:ext>
            </a:extLst>
          </p:cNvPr>
          <p:cNvSpPr>
            <a:spLocks noGrp="1"/>
          </p:cNvSpPr>
          <p:nvPr>
            <p:custDataLst>
              <p:tags r:id="rId194"/>
            </p:custDataLst>
          </p:nvPr>
        </p:nvSpPr>
        <p:spPr bwMode="gray">
          <a:xfrm>
            <a:off x="8613775" y="4840288"/>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C4CC402-2096-4263-B82E-6095558535AC}" type="datetime'''''''''''''''''1''''''''7''''''''''''''.''''''0'''''''''">
              <a:rPr lang="ja-JP" altLang="en-US" sz="1000" smtClean="0">
                <a:effectLst/>
              </a:rPr>
              <a:pPr/>
              <a:t>17.0</a:t>
            </a:fld>
            <a:endParaRPr lang="ja-JP" altLang="en-US" sz="1000" dirty="0">
              <a:sym typeface="+mn-lt"/>
            </a:endParaRPr>
          </a:p>
        </p:txBody>
      </p:sp>
      <p:sp>
        <p:nvSpPr>
          <p:cNvPr id="211" name="テキスト プレースホルダ 9"/>
          <p:cNvSpPr>
            <a:spLocks noGrp="1"/>
          </p:cNvSpPr>
          <p:nvPr>
            <p:custDataLst>
              <p:tags r:id="rId195"/>
            </p:custDataLst>
          </p:nvPr>
        </p:nvSpPr>
        <p:spPr bwMode="gray">
          <a:xfrm>
            <a:off x="6886575" y="5973763"/>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30A9A8-D0E0-4B94-B670-05C45826CD8C}" type="datetime'''''''''''''''''''2''1''''''''.''''''''''''''''''''4'''">
              <a:rPr lang="ja-JP" altLang="en-US" sz="1000" smtClean="0">
                <a:solidFill>
                  <a:schemeClr val="bg1"/>
                </a:solidFill>
                <a:effectLst/>
              </a:rPr>
              <a:pPr/>
              <a:t>21.4</a:t>
            </a:fld>
            <a:endParaRPr kumimoji="0" lang="ja-JP" altLang="en-US" sz="1000" dirty="0">
              <a:solidFill>
                <a:schemeClr val="bg1"/>
              </a:solidFill>
              <a:sym typeface="+mn-lt"/>
            </a:endParaRPr>
          </a:p>
        </p:txBody>
      </p:sp>
      <p:sp>
        <p:nvSpPr>
          <p:cNvPr id="205" name="Text Placeholder 12"/>
          <p:cNvSpPr>
            <a:spLocks noGrp="1"/>
          </p:cNvSpPr>
          <p:nvPr>
            <p:custDataLst>
              <p:tags r:id="rId196"/>
            </p:custDataLst>
          </p:nvPr>
        </p:nvSpPr>
        <p:spPr bwMode="auto">
          <a:xfrm>
            <a:off x="66040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06E24B-9679-45E5-9623-96202DC6837F}" type="datetime'''''1''''''''''''''''''''7'''''''''''''''''''">
              <a:rPr lang="ja-JP" altLang="en-US" sz="1000" b="0" smtClean="0"/>
              <a:pPr algn="ctr">
                <a:spcBef>
                  <a:spcPct val="0"/>
                </a:spcBef>
                <a:spcAft>
                  <a:spcPct val="0"/>
                </a:spcAft>
              </a:pPr>
              <a:t>17</a:t>
            </a:fld>
            <a:endParaRPr kumimoji="0" lang="ja-JP" altLang="en-US" sz="1000" b="0" dirty="0">
              <a:sym typeface="+mn-lt"/>
            </a:endParaRPr>
          </a:p>
        </p:txBody>
      </p:sp>
      <p:sp>
        <p:nvSpPr>
          <p:cNvPr id="207" name="Text Placeholder 12"/>
          <p:cNvSpPr>
            <a:spLocks noGrp="1"/>
          </p:cNvSpPr>
          <p:nvPr>
            <p:custDataLst>
              <p:tags r:id="rId197"/>
            </p:custDataLst>
          </p:nvPr>
        </p:nvSpPr>
        <p:spPr bwMode="auto">
          <a:xfrm>
            <a:off x="69500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C9A23-195A-489A-A845-607E2D11F7FE}" type="datetime'''''''''''''''''1''''''''8'''''''''''''''''''''''">
              <a:rPr lang="en-US" altLang="en-US" sz="1000" b="0" smtClean="0"/>
              <a:pPr algn="ctr">
                <a:spcBef>
                  <a:spcPct val="0"/>
                </a:spcBef>
                <a:spcAft>
                  <a:spcPct val="0"/>
                </a:spcAft>
              </a:pPr>
              <a:t>18</a:t>
            </a:fld>
            <a:endParaRPr kumimoji="0" lang="ja-JP" altLang="en-US" sz="1000" b="0" dirty="0">
              <a:sym typeface="+mn-lt"/>
            </a:endParaRPr>
          </a:p>
        </p:txBody>
      </p:sp>
      <p:sp>
        <p:nvSpPr>
          <p:cNvPr id="150" name="Text Placeholder 12"/>
          <p:cNvSpPr>
            <a:spLocks noGrp="1"/>
          </p:cNvSpPr>
          <p:nvPr>
            <p:custDataLst>
              <p:tags r:id="rId198"/>
            </p:custDataLst>
          </p:nvPr>
        </p:nvSpPr>
        <p:spPr bwMode="gray">
          <a:xfrm>
            <a:off x="7231063" y="53371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5EAE94-C0BF-47E1-8033-C2E72A8E7E4B}" type="datetime'''''''''''''''''''''''''6''''''''''''9''''.''''9'''''''''''">
              <a:rPr lang="ja-JP" altLang="en-US" sz="1000" b="0" smtClean="0">
                <a:effectLst/>
              </a:rPr>
              <a:pPr/>
              <a:t>69.9</a:t>
            </a:fld>
            <a:endParaRPr kumimoji="0" lang="ja-JP" altLang="en-US" sz="1000" b="0" dirty="0">
              <a:sym typeface="+mn-lt"/>
            </a:endParaRPr>
          </a:p>
        </p:txBody>
      </p:sp>
      <p:sp>
        <p:nvSpPr>
          <p:cNvPr id="171" name="Text Placeholder 12"/>
          <p:cNvSpPr>
            <a:spLocks noGrp="1"/>
          </p:cNvSpPr>
          <p:nvPr>
            <p:custDataLst>
              <p:tags r:id="rId199"/>
            </p:custDataLst>
          </p:nvPr>
        </p:nvSpPr>
        <p:spPr bwMode="gray">
          <a:xfrm>
            <a:off x="7231063" y="59753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5A7F8B3-A643-4A5D-AB55-C60968D4EC1A}" type="datetime'''''''''''''''''''''''''''2''''''''''''1''.''1'''''''''''''">
              <a:rPr lang="ja-JP" altLang="en-US" sz="1000" b="0" smtClean="0">
                <a:solidFill>
                  <a:schemeClr val="bg1"/>
                </a:solidFill>
                <a:effectLst/>
              </a:rPr>
              <a:pPr/>
              <a:t>21.1</a:t>
            </a:fld>
            <a:endParaRPr kumimoji="0" lang="ja-JP" altLang="en-US" sz="1000" b="0" dirty="0">
              <a:solidFill>
                <a:schemeClr val="bg1"/>
              </a:solidFill>
              <a:sym typeface="+mn-lt"/>
            </a:endParaRPr>
          </a:p>
        </p:txBody>
      </p:sp>
      <p:sp>
        <p:nvSpPr>
          <p:cNvPr id="351" name="テキスト プレースホルダ 9">
            <a:extLst>
              <a:ext uri="{FF2B5EF4-FFF2-40B4-BE49-F238E27FC236}">
                <a16:creationId xmlns:a16="http://schemas.microsoft.com/office/drawing/2014/main" id="{F53C15C9-9B49-4EF0-B2A5-4B9B601A8A97}"/>
              </a:ext>
            </a:extLst>
          </p:cNvPr>
          <p:cNvSpPr>
            <a:spLocks noGrp="1"/>
          </p:cNvSpPr>
          <p:nvPr>
            <p:custDataLst>
              <p:tags r:id="rId200"/>
            </p:custDataLst>
          </p:nvPr>
        </p:nvSpPr>
        <p:spPr bwMode="gray">
          <a:xfrm>
            <a:off x="8959850" y="601980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4B9EF1-9FB0-4D85-A3FA-27C26817FF6D}" type="datetime'''1''''4.9'''''''''''">
              <a:rPr lang="ja-JP" altLang="en-US" sz="1000" smtClean="0">
                <a:solidFill>
                  <a:schemeClr val="bg1"/>
                </a:solidFill>
                <a:effectLst/>
                <a:sym typeface="+mn-lt"/>
              </a:rPr>
              <a:pPr marL="0" indent="0" algn="ctr">
                <a:spcBef>
                  <a:spcPct val="0"/>
                </a:spcBef>
                <a:buNone/>
              </a:pPr>
              <a:t>14.9</a:t>
            </a:fld>
            <a:endParaRPr lang="ja-JP" altLang="en-US" sz="1000" dirty="0">
              <a:solidFill>
                <a:schemeClr val="bg1"/>
              </a:solidFill>
              <a:sym typeface="+mn-lt"/>
            </a:endParaRPr>
          </a:p>
        </p:txBody>
      </p:sp>
      <p:sp>
        <p:nvSpPr>
          <p:cNvPr id="363" name="テキスト プレースホルダ 9">
            <a:extLst>
              <a:ext uri="{FF2B5EF4-FFF2-40B4-BE49-F238E27FC236}">
                <a16:creationId xmlns:a16="http://schemas.microsoft.com/office/drawing/2014/main" id="{33E57AF2-2615-4C96-AE36-8D176979BA71}"/>
              </a:ext>
            </a:extLst>
          </p:cNvPr>
          <p:cNvSpPr>
            <a:spLocks noGrp="1"/>
          </p:cNvSpPr>
          <p:nvPr>
            <p:custDataLst>
              <p:tags r:id="rId201"/>
            </p:custDataLst>
          </p:nvPr>
        </p:nvSpPr>
        <p:spPr bwMode="gray">
          <a:xfrm>
            <a:off x="698500" y="4759325"/>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F8B46C-064A-4C65-9D61-7BE78CB8D8CE}" type="datetime'''''''''''''''5''''''''.''''''''''''''''''''''5'''''''''''''">
              <a:rPr kumimoji="0" lang="ja-JP" altLang="en-US" sz="1000" smtClean="0">
                <a:effectLst/>
                <a:sym typeface="+mn-lt"/>
              </a:rPr>
              <a:pPr marL="0" indent="0" algn="ctr">
                <a:spcBef>
                  <a:spcPct val="0"/>
                </a:spcBef>
                <a:buNone/>
              </a:pPr>
              <a:t>5.5</a:t>
            </a:fld>
            <a:endParaRPr kumimoji="0" lang="ja-JP" altLang="en-US" sz="1000" dirty="0">
              <a:sym typeface="+mn-lt"/>
            </a:endParaRPr>
          </a:p>
        </p:txBody>
      </p:sp>
      <p:sp>
        <p:nvSpPr>
          <p:cNvPr id="364" name="テキスト プレースホルダ 9">
            <a:extLst>
              <a:ext uri="{FF2B5EF4-FFF2-40B4-BE49-F238E27FC236}">
                <a16:creationId xmlns:a16="http://schemas.microsoft.com/office/drawing/2014/main" id="{FDA4D810-6DFB-4991-A270-D08C8CDA4D57}"/>
              </a:ext>
            </a:extLst>
          </p:cNvPr>
          <p:cNvSpPr>
            <a:spLocks noGrp="1"/>
          </p:cNvSpPr>
          <p:nvPr>
            <p:custDataLst>
              <p:tags r:id="rId202"/>
            </p:custDataLst>
          </p:nvPr>
        </p:nvSpPr>
        <p:spPr bwMode="gray">
          <a:xfrm>
            <a:off x="1044575" y="4759325"/>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4F5F004-C4C3-4B33-9810-86AB0F75B958}" type="datetime'5''''''.''''''''''''''''''''''''6'''''">
              <a:rPr kumimoji="0" lang="ja-JP" altLang="en-US" sz="1000" smtClean="0">
                <a:effectLst/>
                <a:sym typeface="+mn-lt"/>
              </a:rPr>
              <a:pPr marL="0" indent="0" algn="ctr">
                <a:spcBef>
                  <a:spcPct val="0"/>
                </a:spcBef>
                <a:buNone/>
              </a:pPr>
              <a:t>5.6</a:t>
            </a:fld>
            <a:endParaRPr kumimoji="0" lang="ja-JP" altLang="en-US" sz="1000" dirty="0">
              <a:sym typeface="+mn-lt"/>
            </a:endParaRPr>
          </a:p>
        </p:txBody>
      </p:sp>
      <p:sp>
        <p:nvSpPr>
          <p:cNvPr id="365" name="テキスト プレースホルダ 9">
            <a:extLst>
              <a:ext uri="{FF2B5EF4-FFF2-40B4-BE49-F238E27FC236}">
                <a16:creationId xmlns:a16="http://schemas.microsoft.com/office/drawing/2014/main" id="{57505646-00D9-4C59-A279-9A94398F2FF6}"/>
              </a:ext>
            </a:extLst>
          </p:cNvPr>
          <p:cNvSpPr>
            <a:spLocks noGrp="1"/>
          </p:cNvSpPr>
          <p:nvPr>
            <p:custDataLst>
              <p:tags r:id="rId203"/>
            </p:custDataLst>
          </p:nvPr>
        </p:nvSpPr>
        <p:spPr bwMode="gray">
          <a:xfrm>
            <a:off x="1390650" y="4760913"/>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9F8254-EEA2-41BA-9BA8-AA4FAFAC7D3C}" type="datetime'''''''''''''''''''''''''5''''''''''''''.''''''''''''7'">
              <a:rPr kumimoji="0" lang="ja-JP" altLang="en-US" sz="1000" smtClean="0">
                <a:effectLst/>
                <a:sym typeface="+mn-lt"/>
              </a:rPr>
              <a:pPr marL="0" indent="0" algn="ctr">
                <a:spcBef>
                  <a:spcPct val="0"/>
                </a:spcBef>
                <a:buNone/>
              </a:pPr>
              <a:t>5.7</a:t>
            </a:fld>
            <a:endParaRPr kumimoji="0" lang="ja-JP" altLang="en-US" sz="1000" dirty="0">
              <a:sym typeface="+mn-lt"/>
            </a:endParaRPr>
          </a:p>
        </p:txBody>
      </p:sp>
      <p:sp>
        <p:nvSpPr>
          <p:cNvPr id="382" name="テキスト プレースホルダ 9">
            <a:extLst>
              <a:ext uri="{FF2B5EF4-FFF2-40B4-BE49-F238E27FC236}">
                <a16:creationId xmlns:a16="http://schemas.microsoft.com/office/drawing/2014/main" id="{E8F4CAF2-3171-423F-B837-DE00788684D7}"/>
              </a:ext>
            </a:extLst>
          </p:cNvPr>
          <p:cNvSpPr>
            <a:spLocks noGrp="1"/>
          </p:cNvSpPr>
          <p:nvPr>
            <p:custDataLst>
              <p:tags r:id="rId204"/>
            </p:custDataLst>
          </p:nvPr>
        </p:nvSpPr>
        <p:spPr bwMode="gray">
          <a:xfrm>
            <a:off x="7265988" y="4783138"/>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B2A386-9F8C-4DF5-9738-4B34FF3957EE}" type="datetime'''9''''.''''''''''''''''''''''''''''''0'''''">
              <a:rPr lang="ja-JP" altLang="en-US" sz="1000" smtClean="0">
                <a:effectLst/>
                <a:sym typeface="+mn-lt"/>
              </a:rPr>
              <a:pPr marL="0" indent="0" algn="ctr">
                <a:spcBef>
                  <a:spcPct val="0"/>
                </a:spcBef>
                <a:buNone/>
              </a:pPr>
              <a:t>9.0</a:t>
            </a:fld>
            <a:endParaRPr lang="ja-JP" altLang="en-US" sz="1000" dirty="0">
              <a:sym typeface="+mn-lt"/>
            </a:endParaRPr>
          </a:p>
        </p:txBody>
      </p:sp>
      <p:sp>
        <p:nvSpPr>
          <p:cNvPr id="366" name="テキスト プレースホルダ 9">
            <a:extLst>
              <a:ext uri="{FF2B5EF4-FFF2-40B4-BE49-F238E27FC236}">
                <a16:creationId xmlns:a16="http://schemas.microsoft.com/office/drawing/2014/main" id="{207D7986-AE61-4A64-9DCF-E4EFC759AAD7}"/>
              </a:ext>
            </a:extLst>
          </p:cNvPr>
          <p:cNvSpPr>
            <a:spLocks noGrp="1"/>
          </p:cNvSpPr>
          <p:nvPr>
            <p:custDataLst>
              <p:tags r:id="rId205"/>
            </p:custDataLst>
          </p:nvPr>
        </p:nvSpPr>
        <p:spPr bwMode="gray">
          <a:xfrm>
            <a:off x="1735138" y="4762500"/>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3694AE-C201-4728-96D8-1FB1B8D68452}" type="datetime'''''''''''''''''''''''''''''''''''''''5''''.9'">
              <a:rPr kumimoji="0" lang="ja-JP" altLang="en-US" sz="1000" smtClean="0">
                <a:effectLst/>
                <a:sym typeface="+mn-lt"/>
              </a:rPr>
              <a:pPr marL="0" indent="0" algn="ctr">
                <a:spcBef>
                  <a:spcPct val="0"/>
                </a:spcBef>
                <a:buNone/>
              </a:pPr>
              <a:t>5.9</a:t>
            </a:fld>
            <a:endParaRPr kumimoji="0" lang="ja-JP" altLang="en-US" sz="1000" dirty="0">
              <a:sym typeface="+mn-lt"/>
            </a:endParaRPr>
          </a:p>
        </p:txBody>
      </p:sp>
      <p:sp>
        <p:nvSpPr>
          <p:cNvPr id="367" name="テキスト プレースホルダ 9">
            <a:extLst>
              <a:ext uri="{FF2B5EF4-FFF2-40B4-BE49-F238E27FC236}">
                <a16:creationId xmlns:a16="http://schemas.microsoft.com/office/drawing/2014/main" id="{B662D5D7-AAAB-45DD-8DDD-F7C585D792CA}"/>
              </a:ext>
            </a:extLst>
          </p:cNvPr>
          <p:cNvSpPr>
            <a:spLocks noGrp="1"/>
          </p:cNvSpPr>
          <p:nvPr>
            <p:custDataLst>
              <p:tags r:id="rId206"/>
            </p:custDataLst>
          </p:nvPr>
        </p:nvSpPr>
        <p:spPr bwMode="gray">
          <a:xfrm>
            <a:off x="2081213" y="4762500"/>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87DF88-2C37-4A07-827E-DB9D647EBA22}" type="datetime'6''''''''''''''''.''0'''''''''''''''">
              <a:rPr kumimoji="0" lang="ja-JP" altLang="en-US" sz="1000" smtClean="0">
                <a:effectLst/>
                <a:sym typeface="+mn-lt"/>
              </a:rPr>
              <a:pPr marL="0" indent="0" algn="ctr">
                <a:spcBef>
                  <a:spcPct val="0"/>
                </a:spcBef>
                <a:buNone/>
              </a:pPr>
              <a:t>6.0</a:t>
            </a:fld>
            <a:endParaRPr kumimoji="0" lang="ja-JP" altLang="en-US" sz="1000" dirty="0">
              <a:sym typeface="+mn-lt"/>
            </a:endParaRPr>
          </a:p>
        </p:txBody>
      </p:sp>
      <p:sp>
        <p:nvSpPr>
          <p:cNvPr id="369" name="テキスト プレースホルダ 9">
            <a:extLst>
              <a:ext uri="{FF2B5EF4-FFF2-40B4-BE49-F238E27FC236}">
                <a16:creationId xmlns:a16="http://schemas.microsoft.com/office/drawing/2014/main" id="{F95875AF-C905-4357-B8AB-C4478AA1E99E}"/>
              </a:ext>
            </a:extLst>
          </p:cNvPr>
          <p:cNvSpPr>
            <a:spLocks noGrp="1"/>
          </p:cNvSpPr>
          <p:nvPr>
            <p:custDataLst>
              <p:tags r:id="rId207"/>
            </p:custDataLst>
          </p:nvPr>
        </p:nvSpPr>
        <p:spPr bwMode="gray">
          <a:xfrm>
            <a:off x="2773363" y="4764088"/>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68621F-0ADF-4ED4-8680-4B19DB20FAEA}" type="datetime'6''''''''''''''''''''.''''''''''3'''">
              <a:rPr kumimoji="0" lang="ja-JP" altLang="en-US" sz="1000" smtClean="0">
                <a:effectLst/>
                <a:sym typeface="+mn-lt"/>
              </a:rPr>
              <a:pPr marL="0" indent="0" algn="ctr">
                <a:spcBef>
                  <a:spcPct val="0"/>
                </a:spcBef>
                <a:buNone/>
              </a:pPr>
              <a:t>6.3</a:t>
            </a:fld>
            <a:endParaRPr kumimoji="0" lang="ja-JP" altLang="en-US" sz="1000" dirty="0">
              <a:sym typeface="+mn-lt"/>
            </a:endParaRPr>
          </a:p>
        </p:txBody>
      </p:sp>
      <p:sp>
        <p:nvSpPr>
          <p:cNvPr id="370" name="テキスト プレースホルダ 9">
            <a:extLst>
              <a:ext uri="{FF2B5EF4-FFF2-40B4-BE49-F238E27FC236}">
                <a16:creationId xmlns:a16="http://schemas.microsoft.com/office/drawing/2014/main" id="{E885077C-F74D-4916-9D84-96367D2B89FE}"/>
              </a:ext>
            </a:extLst>
          </p:cNvPr>
          <p:cNvSpPr>
            <a:spLocks noGrp="1"/>
          </p:cNvSpPr>
          <p:nvPr>
            <p:custDataLst>
              <p:tags r:id="rId208"/>
            </p:custDataLst>
          </p:nvPr>
        </p:nvSpPr>
        <p:spPr bwMode="gray">
          <a:xfrm>
            <a:off x="3117850" y="4765675"/>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6E25419-C44D-49B9-A73A-B0B3AC223BF5}" type="datetime'''6''''''''''''''''''.''''''''''''''''''''''''''''4'''''''">
              <a:rPr kumimoji="0" lang="ja-JP" altLang="en-US" sz="1000" smtClean="0">
                <a:effectLst/>
                <a:sym typeface="+mn-lt"/>
              </a:rPr>
              <a:pPr marL="0" indent="0" algn="ctr">
                <a:spcBef>
                  <a:spcPct val="0"/>
                </a:spcBef>
                <a:buNone/>
              </a:pPr>
              <a:t>6.4</a:t>
            </a:fld>
            <a:endParaRPr kumimoji="0" lang="ja-JP" altLang="en-US" sz="1000" dirty="0">
              <a:sym typeface="+mn-lt"/>
            </a:endParaRPr>
          </a:p>
        </p:txBody>
      </p:sp>
      <p:sp>
        <p:nvSpPr>
          <p:cNvPr id="371" name="テキスト プレースホルダ 9">
            <a:extLst>
              <a:ext uri="{FF2B5EF4-FFF2-40B4-BE49-F238E27FC236}">
                <a16:creationId xmlns:a16="http://schemas.microsoft.com/office/drawing/2014/main" id="{1EDF2117-993C-498D-BD3E-05177E01E254}"/>
              </a:ext>
            </a:extLst>
          </p:cNvPr>
          <p:cNvSpPr>
            <a:spLocks noGrp="1"/>
          </p:cNvSpPr>
          <p:nvPr>
            <p:custDataLst>
              <p:tags r:id="rId209"/>
            </p:custDataLst>
          </p:nvPr>
        </p:nvSpPr>
        <p:spPr bwMode="gray">
          <a:xfrm>
            <a:off x="3463925" y="4767263"/>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47C388-937C-4174-A3E9-E4AF09368588}" type="datetime'''6.''''''''''''''''''''''''''''''6'">
              <a:rPr kumimoji="0" lang="ja-JP" altLang="en-US" sz="1000" smtClean="0">
                <a:effectLst/>
                <a:sym typeface="+mn-lt"/>
              </a:rPr>
              <a:pPr marL="0" indent="0" algn="ctr">
                <a:spcBef>
                  <a:spcPct val="0"/>
                </a:spcBef>
                <a:buNone/>
              </a:pPr>
              <a:t>6.6</a:t>
            </a:fld>
            <a:endParaRPr kumimoji="0" lang="ja-JP" altLang="en-US" sz="1000" dirty="0">
              <a:sym typeface="+mn-lt"/>
            </a:endParaRPr>
          </a:p>
        </p:txBody>
      </p:sp>
      <p:sp>
        <p:nvSpPr>
          <p:cNvPr id="372" name="テキスト プレースホルダ 9">
            <a:extLst>
              <a:ext uri="{FF2B5EF4-FFF2-40B4-BE49-F238E27FC236}">
                <a16:creationId xmlns:a16="http://schemas.microsoft.com/office/drawing/2014/main" id="{D9EFF0FE-F1DF-49A8-9F03-36EC351763DF}"/>
              </a:ext>
            </a:extLst>
          </p:cNvPr>
          <p:cNvSpPr>
            <a:spLocks noGrp="1"/>
          </p:cNvSpPr>
          <p:nvPr>
            <p:custDataLst>
              <p:tags r:id="rId210"/>
            </p:custDataLst>
          </p:nvPr>
        </p:nvSpPr>
        <p:spPr bwMode="gray">
          <a:xfrm>
            <a:off x="3810000" y="4768850"/>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DA9FEC-A666-4C87-8C9F-D28958FE0DE9}" type="datetime'''''''''''''''''''''''''''''6.''''''''''''''''''''''''''8'''''">
              <a:rPr kumimoji="0" lang="ja-JP" altLang="en-US" sz="1000" smtClean="0">
                <a:effectLst/>
                <a:sym typeface="+mn-lt"/>
              </a:rPr>
              <a:pPr marL="0" indent="0" algn="ctr">
                <a:spcBef>
                  <a:spcPct val="0"/>
                </a:spcBef>
                <a:buNone/>
              </a:pPr>
              <a:t>6.8</a:t>
            </a:fld>
            <a:endParaRPr kumimoji="0" lang="ja-JP" altLang="en-US" sz="1000" dirty="0">
              <a:sym typeface="+mn-lt"/>
            </a:endParaRPr>
          </a:p>
        </p:txBody>
      </p:sp>
      <p:sp>
        <p:nvSpPr>
          <p:cNvPr id="373" name="テキスト プレースホルダ 9">
            <a:extLst>
              <a:ext uri="{FF2B5EF4-FFF2-40B4-BE49-F238E27FC236}">
                <a16:creationId xmlns:a16="http://schemas.microsoft.com/office/drawing/2014/main" id="{9C89EE77-11F3-458C-A030-9515E95D9398}"/>
              </a:ext>
            </a:extLst>
          </p:cNvPr>
          <p:cNvSpPr>
            <a:spLocks noGrp="1"/>
          </p:cNvSpPr>
          <p:nvPr>
            <p:custDataLst>
              <p:tags r:id="rId211"/>
            </p:custDataLst>
          </p:nvPr>
        </p:nvSpPr>
        <p:spPr bwMode="gray">
          <a:xfrm>
            <a:off x="4156075" y="4768850"/>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180CB4-9079-4898-91CC-2898217576BD}" type="datetime'''''''''6''''''''''''''''''''.''''''''''''''''9'''''''''''''''">
              <a:rPr kumimoji="0" lang="ja-JP" altLang="en-US" sz="1000" smtClean="0">
                <a:effectLst/>
                <a:sym typeface="+mn-lt"/>
              </a:rPr>
              <a:pPr marL="0" indent="0" algn="ctr">
                <a:spcBef>
                  <a:spcPct val="0"/>
                </a:spcBef>
                <a:buNone/>
              </a:pPr>
              <a:t>6.9</a:t>
            </a:fld>
            <a:endParaRPr kumimoji="0" lang="ja-JP" altLang="en-US" sz="1000" dirty="0">
              <a:sym typeface="+mn-lt"/>
            </a:endParaRPr>
          </a:p>
        </p:txBody>
      </p:sp>
      <p:sp>
        <p:nvSpPr>
          <p:cNvPr id="374" name="テキスト プレースホルダ 9">
            <a:extLst>
              <a:ext uri="{FF2B5EF4-FFF2-40B4-BE49-F238E27FC236}">
                <a16:creationId xmlns:a16="http://schemas.microsoft.com/office/drawing/2014/main" id="{CD96CACF-0EE2-469E-B4BF-A0174E27E849}"/>
              </a:ext>
            </a:extLst>
          </p:cNvPr>
          <p:cNvSpPr>
            <a:spLocks noGrp="1"/>
          </p:cNvSpPr>
          <p:nvPr>
            <p:custDataLst>
              <p:tags r:id="rId212"/>
            </p:custDataLst>
          </p:nvPr>
        </p:nvSpPr>
        <p:spPr bwMode="gray">
          <a:xfrm>
            <a:off x="4500563" y="4770438"/>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7B925C-F97B-449F-A503-0A2ACDF136FF}" type="datetime'''''''''7''''''''''''.''1'''''">
              <a:rPr kumimoji="0" lang="ja-JP" altLang="en-US" sz="1000" smtClean="0">
                <a:effectLst/>
                <a:sym typeface="+mn-lt"/>
              </a:rPr>
              <a:pPr marL="0" indent="0" algn="ctr">
                <a:spcBef>
                  <a:spcPct val="0"/>
                </a:spcBef>
                <a:buNone/>
              </a:pPr>
              <a:t>7.1</a:t>
            </a:fld>
            <a:endParaRPr kumimoji="0" lang="ja-JP" altLang="en-US" sz="1000" dirty="0">
              <a:sym typeface="+mn-lt"/>
            </a:endParaRPr>
          </a:p>
        </p:txBody>
      </p:sp>
      <p:sp>
        <p:nvSpPr>
          <p:cNvPr id="375" name="テキスト プレースホルダ 9">
            <a:extLst>
              <a:ext uri="{FF2B5EF4-FFF2-40B4-BE49-F238E27FC236}">
                <a16:creationId xmlns:a16="http://schemas.microsoft.com/office/drawing/2014/main" id="{60F46BA9-0739-44F0-9FBD-114166D39B21}"/>
              </a:ext>
            </a:extLst>
          </p:cNvPr>
          <p:cNvSpPr>
            <a:spLocks noGrp="1"/>
          </p:cNvSpPr>
          <p:nvPr>
            <p:custDataLst>
              <p:tags r:id="rId213"/>
            </p:custDataLst>
          </p:nvPr>
        </p:nvSpPr>
        <p:spPr bwMode="gray">
          <a:xfrm>
            <a:off x="4846638" y="4772025"/>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690DB0-76F1-43A2-A38A-FD5D4BBF8C7B}" type="datetime'''''''7''''''''''''''''''''''''''''''.2'''''''">
              <a:rPr kumimoji="0" lang="ja-JP" altLang="en-US" sz="1000" smtClean="0">
                <a:effectLst/>
                <a:sym typeface="+mn-lt"/>
              </a:rPr>
              <a:pPr marL="0" indent="0" algn="ctr">
                <a:spcBef>
                  <a:spcPct val="0"/>
                </a:spcBef>
                <a:buNone/>
              </a:pPr>
              <a:t>7.2</a:t>
            </a:fld>
            <a:endParaRPr kumimoji="0" lang="ja-JP" altLang="en-US" sz="1000" dirty="0">
              <a:sym typeface="+mn-lt"/>
            </a:endParaRPr>
          </a:p>
        </p:txBody>
      </p:sp>
      <p:sp>
        <p:nvSpPr>
          <p:cNvPr id="376" name="テキスト プレースホルダ 9">
            <a:extLst>
              <a:ext uri="{FF2B5EF4-FFF2-40B4-BE49-F238E27FC236}">
                <a16:creationId xmlns:a16="http://schemas.microsoft.com/office/drawing/2014/main" id="{C3F55B49-C4E6-4BEC-BE25-2F1B620C9BB2}"/>
              </a:ext>
            </a:extLst>
          </p:cNvPr>
          <p:cNvSpPr>
            <a:spLocks noGrp="1"/>
          </p:cNvSpPr>
          <p:nvPr>
            <p:custDataLst>
              <p:tags r:id="rId214"/>
            </p:custDataLst>
          </p:nvPr>
        </p:nvSpPr>
        <p:spPr bwMode="gray">
          <a:xfrm>
            <a:off x="5192713" y="4773613"/>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C488C0-7800-425E-B7E8-386932AF079B}" type="datetime'7''''''''''''''.4'''''''''''''''">
              <a:rPr kumimoji="0" lang="ja-JP" altLang="en-US" sz="1000" smtClean="0">
                <a:effectLst/>
                <a:sym typeface="+mn-lt"/>
              </a:rPr>
              <a:pPr marL="0" indent="0" algn="ctr">
                <a:spcBef>
                  <a:spcPct val="0"/>
                </a:spcBef>
                <a:buNone/>
              </a:pPr>
              <a:t>7.4</a:t>
            </a:fld>
            <a:endParaRPr kumimoji="0" lang="ja-JP" altLang="en-US" sz="1000" dirty="0">
              <a:sym typeface="+mn-lt"/>
            </a:endParaRPr>
          </a:p>
        </p:txBody>
      </p:sp>
      <p:sp>
        <p:nvSpPr>
          <p:cNvPr id="378" name="テキスト プレースホルダ 9">
            <a:extLst>
              <a:ext uri="{FF2B5EF4-FFF2-40B4-BE49-F238E27FC236}">
                <a16:creationId xmlns:a16="http://schemas.microsoft.com/office/drawing/2014/main" id="{739B377F-9161-492B-B9C7-F2E7127DDAA7}"/>
              </a:ext>
            </a:extLst>
          </p:cNvPr>
          <p:cNvSpPr>
            <a:spLocks noGrp="1"/>
          </p:cNvSpPr>
          <p:nvPr>
            <p:custDataLst>
              <p:tags r:id="rId215"/>
            </p:custDataLst>
          </p:nvPr>
        </p:nvSpPr>
        <p:spPr bwMode="gray">
          <a:xfrm>
            <a:off x="5883275" y="4776788"/>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10E037C-7DCE-45E9-8DB4-405FE347C2E2}" type="datetime'''''''''''''7''''''''''''''''.''''''''''''''''''''''''''9'''">
              <a:rPr lang="ja-JP" altLang="en-US" sz="1000" smtClean="0">
                <a:effectLst/>
                <a:sym typeface="+mn-lt"/>
              </a:rPr>
              <a:pPr marL="0" indent="0" algn="ctr">
                <a:spcBef>
                  <a:spcPct val="0"/>
                </a:spcBef>
                <a:buNone/>
              </a:pPr>
              <a:t>7.9</a:t>
            </a:fld>
            <a:endParaRPr lang="ja-JP" altLang="en-US" sz="1000" dirty="0">
              <a:sym typeface="+mn-lt"/>
            </a:endParaRPr>
          </a:p>
        </p:txBody>
      </p:sp>
      <p:sp>
        <p:nvSpPr>
          <p:cNvPr id="379" name="テキスト プレースホルダ 9">
            <a:extLst>
              <a:ext uri="{FF2B5EF4-FFF2-40B4-BE49-F238E27FC236}">
                <a16:creationId xmlns:a16="http://schemas.microsoft.com/office/drawing/2014/main" id="{CA87D7D7-9F67-43D5-AA2D-DCB321FA02BD}"/>
              </a:ext>
            </a:extLst>
          </p:cNvPr>
          <p:cNvSpPr>
            <a:spLocks noGrp="1"/>
          </p:cNvSpPr>
          <p:nvPr>
            <p:custDataLst>
              <p:tags r:id="rId216"/>
            </p:custDataLst>
          </p:nvPr>
        </p:nvSpPr>
        <p:spPr bwMode="gray">
          <a:xfrm>
            <a:off x="6229350" y="4778375"/>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FB4D3C-A885-4D62-BFD8-AED00694A6C1}" type="datetime'''''''''''8''''''''''''''''''.''''''''''''''''''''''''2'''''''">
              <a:rPr lang="ja-JP" altLang="en-US" sz="1000" smtClean="0">
                <a:effectLst/>
                <a:sym typeface="+mn-lt"/>
              </a:rPr>
              <a:pPr marL="0" indent="0" algn="ctr">
                <a:spcBef>
                  <a:spcPct val="0"/>
                </a:spcBef>
                <a:buNone/>
              </a:pPr>
              <a:t>8.2</a:t>
            </a:fld>
            <a:endParaRPr lang="ja-JP" altLang="en-US" sz="1000" dirty="0">
              <a:sym typeface="+mn-lt"/>
            </a:endParaRPr>
          </a:p>
        </p:txBody>
      </p:sp>
      <p:sp>
        <p:nvSpPr>
          <p:cNvPr id="381" name="テキスト プレースホルダ 9">
            <a:extLst>
              <a:ext uri="{FF2B5EF4-FFF2-40B4-BE49-F238E27FC236}">
                <a16:creationId xmlns:a16="http://schemas.microsoft.com/office/drawing/2014/main" id="{2B6C5753-0119-4E35-97BB-1B376FAA974C}"/>
              </a:ext>
            </a:extLst>
          </p:cNvPr>
          <p:cNvSpPr>
            <a:spLocks noGrp="1"/>
          </p:cNvSpPr>
          <p:nvPr>
            <p:custDataLst>
              <p:tags r:id="rId217"/>
            </p:custDataLst>
          </p:nvPr>
        </p:nvSpPr>
        <p:spPr bwMode="gray">
          <a:xfrm>
            <a:off x="6921500" y="4781550"/>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80A2AE-9110-4A36-9832-0D3C7B064F6B}" type="datetime'''''''8''''''''''''''.''''''''''''''7'''''''''''''">
              <a:rPr lang="ja-JP" altLang="en-US" sz="1000" smtClean="0">
                <a:effectLst/>
                <a:sym typeface="+mn-lt"/>
              </a:rPr>
              <a:pPr marL="0" indent="0" algn="ctr">
                <a:spcBef>
                  <a:spcPct val="0"/>
                </a:spcBef>
                <a:buNone/>
              </a:pPr>
              <a:t>8.7</a:t>
            </a:fld>
            <a:endParaRPr lang="ja-JP" altLang="en-US" sz="1000" dirty="0">
              <a:sym typeface="+mn-lt"/>
            </a:endParaRPr>
          </a:p>
        </p:txBody>
      </p:sp>
    </p:spTree>
    <p:extLst>
      <p:ext uri="{BB962C8B-B14F-4D97-AF65-F5344CB8AC3E}">
        <p14:creationId xmlns:p14="http://schemas.microsoft.com/office/powerpoint/2010/main" val="101901710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角丸四角形 6"/>
          <p:cNvSpPr/>
          <p:nvPr/>
        </p:nvSpPr>
        <p:spPr>
          <a:xfrm>
            <a:off x="1543266" y="2358621"/>
            <a:ext cx="3193710" cy="1952534"/>
          </a:xfrm>
          <a:prstGeom prst="roundRect">
            <a:avLst>
              <a:gd name="adj" fmla="val 5447"/>
            </a:avLst>
          </a:prstGeom>
          <a:gradFill flip="none" rotWithShape="1">
            <a:gsLst>
              <a:gs pos="47000">
                <a:srgbClr val="A2BBDC"/>
              </a:gs>
              <a:gs pos="100000">
                <a:schemeClr val="bg1"/>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ブラジル／医療関連／その他</a:t>
            </a:r>
            <a:endParaRPr kumimoji="1" lang="ja-JP" altLang="en-US" dirty="0"/>
          </a:p>
        </p:txBody>
      </p:sp>
      <p:sp>
        <p:nvSpPr>
          <p:cNvPr id="6" name="テキスト プレースホルダー 5"/>
          <p:cNvSpPr>
            <a:spLocks noGrp="1"/>
          </p:cNvSpPr>
          <p:nvPr>
            <p:ph type="body" sz="quarter" idx="15"/>
          </p:nvPr>
        </p:nvSpPr>
        <p:spPr/>
        <p:txBody>
          <a:bodyPr/>
          <a:lstStyle/>
          <a:p>
            <a:r>
              <a:rPr lang="zh-CN" altLang="en-US" dirty="0"/>
              <a:t>外国人患者受入／医療渡航</a:t>
            </a:r>
            <a:endParaRPr lang="ja-JP" altLang="en-US" dirty="0"/>
          </a:p>
        </p:txBody>
      </p:sp>
      <p:sp>
        <p:nvSpPr>
          <p:cNvPr id="12" name="Rectangle 6"/>
          <p:cNvSpPr>
            <a:spLocks noChangeArrowheads="1"/>
          </p:cNvSpPr>
          <p:nvPr/>
        </p:nvSpPr>
        <p:spPr bwMode="auto">
          <a:xfrm>
            <a:off x="792535" y="4941168"/>
            <a:ext cx="46440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地方自治体による取り組み</a:t>
            </a:r>
          </a:p>
        </p:txBody>
      </p:sp>
      <p:sp>
        <p:nvSpPr>
          <p:cNvPr id="13" name="テキスト ボックス 12"/>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観光省は</a:t>
            </a:r>
            <a:r>
              <a:rPr lang="zh-CN" altLang="en-US" sz="1400" dirty="0"/>
              <a:t>外国人患者受入／医療渡航</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推進しており、関連する各種資料を公開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地方自治体でも取り組みが行われている。</a:t>
            </a:r>
          </a:p>
        </p:txBody>
      </p:sp>
      <p:sp>
        <p:nvSpPr>
          <p:cNvPr id="14" name="テキスト ボックス 13"/>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a:t>
            </a:r>
            <a:r>
              <a:rPr lang="en-US" altLang="ja-JP" dirty="0"/>
              <a:t>JETRO</a:t>
            </a:r>
            <a:r>
              <a:rPr lang="ja-JP" altLang="en-US" dirty="0"/>
              <a:t>「ブラジルの医療機器市場と規制」（</a:t>
            </a:r>
            <a:r>
              <a:rPr lang="en-US" altLang="ja-JP" dirty="0"/>
              <a:t>2012</a:t>
            </a:r>
            <a:r>
              <a:rPr lang="ja-JP" altLang="en-US" dirty="0"/>
              <a:t>）</a:t>
            </a:r>
          </a:p>
        </p:txBody>
      </p:sp>
      <p:graphicFrame>
        <p:nvGraphicFramePr>
          <p:cNvPr id="10" name="表 9"/>
          <p:cNvGraphicFramePr>
            <a:graphicFrameLocks noGrp="1"/>
          </p:cNvGraphicFramePr>
          <p:nvPr>
            <p:extLst>
              <p:ext uri="{D42A27DB-BD31-4B8C-83A1-F6EECF244321}">
                <p14:modId xmlns:p14="http://schemas.microsoft.com/office/powerpoint/2010/main" val="325162759"/>
              </p:ext>
            </p:extLst>
          </p:nvPr>
        </p:nvGraphicFramePr>
        <p:xfrm>
          <a:off x="776536" y="5229200"/>
          <a:ext cx="8352928" cy="1224136"/>
        </p:xfrm>
        <a:graphic>
          <a:graphicData uri="http://schemas.openxmlformats.org/drawingml/2006/table">
            <a:tbl>
              <a:tblPr firstRow="1" bandRow="1">
                <a:tableStyleId>{2D5ABB26-0587-4C30-8999-92F81FD0307C}</a:tableStyleId>
              </a:tblPr>
              <a:tblGrid>
                <a:gridCol w="1871687">
                  <a:extLst>
                    <a:ext uri="{9D8B030D-6E8A-4147-A177-3AD203B41FA5}">
                      <a16:colId xmlns:a16="http://schemas.microsoft.com/office/drawing/2014/main" val="20000"/>
                    </a:ext>
                  </a:extLst>
                </a:gridCol>
                <a:gridCol w="6481241">
                  <a:extLst>
                    <a:ext uri="{9D8B030D-6E8A-4147-A177-3AD203B41FA5}">
                      <a16:colId xmlns:a16="http://schemas.microsoft.com/office/drawing/2014/main" val="20001"/>
                    </a:ext>
                  </a:extLst>
                </a:gridCol>
              </a:tblGrid>
              <a:tr h="612068">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ペルナンブッコ州</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1" indent="-171450" algn="l"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民間主導の</a:t>
                      </a:r>
                      <a:r>
                        <a:rPr kumimoji="1" lang="zh-CN"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人患者受入／医療渡航</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プロジェクトの支援を行っている。</a:t>
                      </a:r>
                      <a:endPar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1" indent="-171450" algn="l"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機関ネットワークの構築や各種資料の発行、セミナーなどを行っている。</a:t>
                      </a:r>
                    </a:p>
                  </a:txBody>
                  <a:tcPr marL="21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612068">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ポルト・アレグレ市</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1" indent="-17145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市と民間機関により、非営利団体の「ポルト・アレグレ・ヘルスケアクラスター」が設立された。</a:t>
                      </a:r>
                      <a:endPar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1" indent="-17145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機関や医療従事者のほか、ホテルなどの観光業も含めたネットワーク構築を行っている。</a:t>
                      </a:r>
                    </a:p>
                  </a:txBody>
                  <a:tcPr marL="21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grpSp>
        <p:nvGrpSpPr>
          <p:cNvPr id="19" name="グループ化 7"/>
          <p:cNvGrpSpPr/>
          <p:nvPr/>
        </p:nvGrpSpPr>
        <p:grpSpPr>
          <a:xfrm>
            <a:off x="416497" y="1844824"/>
            <a:ext cx="9058421" cy="288032"/>
            <a:chOff x="4803500" y="2113806"/>
            <a:chExt cx="2954133" cy="288032"/>
          </a:xfrm>
        </p:grpSpPr>
        <p:cxnSp>
          <p:nvCxnSpPr>
            <p:cNvPr id="20" name="直線コネクタ 1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渡航でブラジルを訪れる外国人</a:t>
              </a:r>
            </a:p>
          </p:txBody>
        </p:sp>
      </p:grpSp>
      <p:sp>
        <p:nvSpPr>
          <p:cNvPr id="30" name="Rectangle 13"/>
          <p:cNvSpPr>
            <a:spLocks noChangeArrowheads="1"/>
          </p:cNvSpPr>
          <p:nvPr/>
        </p:nvSpPr>
        <p:spPr bwMode="blackWhite">
          <a:xfrm>
            <a:off x="5817096" y="2684099"/>
            <a:ext cx="3239450" cy="289062"/>
          </a:xfrm>
          <a:prstGeom prst="rect">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A2BBDC"/>
                </a:solidFill>
              </a14:hiddenFill>
            </a:ext>
          </a:extLst>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fontAlgn="ctr"/>
            <a:r>
              <a:rPr lang="ja-JP" altLang="en-US" b="1" dirty="0">
                <a:cs typeface="Arial" panose="020B0604020202020204" pitchFamily="34" charset="0"/>
              </a:rPr>
              <a:t>特に美容整形が有名</a:t>
            </a:r>
          </a:p>
        </p:txBody>
      </p:sp>
      <p:sp>
        <p:nvSpPr>
          <p:cNvPr id="31" name="正方形/長方形 30"/>
          <p:cNvSpPr/>
          <p:nvPr/>
        </p:nvSpPr>
        <p:spPr>
          <a:xfrm>
            <a:off x="5831226" y="2935275"/>
            <a:ext cx="3226478" cy="576778"/>
          </a:xfrm>
          <a:prstGeom prst="rect">
            <a:avLst/>
          </a:prstGeom>
          <a:noFill/>
          <a:ln cmpd="sng">
            <a:noFill/>
          </a:ln>
        </p:spPr>
        <p:txBody>
          <a:bodyPr wrap="square" lIns="36000" rIns="36000" rtlCol="0" anchor="t" anchorCtr="0">
            <a:noAutofit/>
          </a:bodyPr>
          <a:lstStyle/>
          <a:p>
            <a:pPr marL="285750" indent="-155575">
              <a:lnSpc>
                <a:spcPct val="113000"/>
              </a:lnSpc>
              <a:buClr>
                <a:srgbClr val="5F8AC3"/>
              </a:buClr>
              <a:buSzPct val="80000"/>
              <a:buFont typeface="Wingdings" panose="05000000000000000000" pitchFamily="2" charset="2"/>
              <a:buChar char="l"/>
            </a:pPr>
            <a:r>
              <a:rPr lang="ja-JP" altLang="en-US" sz="1050" dirty="0">
                <a:latin typeface="Arial" panose="020B0604020202020204" pitchFamily="34" charset="0"/>
              </a:rPr>
              <a:t>美容外科ライセンスを持つ世界トップクラスの医師： </a:t>
            </a:r>
            <a:r>
              <a:rPr lang="en-US" altLang="ja-JP" sz="1050" dirty="0">
                <a:latin typeface="Arial Black" panose="020B0A04020102020204" pitchFamily="34" charset="0"/>
              </a:rPr>
              <a:t>4,500</a:t>
            </a:r>
            <a:r>
              <a:rPr lang="ja-JP" altLang="en-US" sz="1050" dirty="0">
                <a:latin typeface="Arial" panose="020B0604020202020204" pitchFamily="34" charset="0"/>
              </a:rPr>
              <a:t>名</a:t>
            </a:r>
            <a:endParaRPr lang="en-US" altLang="ja-JP" sz="1050" dirty="0">
              <a:latin typeface="Arial" panose="020B0604020202020204" pitchFamily="34" charset="0"/>
            </a:endParaRPr>
          </a:p>
          <a:p>
            <a:pPr marL="285750" indent="-155575">
              <a:lnSpc>
                <a:spcPct val="113000"/>
              </a:lnSpc>
              <a:buClr>
                <a:srgbClr val="5F8AC3"/>
              </a:buClr>
              <a:buSzPct val="80000"/>
              <a:buFont typeface="Wingdings" panose="05000000000000000000" pitchFamily="2" charset="2"/>
              <a:buChar char="l"/>
            </a:pPr>
            <a:r>
              <a:rPr lang="ja-JP" altLang="en-US" sz="1050" dirty="0">
                <a:latin typeface="Arial" panose="020B0604020202020204" pitchFamily="34" charset="0"/>
              </a:rPr>
              <a:t>人口当たり美容外科医師数は世界最多</a:t>
            </a:r>
            <a:endParaRPr lang="en-US" altLang="ja-JP" sz="1050" dirty="0">
              <a:latin typeface="Arial" panose="020B0604020202020204" pitchFamily="34" charset="0"/>
            </a:endParaRPr>
          </a:p>
          <a:p>
            <a:pPr marL="285750" indent="-155575">
              <a:lnSpc>
                <a:spcPct val="113000"/>
              </a:lnSpc>
              <a:buClr>
                <a:srgbClr val="5F8AC3"/>
              </a:buClr>
              <a:buSzPct val="80000"/>
              <a:buFont typeface="Wingdings" panose="05000000000000000000" pitchFamily="2" charset="2"/>
              <a:buChar char="l"/>
            </a:pPr>
            <a:r>
              <a:rPr lang="ja-JP" altLang="en-US" sz="1050" dirty="0">
                <a:latin typeface="Arial" panose="020B0604020202020204" pitchFamily="34" charset="0"/>
              </a:rPr>
              <a:t>多くが米国で研修と認定を受けている</a:t>
            </a:r>
          </a:p>
        </p:txBody>
      </p:sp>
      <p:sp>
        <p:nvSpPr>
          <p:cNvPr id="33" name="Rectangle 13"/>
          <p:cNvSpPr>
            <a:spLocks noChangeArrowheads="1"/>
          </p:cNvSpPr>
          <p:nvPr/>
        </p:nvSpPr>
        <p:spPr bwMode="blackWhite">
          <a:xfrm>
            <a:off x="5817096" y="3719368"/>
            <a:ext cx="3239450" cy="288032"/>
          </a:xfrm>
          <a:prstGeom prst="rect">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A2BBDC"/>
                </a:solidFill>
              </a14:hiddenFill>
            </a:ext>
          </a:extLst>
        </p:spPr>
        <p:txBody>
          <a:bodyPr anchor="ctr">
            <a:noAutofit/>
          </a:bodyPr>
          <a:lstStyle/>
          <a:p>
            <a:pPr fontAlgn="ctr">
              <a:spcBef>
                <a:spcPct val="0"/>
              </a:spcBef>
              <a:spcAft>
                <a:spcPct val="0"/>
              </a:spcAft>
            </a:pPr>
            <a:r>
              <a:rPr lang="ja-JP" altLang="en-US" sz="1200" b="1" dirty="0">
                <a:latin typeface="Arial" pitchFamily="34" charset="0"/>
                <a:ea typeface="ＭＳ Ｐゴシック" pitchFamily="50" charset="-128"/>
                <a:cs typeface="Arial" panose="020B0604020202020204" pitchFamily="34" charset="0"/>
              </a:rPr>
              <a:t>治療費</a:t>
            </a:r>
          </a:p>
        </p:txBody>
      </p:sp>
      <p:sp>
        <p:nvSpPr>
          <p:cNvPr id="34" name="正方形/長方形 33"/>
          <p:cNvSpPr/>
          <p:nvPr/>
        </p:nvSpPr>
        <p:spPr>
          <a:xfrm>
            <a:off x="5831226" y="4005064"/>
            <a:ext cx="3226478" cy="402092"/>
          </a:xfrm>
          <a:prstGeom prst="rect">
            <a:avLst/>
          </a:prstGeom>
          <a:noFill/>
          <a:ln cmpd="sng">
            <a:noFill/>
          </a:ln>
        </p:spPr>
        <p:txBody>
          <a:bodyPr wrap="square" lIns="36000" rIns="36000" rtlCol="0" anchor="t" anchorCtr="0">
            <a:noAutofit/>
          </a:bodyPr>
          <a:lstStyle/>
          <a:p>
            <a:pPr marL="285750" indent="-155575">
              <a:buClr>
                <a:srgbClr val="5F8AC3"/>
              </a:buClr>
              <a:buSzPct val="80000"/>
              <a:buFont typeface="Wingdings" panose="05000000000000000000" pitchFamily="2" charset="2"/>
              <a:buChar char="l"/>
            </a:pPr>
            <a:r>
              <a:rPr lang="ja-JP" altLang="en-US" sz="1050" dirty="0">
                <a:latin typeface="Arial" panose="020B0604020202020204" pitchFamily="34" charset="0"/>
              </a:rPr>
              <a:t>欧米の</a:t>
            </a:r>
            <a:r>
              <a:rPr lang="ja-JP" altLang="en-US" sz="1050" dirty="0">
                <a:latin typeface="HGP創英角ｺﾞｼｯｸUB" panose="020B0900000000000000" pitchFamily="50" charset="-128"/>
                <a:ea typeface="HGP創英角ｺﾞｼｯｸUB" panose="020B0900000000000000" pitchFamily="50" charset="-128"/>
              </a:rPr>
              <a:t>半額程度</a:t>
            </a:r>
            <a:r>
              <a:rPr lang="ja-JP" altLang="en-US" sz="1050" dirty="0">
                <a:latin typeface="Arial" panose="020B0604020202020204" pitchFamily="34" charset="0"/>
              </a:rPr>
              <a:t>と安価である</a:t>
            </a:r>
            <a:endParaRPr lang="en-US" altLang="ja-JP" sz="1050" dirty="0">
              <a:latin typeface="Arial" panose="020B0604020202020204" pitchFamily="34" charset="0"/>
            </a:endParaRPr>
          </a:p>
        </p:txBody>
      </p:sp>
      <p:sp>
        <p:nvSpPr>
          <p:cNvPr id="39" name="正方形/長方形 38"/>
          <p:cNvSpPr/>
          <p:nvPr/>
        </p:nvSpPr>
        <p:spPr>
          <a:xfrm>
            <a:off x="5889104" y="4653136"/>
            <a:ext cx="3384376" cy="360040"/>
          </a:xfrm>
          <a:prstGeom prst="rect">
            <a:avLst/>
          </a:prstGeom>
          <a:noFill/>
          <a:extLst>
            <a:ext uri="{909E8E84-426E-40DD-AFC4-6F175D3DCCD1}">
              <a14:hiddenFill xmlns:a14="http://schemas.microsoft.com/office/drawing/2010/main">
                <a:solidFill>
                  <a:srgbClr val="DDE6F3"/>
                </a:solidFill>
              </a14:hiddenFill>
            </a:ext>
          </a:extLst>
        </p:spPr>
        <p:txBody>
          <a:bodyPr lIns="0" tIns="0" rIns="0" bIns="0" anchor="ctr" anchorCtr="0">
            <a:noAutofit/>
          </a:bodyPr>
          <a:lstStyle/>
          <a:p>
            <a:pPr fontAlgn="ctr">
              <a:buClr>
                <a:srgbClr val="77D4ED"/>
              </a:buClr>
              <a:buSzPct val="80000"/>
            </a:pPr>
            <a:r>
              <a:rPr lang="ja-JP" altLang="en-US" sz="1050" dirty="0">
                <a:latin typeface="Arial" panose="020B0604020202020204" pitchFamily="34" charset="0"/>
              </a:rPr>
              <a:t>米国、アンゴラ、イタリア、フランス、ポルトガル、など</a:t>
            </a:r>
          </a:p>
        </p:txBody>
      </p:sp>
      <p:graphicFrame>
        <p:nvGraphicFramePr>
          <p:cNvPr id="52" name="グラフ 51"/>
          <p:cNvGraphicFramePr/>
          <p:nvPr>
            <p:extLst>
              <p:ext uri="{D42A27DB-BD31-4B8C-83A1-F6EECF244321}">
                <p14:modId xmlns:p14="http://schemas.microsoft.com/office/powerpoint/2010/main" val="985325044"/>
              </p:ext>
            </p:extLst>
          </p:nvPr>
        </p:nvGraphicFramePr>
        <p:xfrm>
          <a:off x="67101" y="2204864"/>
          <a:ext cx="2952329" cy="2250119"/>
        </p:xfrm>
        <a:graphic>
          <a:graphicData uri="http://schemas.openxmlformats.org/drawingml/2006/chart">
            <c:chart xmlns:c="http://schemas.openxmlformats.org/drawingml/2006/chart" xmlns:r="http://schemas.openxmlformats.org/officeDocument/2006/relationships" r:id="rId2"/>
          </a:graphicData>
        </a:graphic>
      </p:graphicFrame>
      <p:sp>
        <p:nvSpPr>
          <p:cNvPr id="53" name="円/楕円 52"/>
          <p:cNvSpPr/>
          <p:nvPr/>
        </p:nvSpPr>
        <p:spPr>
          <a:xfrm>
            <a:off x="1102157" y="2884920"/>
            <a:ext cx="898003" cy="898003"/>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間</a:t>
            </a:r>
            <a:b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28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3</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a:t>
            </a:r>
            <a:endPar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Rectangle 13"/>
          <p:cNvSpPr>
            <a:spLocks noChangeArrowheads="1"/>
          </p:cNvSpPr>
          <p:nvPr/>
        </p:nvSpPr>
        <p:spPr bwMode="blackWhite">
          <a:xfrm>
            <a:off x="5672459" y="2358621"/>
            <a:ext cx="3528640" cy="289062"/>
          </a:xfrm>
          <a:prstGeom prst="roundRect">
            <a:avLst/>
          </a:prstGeom>
          <a:solidFill>
            <a:srgbClr val="A2BBDC"/>
          </a:solidFill>
          <a:ln w="12700" cap="flat" cmpd="sng" algn="ctr">
            <a:noFill/>
            <a:prstDash val="solid"/>
            <a:round/>
            <a:headEnd type="none" w="med" len="med"/>
            <a:tailEnd type="none" w="med" len="me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fontAlgn="ctr"/>
            <a:r>
              <a:rPr lang="ja-JP" altLang="en-US" sz="1400" b="1" dirty="0">
                <a:cs typeface="Arial" panose="020B0604020202020204" pitchFamily="34" charset="0"/>
              </a:rPr>
              <a:t>ブラジルの医療の魅力</a:t>
            </a:r>
          </a:p>
        </p:txBody>
      </p:sp>
      <p:sp>
        <p:nvSpPr>
          <p:cNvPr id="32" name="Rectangle 13"/>
          <p:cNvSpPr>
            <a:spLocks noChangeArrowheads="1"/>
          </p:cNvSpPr>
          <p:nvPr/>
        </p:nvSpPr>
        <p:spPr bwMode="blackWhite">
          <a:xfrm>
            <a:off x="5672459" y="4364074"/>
            <a:ext cx="3528640" cy="289062"/>
          </a:xfrm>
          <a:prstGeom prst="roundRect">
            <a:avLst/>
          </a:prstGeom>
          <a:solidFill>
            <a:srgbClr val="A2BBDC"/>
          </a:solidFill>
          <a:ln w="12700" cap="flat" cmpd="sng" algn="ctr">
            <a:noFill/>
            <a:prstDash val="solid"/>
            <a:round/>
            <a:headEnd type="none" w="med" len="med"/>
            <a:tailEnd type="none" w="med" len="me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fontAlgn="ctr"/>
            <a:r>
              <a:rPr lang="ja-JP" altLang="en-US" sz="1400" b="1" dirty="0">
                <a:cs typeface="Arial" panose="020B0604020202020204" pitchFamily="34" charset="0"/>
              </a:rPr>
              <a:t>主な来訪者</a:t>
            </a:r>
          </a:p>
        </p:txBody>
      </p:sp>
      <p:sp>
        <p:nvSpPr>
          <p:cNvPr id="23" name="テキスト プレースホルダー 1"/>
          <p:cNvSpPr txBox="1">
            <a:spLocks/>
          </p:cNvSpPr>
          <p:nvPr/>
        </p:nvSpPr>
        <p:spPr>
          <a:xfrm>
            <a:off x="2648744" y="2564905"/>
            <a:ext cx="1932150" cy="1584176"/>
          </a:xfrm>
          <a:prstGeom prst="roundRect">
            <a:avLst>
              <a:gd name="adj" fmla="val 2977"/>
            </a:avLst>
          </a:prstGeom>
          <a:solidFill>
            <a:srgbClr val="FFFFFF"/>
          </a:solidFill>
          <a:ln w="19050" cap="flat" cmpd="sng" algn="ctr">
            <a:solidFill>
              <a:srgbClr val="3D6AA7"/>
            </a:solidFill>
            <a:prstDash val="solid"/>
            <a:round/>
            <a:headEnd type="none" w="med" len="med"/>
            <a:tailEnd type="none" w="med" len="med"/>
          </a:ln>
        </p:spPr>
        <p:txBody>
          <a:bodyPr lIns="108000" rIns="108000" anchor="t" anchorCtr="0"/>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nSpc>
                <a:spcPct val="113000"/>
              </a:lnSpc>
              <a:spcBef>
                <a:spcPts val="0"/>
              </a:spcBef>
              <a:spcAft>
                <a:spcPts val="400"/>
              </a:spcAft>
              <a:buNone/>
            </a:pPr>
            <a:r>
              <a:rPr lang="ja-JP" altLang="en-US" sz="1100" dirty="0"/>
              <a:t>約半数は</a:t>
            </a:r>
            <a:r>
              <a:rPr lang="ja-JP" altLang="en-US" sz="1400" dirty="0">
                <a:solidFill>
                  <a:srgbClr val="000000"/>
                </a:solidFill>
                <a:latin typeface="Arial Black" pitchFamily="34" charset="0"/>
                <a:ea typeface="HGP創英角ｺﾞｼｯｸUB" pitchFamily="50" charset="-128"/>
              </a:rPr>
              <a:t>サンパウロ市</a:t>
            </a:r>
            <a:r>
              <a:rPr lang="ja-JP" altLang="en-US" sz="1100" dirty="0"/>
              <a:t>の医療機関での治療が目的</a:t>
            </a:r>
            <a:endParaRPr lang="en-US" altLang="ja-JP" sz="1100" dirty="0"/>
          </a:p>
          <a:p>
            <a:pPr marL="217488" lvl="1" indent="-130175">
              <a:lnSpc>
                <a:spcPct val="113000"/>
              </a:lnSpc>
              <a:spcBef>
                <a:spcPts val="0"/>
              </a:spcBef>
              <a:spcAft>
                <a:spcPts val="400"/>
              </a:spcAft>
              <a:buClr>
                <a:srgbClr val="3D6AA7"/>
              </a:buClr>
              <a:buSzPct val="80000"/>
            </a:pPr>
            <a:r>
              <a:rPr lang="ja-JP" altLang="en-US" sz="1000" dirty="0"/>
              <a:t>がん</a:t>
            </a:r>
            <a:endParaRPr lang="en-US" altLang="ja-JP" sz="1000" dirty="0"/>
          </a:p>
          <a:p>
            <a:pPr marL="217488" lvl="1" indent="-130175">
              <a:lnSpc>
                <a:spcPct val="113000"/>
              </a:lnSpc>
              <a:spcBef>
                <a:spcPts val="0"/>
              </a:spcBef>
              <a:spcAft>
                <a:spcPts val="400"/>
              </a:spcAft>
              <a:buClr>
                <a:srgbClr val="3D6AA7"/>
              </a:buClr>
              <a:buSzPct val="80000"/>
            </a:pPr>
            <a:r>
              <a:rPr lang="ja-JP" altLang="en-US" sz="1000" dirty="0"/>
              <a:t>心臓外科</a:t>
            </a:r>
            <a:endParaRPr lang="en-US" altLang="ja-JP" sz="1000" dirty="0"/>
          </a:p>
          <a:p>
            <a:pPr marL="217488" lvl="1" indent="-130175">
              <a:lnSpc>
                <a:spcPct val="113000"/>
              </a:lnSpc>
              <a:spcBef>
                <a:spcPts val="0"/>
              </a:spcBef>
              <a:spcAft>
                <a:spcPts val="400"/>
              </a:spcAft>
              <a:buClr>
                <a:srgbClr val="3D6AA7"/>
              </a:buClr>
              <a:buSzPct val="80000"/>
            </a:pPr>
            <a:r>
              <a:rPr lang="ja-JP" altLang="en-US" sz="1000" dirty="0"/>
              <a:t>整形外科</a:t>
            </a:r>
            <a:endParaRPr lang="en-US" altLang="ja-JP" sz="1000" dirty="0"/>
          </a:p>
          <a:p>
            <a:pPr marL="217488" lvl="1" indent="-130175">
              <a:lnSpc>
                <a:spcPct val="113000"/>
              </a:lnSpc>
              <a:spcBef>
                <a:spcPts val="0"/>
              </a:spcBef>
              <a:spcAft>
                <a:spcPts val="400"/>
              </a:spcAft>
              <a:buClr>
                <a:srgbClr val="3D6AA7"/>
              </a:buClr>
              <a:buSzPct val="80000"/>
            </a:pPr>
            <a:r>
              <a:rPr lang="ja-JP" altLang="en-US" sz="1000" dirty="0"/>
              <a:t>歯科　　　　　　</a:t>
            </a:r>
            <a:r>
              <a:rPr lang="en-US" altLang="ja-JP" sz="1000" dirty="0"/>
              <a:t>…</a:t>
            </a:r>
            <a:r>
              <a:rPr lang="ja-JP" altLang="en-US" sz="1000" dirty="0"/>
              <a:t>など</a:t>
            </a:r>
            <a:endParaRPr lang="en-US" altLang="ja-JP" sz="1000" dirty="0"/>
          </a:p>
        </p:txBody>
      </p:sp>
    </p:spTree>
    <p:extLst>
      <p:ext uri="{BB962C8B-B14F-4D97-AF65-F5344CB8AC3E}">
        <p14:creationId xmlns:p14="http://schemas.microsoft.com/office/powerpoint/2010/main" val="150749058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endParaRPr kumimoji="1" lang="ja-JP" altLang="en-US" dirty="0"/>
          </a:p>
        </p:txBody>
      </p:sp>
    </p:spTree>
    <p:extLst>
      <p:ext uri="{BB962C8B-B14F-4D97-AF65-F5344CB8AC3E}">
        <p14:creationId xmlns:p14="http://schemas.microsoft.com/office/powerpoint/2010/main" val="390629261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政策動向</a:t>
            </a:r>
          </a:p>
        </p:txBody>
      </p:sp>
      <p:sp>
        <p:nvSpPr>
          <p:cNvPr id="2" name="テキスト プレースホルダー 1"/>
          <p:cNvSpPr>
            <a:spLocks noGrp="1"/>
          </p:cNvSpPr>
          <p:nvPr>
            <p:ph type="body" sz="quarter" idx="15"/>
          </p:nvPr>
        </p:nvSpPr>
        <p:spPr/>
        <p:txBody>
          <a:bodyPr/>
          <a:lstStyle/>
          <a:p>
            <a:r>
              <a:rPr lang="ja-JP" altLang="en-US" dirty="0"/>
              <a:t>医療関連政策の動向</a:t>
            </a:r>
          </a:p>
        </p:txBody>
      </p:sp>
      <p:sp>
        <p:nvSpPr>
          <p:cNvPr id="11" name="テキスト ボックス 10"/>
          <p:cNvSpPr txBox="1">
            <a:spLocks/>
          </p:cNvSpPr>
          <p:nvPr/>
        </p:nvSpPr>
        <p:spPr>
          <a:xfrm>
            <a:off x="200472" y="6525344"/>
            <a:ext cx="950505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Correiro</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Brazilien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pt-BR" altLang="ja-JP" sz="800" dirty="0">
                <a:latin typeface="Arial" panose="020B0604020202020204" pitchFamily="34" charset="0"/>
                <a:ea typeface="ＭＳ Ｐゴシック" panose="020B0600070205080204" pitchFamily="50" charset="-128"/>
                <a:cs typeface="Arial" panose="020B0604020202020204" pitchFamily="34" charset="0"/>
              </a:rPr>
              <a:t>Críticas levam Bolsonaro a recuar na proposta de privatização do S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7" name="テキスト ボックス 6"/>
          <p:cNvSpPr txBox="1">
            <a:spLocks/>
          </p:cNvSpPr>
          <p:nvPr/>
        </p:nvSpPr>
        <p:spPr>
          <a:xfrm>
            <a:off x="200472" y="1124744"/>
            <a:ext cx="9505056" cy="716286"/>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公共事業プログラ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AC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成長加速化計画）」では、保健分野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レアルが配分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A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制定された当初から政権が変わり、今後はより民営化が進んでいくことが予想されるが、新型コロナ感染症への対応に追われたことも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時点でその方針は定まっていない。</a:t>
            </a:r>
          </a:p>
        </p:txBody>
      </p:sp>
      <p:grpSp>
        <p:nvGrpSpPr>
          <p:cNvPr id="6" name="Group 5">
            <a:extLst>
              <a:ext uri="{FF2B5EF4-FFF2-40B4-BE49-F238E27FC236}">
                <a16:creationId xmlns:a16="http://schemas.microsoft.com/office/drawing/2014/main" id="{EDE588F1-6868-4527-940C-171CA822C2FE}"/>
              </a:ext>
            </a:extLst>
          </p:cNvPr>
          <p:cNvGrpSpPr/>
          <p:nvPr/>
        </p:nvGrpSpPr>
        <p:grpSpPr>
          <a:xfrm>
            <a:off x="1640632" y="2132856"/>
            <a:ext cx="6624736" cy="3704264"/>
            <a:chOff x="1424608" y="1916832"/>
            <a:chExt cx="6624736" cy="3704264"/>
          </a:xfrm>
        </p:grpSpPr>
        <p:sp>
          <p:nvSpPr>
            <p:cNvPr id="14" name="テキスト ボックス 13"/>
            <p:cNvSpPr txBox="1"/>
            <p:nvPr/>
          </p:nvSpPr>
          <p:spPr>
            <a:xfrm>
              <a:off x="1676636" y="4221088"/>
              <a:ext cx="6120680" cy="1400008"/>
            </a:xfrm>
            <a:prstGeom prst="roundRect">
              <a:avLst>
                <a:gd name="adj" fmla="val 2222"/>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txBody>
            <a:bodyPr wrap="square" lIns="180000" rIns="180000" rtlCol="0" anchor="t" anchorCtr="0">
              <a:spAutoFit/>
            </a:bodyPr>
            <a:lstStyle/>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S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基盤となるベーシックヘルスケア部分を一部民間事業者に任せる動きをボルソナロ大統領は進めていたが、公的医療機関の有償化を懸念した国民から大きな反対を受け、自ら撤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財政的な制約を考えると、民間企業を巻き込む形での拡大は避けられないとしつつも現在はまだ今後の方針が定まっ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 name="グループ化 7"/>
            <p:cNvGrpSpPr/>
            <p:nvPr/>
          </p:nvGrpSpPr>
          <p:grpSpPr>
            <a:xfrm>
              <a:off x="1424608" y="1916832"/>
              <a:ext cx="6624736" cy="288032"/>
              <a:chOff x="4803500" y="2113806"/>
              <a:chExt cx="5626916" cy="288032"/>
            </a:xfrm>
          </p:grpSpPr>
          <p:cxnSp>
            <p:nvCxnSpPr>
              <p:cNvPr id="16" name="直線コネクタ 1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2011</a:t>
                </a: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2014</a:t>
                </a:r>
                <a:r>
                  <a:rPr lang="ja-JP" altLang="en-US" sz="1400" dirty="0">
                    <a:solidFill>
                      <a:srgbClr val="000000"/>
                    </a:solidFill>
                    <a:latin typeface="Arial Black" pitchFamily="34" charset="0"/>
                    <a:ea typeface="HGP創英角ｺﾞｼｯｸUB" pitchFamily="50" charset="-128"/>
                  </a:rPr>
                  <a:t>年の政府による公共事業プログラム</a:t>
                </a:r>
                <a:r>
                  <a:rPr lang="zh-TW" altLang="en-US" sz="1400" dirty="0">
                    <a:solidFill>
                      <a:srgbClr val="000000"/>
                    </a:solidFill>
                    <a:latin typeface="Arial Black" pitchFamily="34" charset="0"/>
                    <a:ea typeface="HGP創英角ｺﾞｼｯｸUB" pitchFamily="50" charset="-128"/>
                  </a:rPr>
                  <a:t>「</a:t>
                </a:r>
                <a:r>
                  <a:rPr lang="en-US" altLang="zh-TW" sz="1400" dirty="0">
                    <a:solidFill>
                      <a:srgbClr val="000000"/>
                    </a:solidFill>
                    <a:latin typeface="Arial Black" pitchFamily="34" charset="0"/>
                    <a:ea typeface="HGP創英角ｺﾞｼｯｸUB" pitchFamily="50" charset="-128"/>
                  </a:rPr>
                  <a:t>PAC2</a:t>
                </a:r>
                <a:r>
                  <a:rPr lang="zh-TW" altLang="en-US" sz="1400" dirty="0">
                    <a:solidFill>
                      <a:srgbClr val="000000"/>
                    </a:solidFill>
                    <a:latin typeface="Arial Black" pitchFamily="34" charset="0"/>
                    <a:ea typeface="HGP創英角ｺﾞｼｯｸUB" pitchFamily="50" charset="-128"/>
                  </a:rPr>
                  <a:t>（第</a:t>
                </a:r>
                <a:r>
                  <a:rPr lang="en-US" altLang="zh-TW" sz="1400" dirty="0">
                    <a:solidFill>
                      <a:srgbClr val="000000"/>
                    </a:solidFill>
                    <a:latin typeface="Arial Black" pitchFamily="34" charset="0"/>
                    <a:ea typeface="HGP創英角ｺﾞｼｯｸUB" pitchFamily="50" charset="-128"/>
                  </a:rPr>
                  <a:t>2</a:t>
                </a:r>
                <a:r>
                  <a:rPr lang="zh-TW" altLang="en-US" sz="1400" dirty="0">
                    <a:solidFill>
                      <a:srgbClr val="000000"/>
                    </a:solidFill>
                    <a:latin typeface="Arial Black" pitchFamily="34" charset="0"/>
                    <a:ea typeface="HGP創英角ｺﾞｼｯｸUB" pitchFamily="50" charset="-128"/>
                  </a:rPr>
                  <a:t>次成長加速化計画）」</a:t>
                </a:r>
                <a:endParaRPr lang="ja-JP" altLang="en-US" sz="1400" dirty="0">
                  <a:solidFill>
                    <a:srgbClr val="000000"/>
                  </a:solidFill>
                  <a:latin typeface="Arial Black" pitchFamily="34" charset="0"/>
                  <a:ea typeface="HGP創英角ｺﾞｼｯｸUB" pitchFamily="50" charset="-128"/>
                </a:endParaRPr>
              </a:p>
            </p:txBody>
          </p:sp>
        </p:grpSp>
        <p:grpSp>
          <p:nvGrpSpPr>
            <p:cNvPr id="18" name="グループ化 7"/>
            <p:cNvGrpSpPr/>
            <p:nvPr/>
          </p:nvGrpSpPr>
          <p:grpSpPr>
            <a:xfrm>
              <a:off x="1424608" y="3789040"/>
              <a:ext cx="6624736"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プライマリーケアユニットの質を高める官民プロジェクトのとん挫</a:t>
                </a:r>
              </a:p>
            </p:txBody>
          </p:sp>
        </p:grpSp>
        <p:sp>
          <p:nvSpPr>
            <p:cNvPr id="21" name="テキスト ボックス 20"/>
            <p:cNvSpPr txBox="1"/>
            <p:nvPr/>
          </p:nvSpPr>
          <p:spPr>
            <a:xfrm>
              <a:off x="1676636" y="2348880"/>
              <a:ext cx="6120680" cy="1080120"/>
            </a:xfrm>
            <a:prstGeom prst="roundRect">
              <a:avLst>
                <a:gd name="adj" fmla="val 6141"/>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txBody>
            <a:bodyPr wrap="square" lIns="180000" rIns="180000" rtlCol="0" anchor="t" anchorCtr="0">
              <a:noAutofit/>
            </a:bodyPr>
            <a:lstStyle/>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58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レアルを投入すると発表した。</a:t>
              </a:r>
            </a:p>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分野には、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レアルが配分され、ブラジル全土に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ヵ所の診療所や基本保健所を建設する計画がある。</a:t>
              </a:r>
            </a:p>
          </p:txBody>
        </p:sp>
      </p:grpSp>
    </p:spTree>
    <p:extLst>
      <p:ext uri="{BB962C8B-B14F-4D97-AF65-F5344CB8AC3E}">
        <p14:creationId xmlns:p14="http://schemas.microsoft.com/office/powerpoint/2010/main" val="13594890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政策動向</a:t>
            </a:r>
          </a:p>
        </p:txBody>
      </p:sp>
      <p:sp>
        <p:nvSpPr>
          <p:cNvPr id="2" name="テキスト プレースホルダー 1"/>
          <p:cNvSpPr>
            <a:spLocks noGrp="1"/>
          </p:cNvSpPr>
          <p:nvPr>
            <p:ph type="body" sz="quarter" idx="15"/>
          </p:nvPr>
        </p:nvSpPr>
        <p:spPr/>
        <p:txBody>
          <a:bodyPr/>
          <a:lstStyle/>
          <a:p>
            <a:r>
              <a:rPr lang="ja-JP" altLang="en-US" dirty="0"/>
              <a:t>健康長寿に関する主な取り組み</a:t>
            </a:r>
          </a:p>
        </p:txBody>
      </p:sp>
      <p:sp>
        <p:nvSpPr>
          <p:cNvPr id="11" name="テキスト ボックス 1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では高齢化対策の一環として法整備や様々な取り組みが行われている。</a:t>
            </a:r>
          </a:p>
        </p:txBody>
      </p:sp>
      <p:grpSp>
        <p:nvGrpSpPr>
          <p:cNvPr id="15" name="グループ化 7"/>
          <p:cNvGrpSpPr/>
          <p:nvPr/>
        </p:nvGrpSpPr>
        <p:grpSpPr>
          <a:xfrm>
            <a:off x="200025" y="1916832"/>
            <a:ext cx="2880000" cy="288032"/>
            <a:chOff x="4803500" y="2113806"/>
            <a:chExt cx="5626916" cy="288032"/>
          </a:xfrm>
        </p:grpSpPr>
        <p:cxnSp>
          <p:nvCxnSpPr>
            <p:cNvPr id="16" name="直線コネクタ 1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肥満に対する取り組み</a:t>
              </a:r>
            </a:p>
          </p:txBody>
        </p:sp>
      </p:grpSp>
      <p:sp>
        <p:nvSpPr>
          <p:cNvPr id="21" name="テキスト ボックス 20"/>
          <p:cNvSpPr txBox="1"/>
          <p:nvPr/>
        </p:nvSpPr>
        <p:spPr>
          <a:xfrm>
            <a:off x="200025" y="2348880"/>
            <a:ext cx="2880000" cy="3456384"/>
          </a:xfrm>
          <a:prstGeom prst="roundRect">
            <a:avLst>
              <a:gd name="adj" fmla="val 2750"/>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txBody>
          <a:bodyPr wrap="square" lIns="180000" rIns="180000" rtlCol="0" anchor="t" anchorCtr="0">
            <a:noAutofit/>
          </a:bodyPr>
          <a:lstStyle/>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肥満の管理と防止のための部門横断的戦略（</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Intersectoral</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Strategy for Control and Prevention of Obes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策定し、学校における食育などを展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人のための食事ガイド」を策定し、学校や、定期家庭訪問の拠点とな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の保健クリニックに配布されて、知識普及に活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3513000" y="1916832"/>
            <a:ext cx="2880000" cy="288032"/>
            <a:chOff x="4803500" y="2113806"/>
            <a:chExt cx="5626916" cy="288032"/>
          </a:xfrm>
        </p:grpSpPr>
        <p:cxnSp>
          <p:nvCxnSpPr>
            <p:cNvPr id="27" name="直線コネクタ 2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300" dirty="0">
                  <a:solidFill>
                    <a:srgbClr val="000000"/>
                  </a:solidFill>
                  <a:latin typeface="Arial Black" pitchFamily="34" charset="0"/>
                  <a:ea typeface="HGP創英角ｺﾞｼｯｸUB" pitchFamily="50" charset="-128"/>
                </a:rPr>
                <a:t>高齢者へのトレーニングジム利用の推進</a:t>
              </a:r>
            </a:p>
          </p:txBody>
        </p:sp>
      </p:grpSp>
      <p:sp>
        <p:nvSpPr>
          <p:cNvPr id="29" name="テキスト ボックス 28"/>
          <p:cNvSpPr txBox="1"/>
          <p:nvPr/>
        </p:nvSpPr>
        <p:spPr>
          <a:xfrm>
            <a:off x="3513000" y="2348880"/>
            <a:ext cx="2880000" cy="3456384"/>
          </a:xfrm>
          <a:prstGeom prst="roundRect">
            <a:avLst>
              <a:gd name="adj" fmla="val 2750"/>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txBody>
          <a:bodyPr wrap="square" lIns="180000" rIns="180000" rtlCol="0" anchor="t" anchorCtr="0">
            <a:noAutofit/>
          </a:bodyPr>
          <a:lstStyle/>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連邦保健省と各自治体が連携して「高齢者のトレーニングジム」プログラムを展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全国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トレーニング施設がある</a:t>
            </a:r>
          </a:p>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レーニング施設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トレーナーによる指導がある</a:t>
            </a:r>
          </a:p>
        </p:txBody>
      </p:sp>
      <p:grpSp>
        <p:nvGrpSpPr>
          <p:cNvPr id="30" name="グループ化 7"/>
          <p:cNvGrpSpPr/>
          <p:nvPr/>
        </p:nvGrpSpPr>
        <p:grpSpPr>
          <a:xfrm>
            <a:off x="6825208" y="1916832"/>
            <a:ext cx="2880000" cy="288032"/>
            <a:chOff x="4803500" y="2113806"/>
            <a:chExt cx="5626916" cy="288032"/>
          </a:xfrm>
        </p:grpSpPr>
        <p:cxnSp>
          <p:nvCxnSpPr>
            <p:cNvPr id="31" name="直線コネクタ 30"/>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予防接種</a:t>
              </a:r>
            </a:p>
          </p:txBody>
        </p:sp>
      </p:grpSp>
      <p:sp>
        <p:nvSpPr>
          <p:cNvPr id="33" name="テキスト ボックス 32"/>
          <p:cNvSpPr txBox="1"/>
          <p:nvPr/>
        </p:nvSpPr>
        <p:spPr>
          <a:xfrm>
            <a:off x="6825208" y="2348880"/>
            <a:ext cx="2880000" cy="3456384"/>
          </a:xfrm>
          <a:prstGeom prst="roundRect">
            <a:avLst>
              <a:gd name="adj" fmla="val 2750"/>
            </a:avLst>
          </a:prstGeom>
          <a:solidFill>
            <a:srgbClr val="DDE6F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txBody>
          <a:bodyPr wrap="square" lIns="180000" rIns="180000" rtlCol="0" anchor="t" anchorCtr="0">
            <a:noAutofit/>
          </a:bodyPr>
          <a:lstStyle/>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政府は予防ケアのキャンペーンに注力しており、それが同国の世界的な成人の予防接種率の高さに繋がっている</a:t>
            </a:r>
          </a:p>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フルエンザ予防接種につ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以上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予防接種を受けており、世界で最も高い接種率といわれている</a:t>
            </a:r>
          </a:p>
          <a:p>
            <a:pPr marL="180975" lvl="1" indent="-180975" algn="just" fontAlgn="ctr">
              <a:lnSpc>
                <a:spcPct val="113000"/>
              </a:lnSpc>
              <a:spcBef>
                <a:spcPts val="300"/>
              </a:spcBef>
              <a:spcAft>
                <a:spcPts val="300"/>
              </a:spcAft>
              <a:buClr>
                <a:srgbClr val="5F8AC3"/>
              </a:buClr>
              <a:buSzPct val="80000"/>
              <a:buFont typeface="Wingdings" panose="05000000000000000000" pitchFamily="2" charset="2"/>
              <a:buChar char="l"/>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の接種シーズンには多くの高齢者が予防接種キャンペーンに参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5862766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政策動向</a:t>
            </a:r>
          </a:p>
        </p:txBody>
      </p:sp>
      <p:sp>
        <p:nvSpPr>
          <p:cNvPr id="2" name="テキスト プレースホルダー 1"/>
          <p:cNvSpPr>
            <a:spLocks noGrp="1"/>
          </p:cNvSpPr>
          <p:nvPr>
            <p:ph type="body" sz="quarter" idx="15"/>
          </p:nvPr>
        </p:nvSpPr>
        <p:spPr/>
        <p:txBody>
          <a:bodyPr/>
          <a:lstStyle/>
          <a:p>
            <a:r>
              <a:rPr lang="ja-JP" altLang="en-US" dirty="0"/>
              <a:t>医療産業振興政策の動向</a:t>
            </a:r>
          </a:p>
        </p:txBody>
      </p:sp>
      <p:sp>
        <p:nvSpPr>
          <p:cNvPr id="11" name="テキスト ボックス 1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ブラジル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2" name="テキスト ボックス 11"/>
          <p:cNvSpPr txBox="1"/>
          <p:nvPr/>
        </p:nvSpPr>
        <p:spPr>
          <a:xfrm>
            <a:off x="200472" y="1124744"/>
            <a:ext cx="9505056" cy="21666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分野の産業集積地に対し、州政府などが各種支援を行っている。</a:t>
            </a:r>
          </a:p>
        </p:txBody>
      </p:sp>
      <p:graphicFrame>
        <p:nvGraphicFramePr>
          <p:cNvPr id="8" name="表 7"/>
          <p:cNvGraphicFramePr>
            <a:graphicFrameLocks noGrp="1"/>
          </p:cNvGraphicFramePr>
          <p:nvPr>
            <p:extLst>
              <p:ext uri="{D42A27DB-BD31-4B8C-83A1-F6EECF244321}">
                <p14:modId xmlns:p14="http://schemas.microsoft.com/office/powerpoint/2010/main" val="1919491133"/>
              </p:ext>
            </p:extLst>
          </p:nvPr>
        </p:nvGraphicFramePr>
        <p:xfrm>
          <a:off x="560512" y="1844824"/>
          <a:ext cx="8784976" cy="4032448"/>
        </p:xfrm>
        <a:graphic>
          <a:graphicData uri="http://schemas.openxmlformats.org/drawingml/2006/table">
            <a:tbl>
              <a:tblPr firstRow="1" bandRow="1">
                <a:tableStyleId>{2D5ABB26-0587-4C30-8999-92F81FD0307C}</a:tableStyleId>
              </a:tblPr>
              <a:tblGrid>
                <a:gridCol w="2952328">
                  <a:extLst>
                    <a:ext uri="{9D8B030D-6E8A-4147-A177-3AD203B41FA5}">
                      <a16:colId xmlns:a16="http://schemas.microsoft.com/office/drawing/2014/main" val="20000"/>
                    </a:ext>
                  </a:extLst>
                </a:gridCol>
                <a:gridCol w="5832648">
                  <a:extLst>
                    <a:ext uri="{9D8B030D-6E8A-4147-A177-3AD203B41FA5}">
                      <a16:colId xmlns:a16="http://schemas.microsoft.com/office/drawing/2014/main" val="20001"/>
                    </a:ext>
                  </a:extLst>
                </a:gridCol>
              </a:tblGrid>
              <a:tr h="1008112">
                <a:tc>
                  <a:txBody>
                    <a:bodyPr/>
                    <a:lstStyle/>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リベイロン・プレット</a:t>
                      </a:r>
                    </a:p>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医療・歯科機器産業集積地</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92088" marR="0" lvl="1" indent="-192088"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サンパウロ州政府による</a:t>
                      </a:r>
                      <a:r>
                        <a:rPr kumimoji="1" lang="ja-JP" altLang="en-US" sz="1200" kern="1200" dirty="0">
                          <a:solidFill>
                            <a:srgbClr val="000000"/>
                          </a:solidFill>
                          <a:latin typeface="Arial Black" pitchFamily="34" charset="0"/>
                          <a:ea typeface="HGP創英角ｺﾞｼｯｸUB" pitchFamily="50" charset="-128"/>
                          <a:cs typeface="+mn-cs"/>
                        </a:rPr>
                        <a:t>産業密集地振興プログラム</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あり、企業や研究機関の</a:t>
                      </a:r>
                      <a:br>
                        <a:rPr kumimoji="1" lang="en-US" altLang="ja-JP"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kern="1200" dirty="0">
                          <a:solidFill>
                            <a:srgbClr val="000000"/>
                          </a:solidFill>
                          <a:latin typeface="Arial Black" pitchFamily="34" charset="0"/>
                          <a:ea typeface="HGP創英角ｺﾞｼｯｸUB" pitchFamily="50" charset="-128"/>
                          <a:cs typeface="+mn-cs"/>
                        </a:rPr>
                        <a:t>ネットワーク構築を促進している。</a:t>
                      </a:r>
                    </a:p>
                    <a:p>
                      <a:pPr marL="192088" marR="0" lvl="1" indent="-192088"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Black" pitchFamily="34" charset="0"/>
                          <a:ea typeface="HGP創英角ｺﾞｼｯｸUB" pitchFamily="50" charset="-128"/>
                          <a:cs typeface="+mn-cs"/>
                        </a:rPr>
                        <a:t>近郊にサンパウロ大学の研究機関がある</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点が企業にとって魅力である。また、サンパウロ大学の教授により設立された企業もある。</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008112">
                <a:tc>
                  <a:txBody>
                    <a:bodyPr/>
                    <a:lstStyle/>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ベロ・オリゾンチ大都市圏</a:t>
                      </a:r>
                    </a:p>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バイオテック産業密集地</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92088" marR="0" lvl="1" indent="-192088"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ミナスジェライス州政府による</a:t>
                      </a:r>
                      <a:r>
                        <a:rPr kumimoji="1" lang="ja-JP" altLang="en-US" sz="1200" kern="1200" dirty="0">
                          <a:solidFill>
                            <a:srgbClr val="000000"/>
                          </a:solidFill>
                          <a:latin typeface="Arial Black" pitchFamily="34" charset="0"/>
                          <a:ea typeface="HGP創英角ｺﾞｼｯｸUB" pitchFamily="50" charset="-128"/>
                          <a:cs typeface="+mn-cs"/>
                        </a:rPr>
                        <a:t>産業密集地競争力支援プログラム</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あり、</a:t>
                      </a:r>
                      <a:r>
                        <a:rPr kumimoji="1" lang="ja-JP" altLang="en-US" sz="1200" kern="1200" dirty="0">
                          <a:solidFill>
                            <a:srgbClr val="000000"/>
                          </a:solidFill>
                          <a:latin typeface="Arial Black" pitchFamily="34" charset="0"/>
                          <a:ea typeface="HGP創英角ｺﾞｼｯｸUB" pitchFamily="50" charset="-128"/>
                          <a:cs typeface="+mn-cs"/>
                        </a:rPr>
                        <a:t>輸出や物流網の整備、イノベーションの創出など、様々な支援を行っている。</a:t>
                      </a:r>
                    </a:p>
                    <a:p>
                      <a:pPr marL="182563" marR="0" lvl="1" indent="-182563"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スイスの</a:t>
                      </a:r>
                      <a:r>
                        <a:rPr kumimoji="1" lang="en-US" altLang="ja-JP" sz="1200" kern="12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DiaMed</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など、</a:t>
                      </a:r>
                      <a:r>
                        <a:rPr kumimoji="1" lang="ja-JP" altLang="en-US" sz="1200" kern="1200" dirty="0">
                          <a:solidFill>
                            <a:srgbClr val="000000"/>
                          </a:solidFill>
                          <a:latin typeface="Arial Black" pitchFamily="34" charset="0"/>
                          <a:ea typeface="HGP創英角ｺﾞｼｯｸUB" pitchFamily="50" charset="-128"/>
                          <a:cs typeface="+mn-cs"/>
                        </a:rPr>
                        <a:t>外国企業の進出</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もみられる。</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08112">
                <a:tc>
                  <a:txBody>
                    <a:bodyPr/>
                    <a:lstStyle/>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クリチバ</a:t>
                      </a:r>
                    </a:p>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医療・歯科病院用機材産業密集地</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92088" marR="0" lvl="1" indent="-192088"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パラナ技術連邦大学などの大学やインキュベーター、各種団体、病院などの協力を得て、</a:t>
                      </a:r>
                      <a:r>
                        <a:rPr kumimoji="1" lang="ja-JP" altLang="en-US" sz="1200" kern="1200" dirty="0">
                          <a:solidFill>
                            <a:srgbClr val="000000"/>
                          </a:solidFill>
                          <a:latin typeface="Arial Black" pitchFamily="34" charset="0"/>
                          <a:ea typeface="HGP創英角ｺﾞｼｯｸUB" pitchFamily="50" charset="-128"/>
                          <a:cs typeface="+mn-cs"/>
                        </a:rPr>
                        <a:t>技術水準の高い製品が開発</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されている。これらの製品は</a:t>
                      </a:r>
                      <a:r>
                        <a:rPr kumimoji="1" lang="ja-JP" altLang="en-US" sz="1200" kern="1200" dirty="0">
                          <a:solidFill>
                            <a:srgbClr val="000000"/>
                          </a:solidFill>
                          <a:latin typeface="Arial Black" pitchFamily="34" charset="0"/>
                          <a:ea typeface="HGP創英角ｺﾞｼｯｸUB" pitchFamily="50" charset="-128"/>
                          <a:cs typeface="+mn-cs"/>
                        </a:rPr>
                        <a:t>輸出も行われている。</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008112">
                <a:tc>
                  <a:txBody>
                    <a:bodyPr/>
                    <a:lstStyle/>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カトリック大学</a:t>
                      </a:r>
                    </a:p>
                    <a:p>
                      <a:pPr algn="ctr" fontAlgn="ctr"/>
                      <a:r>
                        <a:rPr kumimoji="1" lang="ja-JP" altLang="en-US" sz="1400" b="0" kern="1200" baseline="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科学技術パーク</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4625" marR="0" lvl="1" indent="-174625" algn="just" defTabSz="914400" rtl="0" eaLnBrk="1" fontAlgn="ctr" latinLnBrk="0" hangingPunct="1">
                        <a:lnSpc>
                          <a:spcPct val="113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分野に特化しているわけではないが、</a:t>
                      </a:r>
                      <a:r>
                        <a:rPr kumimoji="1" lang="ja-JP" altLang="en-US" sz="1200" kern="1200" dirty="0">
                          <a:solidFill>
                            <a:srgbClr val="000000"/>
                          </a:solidFill>
                          <a:latin typeface="Arial Black" pitchFamily="34" charset="0"/>
                          <a:ea typeface="HGP創英角ｺﾞｼｯｸUB" pitchFamily="50" charset="-128"/>
                          <a:cs typeface="+mn-cs"/>
                        </a:rPr>
                        <a:t>教育機関・研究機関・企業が多く集積</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している。カトリック大学の</a:t>
                      </a:r>
                      <a:r>
                        <a:rPr kumimoji="1" lang="ja-JP" altLang="en-US" sz="1200" kern="1200" dirty="0">
                          <a:solidFill>
                            <a:srgbClr val="000000"/>
                          </a:solidFill>
                          <a:latin typeface="Arial Black" pitchFamily="34" charset="0"/>
                          <a:ea typeface="HGP創英角ｺﾞｼｯｸUB" pitchFamily="50" charset="-128"/>
                          <a:cs typeface="+mn-cs"/>
                        </a:rPr>
                        <a:t>バイオメディカル研究所やエレクトロニクス研究所等との連携</a:t>
                      </a:r>
                      <a:r>
                        <a:rPr kumimoji="1" lang="ja-JP" altLang="en-US" sz="12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見込まれる。</a:t>
                      </a:r>
                    </a:p>
                  </a:txBody>
                  <a:tcPr marL="18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7285106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日本との関わり</a:t>
            </a:r>
            <a:endParaRPr kumimoji="1" lang="ja-JP" altLang="en-US" dirty="0"/>
          </a:p>
        </p:txBody>
      </p:sp>
    </p:spTree>
    <p:extLst>
      <p:ext uri="{BB962C8B-B14F-4D97-AF65-F5344CB8AC3E}">
        <p14:creationId xmlns:p14="http://schemas.microsoft.com/office/powerpoint/2010/main" val="193286080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p>
        </p:txBody>
      </p:sp>
      <p:sp>
        <p:nvSpPr>
          <p:cNvPr id="11" name="テキスト ボックス 10"/>
          <p:cNvSpPr txBox="1"/>
          <p:nvPr/>
        </p:nvSpPr>
        <p:spPr>
          <a:xfrm>
            <a:off x="200472" y="1124744"/>
            <a:ext cx="9505056" cy="710964"/>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安倍総理大臣は公式実務訪問賓客として訪日中のミシェル・テメル大統領との間で日・ブラジル首脳会談を行い、「日本国及びブラジル連邦共和国の間のインフラ分野における投資及び経済協力の促進のための協力覚書」の署名式・共同記者発表が実施された。</a:t>
            </a:r>
          </a:p>
        </p:txBody>
      </p:sp>
      <p:grpSp>
        <p:nvGrpSpPr>
          <p:cNvPr id="15" name="グループ化 14"/>
          <p:cNvGrpSpPr/>
          <p:nvPr/>
        </p:nvGrpSpPr>
        <p:grpSpPr>
          <a:xfrm>
            <a:off x="1640632" y="2355034"/>
            <a:ext cx="7488000" cy="330721"/>
            <a:chOff x="1712640" y="2132856"/>
            <a:chExt cx="7200800" cy="360040"/>
          </a:xfrm>
        </p:grpSpPr>
        <p:sp>
          <p:nvSpPr>
            <p:cNvPr id="17" name="片側の 2 つの角を丸めた四角形 16"/>
            <p:cNvSpPr/>
            <p:nvPr/>
          </p:nvSpPr>
          <p:spPr>
            <a:xfrm>
              <a:off x="1712640" y="2132856"/>
              <a:ext cx="3600400" cy="360040"/>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ブラジル</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0" name="片側の 2 つの角を丸めた四角形 19"/>
            <p:cNvSpPr/>
            <p:nvPr/>
          </p:nvSpPr>
          <p:spPr>
            <a:xfrm>
              <a:off x="5313040" y="2132856"/>
              <a:ext cx="3600400" cy="360040"/>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graphicFrame>
        <p:nvGraphicFramePr>
          <p:cNvPr id="22" name="表 21"/>
          <p:cNvGraphicFramePr>
            <a:graphicFrameLocks noGrp="1"/>
          </p:cNvGraphicFramePr>
          <p:nvPr>
            <p:extLst>
              <p:ext uri="{D42A27DB-BD31-4B8C-83A1-F6EECF244321}">
                <p14:modId xmlns:p14="http://schemas.microsoft.com/office/powerpoint/2010/main" val="2043256815"/>
              </p:ext>
            </p:extLst>
          </p:nvPr>
        </p:nvGraphicFramePr>
        <p:xfrm>
          <a:off x="776536" y="2678564"/>
          <a:ext cx="8352096" cy="3846780"/>
        </p:xfrm>
        <a:graphic>
          <a:graphicData uri="http://schemas.openxmlformats.org/drawingml/2006/table">
            <a:tbl>
              <a:tblPr firstRow="1" bandRow="1">
                <a:tableStyleId>{5C22544A-7EE6-4342-B048-85BDC9FD1C3A}</a:tableStyleId>
              </a:tblPr>
              <a:tblGrid>
                <a:gridCol w="864096">
                  <a:extLst>
                    <a:ext uri="{9D8B030D-6E8A-4147-A177-3AD203B41FA5}">
                      <a16:colId xmlns:a16="http://schemas.microsoft.com/office/drawing/2014/main" val="20000"/>
                    </a:ext>
                  </a:extLst>
                </a:gridCol>
                <a:gridCol w="3744000">
                  <a:extLst>
                    <a:ext uri="{9D8B030D-6E8A-4147-A177-3AD203B41FA5}">
                      <a16:colId xmlns:a16="http://schemas.microsoft.com/office/drawing/2014/main" val="20001"/>
                    </a:ext>
                  </a:extLst>
                </a:gridCol>
                <a:gridCol w="3744000">
                  <a:extLst>
                    <a:ext uri="{9D8B030D-6E8A-4147-A177-3AD203B41FA5}">
                      <a16:colId xmlns:a16="http://schemas.microsoft.com/office/drawing/2014/main" val="20002"/>
                    </a:ext>
                  </a:extLst>
                </a:gridCol>
              </a:tblGrid>
              <a:tr h="180976">
                <a:tc>
                  <a:txBody>
                    <a:bodyPr/>
                    <a:lstStyle/>
                    <a:p>
                      <a:pPr algn="ctr" fontAlgn="ctr" hangingPunct="0"/>
                      <a:r>
                        <a:rPr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3</a:t>
                      </a:r>
                      <a:endParaRPr lang="ja-JP" altLang="en-US"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fontAlgn="ct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モリン外相、フルラン開発商工相、ロドリゲス農務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ctr" defTabSz="914400" rtl="0" eaLnBrk="1" fontAlgn="ctr" latinLnBrk="0" hangingPunct="1"/>
                      <a:r>
                        <a:rPr kumimoji="1" lang="en-US" altLang="zh-TW"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180976">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04</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モリン外相、ロドリゲス農務相、パロッシ財務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小泉総理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328715">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05</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ルーラ大統領、アモリン外相、パロッシ財務相、ロドリゲス農務相、フルラン開発商工相、ルセーフ鉱山エネルギー相、ギア観光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ctr" defTabSz="914400" rtl="0" eaLnBrk="1" fontAlgn="ctr" latinLnBrk="0" hangingPunct="1"/>
                      <a:r>
                        <a:rPr kumimoji="1" lang="en-US" altLang="zh-TW"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180976">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06</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algn="l" fontAlgn="ctr"/>
                      <a:r>
                        <a:rPr kumimoji="1" lang="ja-JP" altLang="en-US" sz="1050" b="0" kern="1200" spc="-2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モリ</a:t>
                      </a:r>
                      <a:r>
                        <a:rPr kumimoji="1" lang="ja-JP" altLang="en-US" sz="1050" b="0" kern="1200" spc="-7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ン</a:t>
                      </a:r>
                      <a:r>
                        <a:rPr kumimoji="1" lang="ja-JP" altLang="en-US" sz="1050" b="0" kern="1200" spc="-2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外相</a:t>
                      </a:r>
                      <a:r>
                        <a:rPr kumimoji="1" lang="ja-JP" altLang="en-US" sz="1050" b="0" kern="1200" spc="-7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a:t>
                      </a:r>
                      <a:r>
                        <a:rPr kumimoji="1" lang="ja-JP" altLang="en-US" sz="1050" b="0" kern="1200" spc="-2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ルラン開発商工相</a:t>
                      </a:r>
                      <a:r>
                        <a:rPr kumimoji="1" lang="ja-JP" altLang="en-US" sz="1050" b="0" kern="1200" spc="-7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50" b="0" kern="1200" spc="-2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コスタ通信相</a:t>
                      </a:r>
                      <a:r>
                        <a:rPr kumimoji="1" lang="ja-JP" altLang="en-US" sz="1050" b="0" kern="1200" spc="-7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50" b="0" kern="1200" spc="-2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ダッジ教育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川農林水産大臣（</a:t>
                      </a:r>
                      <a:r>
                        <a:rPr kumimoji="1" lang="en-US" altLang="zh-TW"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竹中総務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180976">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07</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ピント農相、スプリシー観光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algn="l"/>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松岡農林水産大臣、菅総務大臣、麻生外務大臣</a:t>
                      </a:r>
                      <a:endPar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180976">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08</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ルーラ大統領、アモリン外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皇太子殿下、若林農林水産大臣、甘利経済産業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180976">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09</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レゼンデ科学技術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ctr" defTabSz="914400" rtl="0" eaLnBrk="1" fontAlgn="ctr" latinLnBrk="0" hangingPunct="1"/>
                      <a:r>
                        <a:rPr kumimoji="1" lang="en-US" altLang="zh-TW"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180976">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0</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ガバス社会保障相、ルピ労働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ctr" defTabSz="914400" rtl="0" eaLnBrk="1" fontAlgn="ctr" latinLnBrk="0" hangingPunct="1"/>
                      <a:r>
                        <a:rPr kumimoji="1" lang="en-US" altLang="zh-TW"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180976">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1</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パトリオッタ外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algn="l"/>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松本外務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328715">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2</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ピメンテル開発商工相（</a:t>
                      </a: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ベゼーラ国家統合相、マンテガ財務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古川国家戦略大臣、玄葉外務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180976">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3</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テイシェイラ環境相、ベルキオール企画予算行政管理相</a:t>
                      </a: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新藤総務大臣、岸田外務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180976">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4</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algn="ctr" fontAlgn="ct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algn="l"/>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高円宮妃殿下、安倍総理大臣</a:t>
                      </a:r>
                    </a:p>
                  </a:txBody>
                  <a:tcPr marL="72000" marR="72000" marT="18000" marB="18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1"/>
                  </a:ext>
                </a:extLst>
              </a:tr>
              <a:tr h="234156">
                <a:tc>
                  <a:txBody>
                    <a:bodyPr/>
                    <a:lstStyle/>
                    <a:p>
                      <a:pPr algn="ctr" fontAlgn="ctr" hangingPunct="0"/>
                      <a:r>
                        <a:rPr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ヴィエイラ外相、オッキ国家統合相、アブレウ農牧食料供給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ctr" defTabSz="914400" rtl="0" eaLnBrk="1" fontAlgn="ctr" latinLnBrk="0" hangingPunct="1"/>
                      <a:r>
                        <a:rPr kumimoji="1" lang="en-US" altLang="zh-TW"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2"/>
                  </a:ext>
                </a:extLst>
              </a:tr>
              <a:tr h="381895">
                <a:tc>
                  <a:txBody>
                    <a:bodyPr/>
                    <a:lstStyle/>
                    <a:p>
                      <a:pPr algn="ctr" fontAlgn="ctr" hangingPunct="0"/>
                      <a:r>
                        <a:rPr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シェル・テメル大統領、キンテラ運輸港湾民間航空相、マッジ農務相、ベゼーラ鉱山エネルギー相、ピシアーニ・スポーツ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3"/>
                  </a:ext>
                </a:extLst>
              </a:tr>
              <a:tr h="234156">
                <a:tc>
                  <a:txBody>
                    <a:bodyPr/>
                    <a:lstStyle/>
                    <a:p>
                      <a:pPr algn="ctr" fontAlgn="ctr" hangingPunct="0"/>
                      <a:r>
                        <a:rPr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endParaRPr lang="ja-JP" altLang="en-US"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チェゴエン大統領府安全保障室長官</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lang="ja-JP" altLang="en-US" sz="1050" b="0" dirty="0">
                          <a:effectLst/>
                        </a:rPr>
                        <a:t>麻生副総理兼財務大臣</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4"/>
                  </a:ext>
                </a:extLst>
              </a:tr>
              <a:tr h="234156">
                <a:tc>
                  <a:txBody>
                    <a:bodyPr/>
                    <a:lstStyle/>
                    <a:p>
                      <a:pPr algn="ctr" fontAlgn="ctr" hangingPunct="0"/>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8</a:t>
                      </a:r>
                      <a:endParaRPr lang="ja-JP" altLang="en-US"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1" dirty="0"/>
                        <a:t>オリヴェイラ上院議長、ヌネス外相</a:t>
                      </a:r>
                      <a:endParaRPr kumimoji="1" lang="ja-JP" altLang="en-US" sz="105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BAE4D9"/>
                    </a:solidFill>
                  </a:tcPr>
                </a:tc>
                <a:tc>
                  <a:txBody>
                    <a:bodyPr/>
                    <a:lstStyle/>
                    <a:p>
                      <a:pPr marL="0" algn="l" defTabSz="914400" rtl="0" eaLnBrk="1" fontAlgn="ctr" latinLnBrk="0" hangingPunct="1"/>
                      <a:r>
                        <a:rPr lang="ja-JP" altLang="en-US" sz="1050" b="1" dirty="0"/>
                        <a:t>皇太子殿下、眞子内親王殿下、</a:t>
                      </a:r>
                      <a:r>
                        <a:rPr lang="zh-TW" altLang="en-US" sz="1050" b="1" dirty="0"/>
                        <a:t>河野外務大臣</a:t>
                      </a:r>
                      <a:endParaRPr kumimoji="1" lang="zh-TW" altLang="en-US" sz="105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CCDAEC"/>
                    </a:solidFill>
                  </a:tcPr>
                </a:tc>
                <a:extLst>
                  <a:ext uri="{0D108BD9-81ED-4DB2-BD59-A6C34878D82A}">
                    <a16:rowId xmlns:a16="http://schemas.microsoft.com/office/drawing/2014/main" val="10015"/>
                  </a:ext>
                </a:extLst>
              </a:tr>
            </a:tbl>
          </a:graphicData>
        </a:graphic>
      </p:graphicFrame>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pPr marL="0" lvl="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grpSp>
        <p:nvGrpSpPr>
          <p:cNvPr id="30" name="グループ化 7"/>
          <p:cNvGrpSpPr/>
          <p:nvPr/>
        </p:nvGrpSpPr>
        <p:grpSpPr>
          <a:xfrm>
            <a:off x="776536" y="1990976"/>
            <a:ext cx="8352928" cy="288032"/>
            <a:chOff x="4803500" y="2113806"/>
            <a:chExt cx="5626916" cy="288032"/>
          </a:xfrm>
        </p:grpSpPr>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79336955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日本との関わり</a:t>
            </a:r>
          </a:p>
        </p:txBody>
      </p:sp>
      <p:sp>
        <p:nvSpPr>
          <p:cNvPr id="4" name="テキスト プレースホルダー 3"/>
          <p:cNvSpPr>
            <a:spLocks noGrp="1"/>
          </p:cNvSpPr>
          <p:nvPr>
            <p:ph type="body" sz="quarter" idx="15"/>
          </p:nvPr>
        </p:nvSpPr>
        <p:spPr/>
        <p:txBody>
          <a:bodyPr/>
          <a:lstStyle/>
          <a:p>
            <a:pPr lvl="0"/>
            <a:r>
              <a:rPr lang="ja-JP" altLang="en-US" dirty="0"/>
              <a:t>経済産業省の主な医療国際化関連事業（</a:t>
            </a:r>
            <a:r>
              <a:rPr lang="en-US" altLang="ja-JP" dirty="0"/>
              <a:t>1/2</a:t>
            </a:r>
            <a:r>
              <a:rPr lang="ja-JP" altLang="en-US" dirty="0"/>
              <a:t>）</a:t>
            </a:r>
          </a:p>
        </p:txBody>
      </p:sp>
      <p:sp>
        <p:nvSpPr>
          <p:cNvPr id="10" name="Rectangle 6"/>
          <p:cNvSpPr>
            <a:spLocks noChangeArrowheads="1"/>
          </p:cNvSpPr>
          <p:nvPr/>
        </p:nvSpPr>
        <p:spPr bwMode="auto">
          <a:xfrm>
            <a:off x="200472" y="155679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sp>
        <p:nvSpPr>
          <p:cNvPr id="14" name="テキスト ボックス 1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テーマの医療国際化事業を実施している。なお、官民ミッション等は実施していない。</a:t>
            </a:r>
          </a:p>
        </p:txBody>
      </p:sp>
      <p:graphicFrame>
        <p:nvGraphicFramePr>
          <p:cNvPr id="9" name="表 8"/>
          <p:cNvGraphicFramePr>
            <a:graphicFrameLocks noGrp="1"/>
          </p:cNvGraphicFramePr>
          <p:nvPr>
            <p:extLst>
              <p:ext uri="{D42A27DB-BD31-4B8C-83A1-F6EECF244321}">
                <p14:modId xmlns:p14="http://schemas.microsoft.com/office/powerpoint/2010/main" val="3495178421"/>
              </p:ext>
            </p:extLst>
          </p:nvPr>
        </p:nvGraphicFramePr>
        <p:xfrm>
          <a:off x="200472" y="1901212"/>
          <a:ext cx="9504000" cy="34731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59939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12</a:t>
                      </a:r>
                    </a:p>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心臓健診</a:t>
                      </a:r>
                      <a:br>
                        <a:rPr lang="en-US" altLang="ja-JP" sz="1000" dirty="0"/>
                      </a:br>
                      <a:r>
                        <a:rPr lang="ja-JP" altLang="en-US" sz="1000" dirty="0"/>
                        <a:t>システム提供</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000" kern="1200" dirty="0">
                          <a:solidFill>
                            <a:schemeClr val="dk1"/>
                          </a:solidFill>
                          <a:latin typeface="+mn-lt"/>
                          <a:ea typeface="+mn-ea"/>
                          <a:cs typeface="+mn-cs"/>
                        </a:rPr>
                        <a:t>日本光電工業</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険会社や日系企業への広報活動（営業活動）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における健診サービスの研修（東京医大健診センターにて）</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心電計・血圧脈波計の健診機器や心電図データ送信装置の設置とトレーニング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ブラジルにおける健診サービスの実施・健診サービスの円滑な運用へのバックアップ</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心臓健診で</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を実施したが、実施後に、多数の問い合わせを受け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設置予定だった日本製</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出誘導心電計および血圧脈波検査装置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NVISA</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登録はできなかった。その後、政府間レベルで交渉することとな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険会社で前向きな検討を開始したが、契約までは</a:t>
                      </a:r>
                      <a:b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至らな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関連病院で一般健診を開始したが、</a:t>
                      </a:r>
                      <a:r>
                        <a:rPr kumimoji="1" lang="en-US" altLang="ja-JP"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cor</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では</a:t>
                      </a:r>
                      <a:b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実施できないこととな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3</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4</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大腸がん検診</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システム</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dirty="0">
                          <a:solidFill>
                            <a:schemeClr val="dk1"/>
                          </a:solidFill>
                          <a:latin typeface="+mn-lt"/>
                          <a:ea typeface="+mn-ea"/>
                          <a:cs typeface="+mn-cs"/>
                        </a:rPr>
                        <a:t>東京医科歯科大学</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大腸がん検診に関するトレーニング、および、現地</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における実証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ブラジリア（連邦直轄区）保健局や民間保険会社との関係づくり、大腸がん検診普及に向けた働きかけ</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大腸がん検診の有用性が実証された。また、検診を実施できる医療関係者が増え、早期検診の重要性を理解する医療関係者、行政関係者が増え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センターを公立・民間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ヵ所、</a:t>
                      </a:r>
                      <a:b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合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ヵ所に開設し、継続的に運営される基本的仕組みを構築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大腸がん検診の国家レベルでの普及に向けて、民間保険会社との連携や、国民皆保険の制度化に向け、基礎的な関係構築ができ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ホームページ</a:t>
            </a:r>
          </a:p>
        </p:txBody>
      </p:sp>
    </p:spTree>
    <p:extLst>
      <p:ext uri="{BB962C8B-B14F-4D97-AF65-F5344CB8AC3E}">
        <p14:creationId xmlns:p14="http://schemas.microsoft.com/office/powerpoint/2010/main" val="369625324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日本との関わり</a:t>
            </a:r>
          </a:p>
        </p:txBody>
      </p:sp>
      <p:sp>
        <p:nvSpPr>
          <p:cNvPr id="4" name="テキスト プレースホルダー 3"/>
          <p:cNvSpPr>
            <a:spLocks noGrp="1"/>
          </p:cNvSpPr>
          <p:nvPr>
            <p:ph type="body" sz="quarter" idx="15"/>
          </p:nvPr>
        </p:nvSpPr>
        <p:spPr/>
        <p:txBody>
          <a:bodyPr/>
          <a:lstStyle/>
          <a:p>
            <a:pPr lvl="0"/>
            <a:r>
              <a:rPr lang="ja-JP" altLang="en-US" dirty="0"/>
              <a:t>経済産業省の主な医療国際化関連事業（</a:t>
            </a:r>
            <a:r>
              <a:rPr lang="en-US" altLang="ja-JP" dirty="0"/>
              <a:t>2/2</a:t>
            </a:r>
            <a:r>
              <a:rPr lang="ja-JP" altLang="en-US" dirty="0"/>
              <a:t>）</a:t>
            </a:r>
          </a:p>
        </p:txBody>
      </p:sp>
      <p:sp>
        <p:nvSpPr>
          <p:cNvPr id="10" name="Rectangle 6"/>
          <p:cNvSpPr>
            <a:spLocks noChangeArrowheads="1"/>
          </p:cNvSpPr>
          <p:nvPr/>
        </p:nvSpPr>
        <p:spPr bwMode="auto">
          <a:xfrm>
            <a:off x="200472" y="155679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095725756"/>
              </p:ext>
            </p:extLst>
          </p:nvPr>
        </p:nvGraphicFramePr>
        <p:xfrm>
          <a:off x="200472" y="1901212"/>
          <a:ext cx="9504000" cy="23766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2848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5</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次世代がん検診センター設立</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富士フイルム</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ea"/>
                          <a:ea typeface="+mn-ea"/>
                          <a:cs typeface="+mn-cs"/>
                        </a:rPr>
                        <a:t>サンパウロ大学附属病院（</a:t>
                      </a:r>
                      <a:r>
                        <a:rPr kumimoji="1" lang="en-US" altLang="ja-JP" sz="1000" b="0" i="0" u="none" strike="noStrike" kern="1200" baseline="0" dirty="0">
                          <a:solidFill>
                            <a:schemeClr val="dk1"/>
                          </a:solidFill>
                          <a:latin typeface="+mn-ea"/>
                          <a:ea typeface="+mn-ea"/>
                          <a:cs typeface="+mn-cs"/>
                        </a:rPr>
                        <a:t>HU-USP</a:t>
                      </a:r>
                      <a:r>
                        <a:rPr kumimoji="1" lang="ja-JP" altLang="en-US" sz="1000" b="0" i="0" u="none" strike="noStrike" kern="1200" baseline="0" dirty="0">
                          <a:solidFill>
                            <a:schemeClr val="dk1"/>
                          </a:solidFill>
                          <a:latin typeface="+mn-ea"/>
                          <a:ea typeface="+mn-ea"/>
                          <a:cs typeface="+mn-cs"/>
                        </a:rPr>
                        <a:t>）に、「次世代がん検診センター」を設立し、主として地域住民を対象にがんセンターを実施していくことを目指す。</a:t>
                      </a: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ea"/>
                          <a:ea typeface="+mn-ea"/>
                          <a:cs typeface="+mn-cs"/>
                        </a:rPr>
                        <a:t>日本製の最新システムや医師らによる技術指導により実施される「がん検診センター」として、ブラジルにおけるレファレンスセンターとし、ブラジルでのがん検診の普及促進を図っていく。</a:t>
                      </a: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ea"/>
                          <a:ea typeface="+mn-ea"/>
                          <a:cs typeface="+mn-cs"/>
                        </a:rPr>
                        <a:t>がん診断に必要な機材と検査試薬キットの仕様機会を増やし、日本製品の輸出拡大を図る。</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87313" indent="-87313" algn="just">
                        <a:buClr>
                          <a:srgbClr val="3D6AA7"/>
                        </a:buClr>
                        <a:buFont typeface="Wingdings" panose="05000000000000000000" pitchFamily="2" charset="2"/>
                        <a:buChar char="l"/>
                      </a:pPr>
                      <a:r>
                        <a:rPr kumimoji="1" lang="en-US" altLang="ja-JP" sz="1000" b="0" i="0" u="none" strike="noStrike" kern="1200" baseline="0" dirty="0">
                          <a:solidFill>
                            <a:schemeClr val="dk1"/>
                          </a:solidFill>
                          <a:latin typeface="+mn-lt"/>
                          <a:ea typeface="+mn-ea"/>
                          <a:cs typeface="+mn-cs"/>
                        </a:rPr>
                        <a:t>HU-USP </a:t>
                      </a:r>
                      <a:r>
                        <a:rPr kumimoji="1" lang="ja-JP" altLang="en-US" sz="1000" b="0" i="0" u="none" strike="noStrike" kern="1200" baseline="0" dirty="0">
                          <a:solidFill>
                            <a:schemeClr val="dk1"/>
                          </a:solidFill>
                          <a:latin typeface="+mn-lt"/>
                          <a:ea typeface="+mn-ea"/>
                          <a:cs typeface="+mn-cs"/>
                        </a:rPr>
                        <a:t>内視鏡医へのトレーニング、デジタル</a:t>
                      </a:r>
                      <a:r>
                        <a:rPr kumimoji="1" lang="en-US" altLang="ja-JP" sz="1000" b="0" i="0" u="none" strike="noStrike" kern="1200" baseline="0" dirty="0">
                          <a:solidFill>
                            <a:schemeClr val="dk1"/>
                          </a:solidFill>
                          <a:latin typeface="+mn-lt"/>
                          <a:ea typeface="+mn-ea"/>
                          <a:cs typeface="+mn-cs"/>
                        </a:rPr>
                        <a:t>X</a:t>
                      </a:r>
                      <a:r>
                        <a:rPr kumimoji="1" lang="ja-JP" altLang="en-US" sz="1000" b="0" i="0" u="none" strike="noStrike" kern="1200" baseline="0" dirty="0">
                          <a:solidFill>
                            <a:schemeClr val="dk1"/>
                          </a:solidFill>
                          <a:latin typeface="+mn-lt"/>
                          <a:ea typeface="+mn-ea"/>
                          <a:cs typeface="+mn-cs"/>
                        </a:rPr>
                        <a:t>線診断装置等の導入に向けた管理部門との協議、キーマンを招聘しての日本の検診センター視察等を経て、</a:t>
                      </a:r>
                      <a:r>
                        <a:rPr kumimoji="1" lang="en-US" altLang="ja-JP" sz="1000" b="0" i="0" u="none" strike="noStrike" kern="1200" baseline="0" dirty="0">
                          <a:solidFill>
                            <a:schemeClr val="dk1"/>
                          </a:solidFill>
                          <a:latin typeface="+mn-lt"/>
                          <a:ea typeface="+mn-ea"/>
                          <a:cs typeface="+mn-cs"/>
                        </a:rPr>
                        <a:t>HU-USP</a:t>
                      </a:r>
                      <a:r>
                        <a:rPr kumimoji="1" lang="ja-JP" altLang="en-US" sz="1000" b="0" i="0" u="none" strike="noStrike" kern="1200" baseline="0" dirty="0">
                          <a:solidFill>
                            <a:schemeClr val="dk1"/>
                          </a:solidFill>
                          <a:latin typeface="+mn-lt"/>
                          <a:ea typeface="+mn-ea"/>
                          <a:cs typeface="+mn-cs"/>
                        </a:rPr>
                        <a:t>におけるがん検診センター設立に向けた準備室を立ち上げた。 </a:t>
                      </a:r>
                    </a:p>
                    <a:p>
                      <a:pPr marL="87313" indent="-87313" algn="just">
                        <a:buClr>
                          <a:srgbClr val="3D6AA7"/>
                        </a:buClr>
                        <a:buFont typeface="Wingdings" panose="05000000000000000000" pitchFamily="2" charset="2"/>
                        <a:buChar char="l"/>
                      </a:pPr>
                      <a:r>
                        <a:rPr kumimoji="1" lang="en-US" altLang="ja-JP" sz="1000" b="0" i="0" u="none" strike="noStrike" kern="1200" baseline="0" dirty="0">
                          <a:solidFill>
                            <a:schemeClr val="dk1"/>
                          </a:solidFill>
                          <a:latin typeface="+mn-lt"/>
                          <a:ea typeface="+mn-ea"/>
                          <a:cs typeface="+mn-cs"/>
                        </a:rPr>
                        <a:t>HU-USP</a:t>
                      </a:r>
                      <a:r>
                        <a:rPr kumimoji="1" lang="ja-JP" altLang="en-US" sz="1000" b="0" i="0" u="none" strike="noStrike" kern="1200" baseline="0" dirty="0">
                          <a:solidFill>
                            <a:schemeClr val="dk1"/>
                          </a:solidFill>
                          <a:latin typeface="+mn-lt"/>
                          <a:ea typeface="+mn-ea"/>
                          <a:cs typeface="+mn-cs"/>
                        </a:rPr>
                        <a:t>ほか現地病院のもとで、胃がんのスクリーニング検査の一つである</a:t>
                      </a:r>
                      <a:r>
                        <a:rPr kumimoji="1" lang="en-US" altLang="ja-JP" sz="1000" b="0" i="0" u="none" strike="noStrike" kern="1200" baseline="0" dirty="0">
                          <a:solidFill>
                            <a:schemeClr val="dk1"/>
                          </a:solidFill>
                          <a:latin typeface="+mn-lt"/>
                          <a:ea typeface="+mn-ea"/>
                          <a:cs typeface="+mn-cs"/>
                        </a:rPr>
                        <a:t>ABC</a:t>
                      </a:r>
                      <a:r>
                        <a:rPr kumimoji="1" lang="ja-JP" altLang="en-US" sz="1000" b="0" i="0" u="none" strike="noStrike" kern="1200" baseline="0" dirty="0">
                          <a:solidFill>
                            <a:schemeClr val="dk1"/>
                          </a:solidFill>
                          <a:latin typeface="+mn-lt"/>
                          <a:ea typeface="+mn-ea"/>
                          <a:cs typeface="+mn-cs"/>
                        </a:rPr>
                        <a:t>検診の実証調査を開始。今後の</a:t>
                      </a:r>
                      <a:r>
                        <a:rPr kumimoji="1" lang="en-US" altLang="ja-JP" sz="1000" b="0" i="0" u="none" strike="noStrike" kern="1200" baseline="0" dirty="0">
                          <a:solidFill>
                            <a:schemeClr val="dk1"/>
                          </a:solidFill>
                          <a:latin typeface="+mn-lt"/>
                          <a:ea typeface="+mn-ea"/>
                          <a:cs typeface="+mn-cs"/>
                        </a:rPr>
                        <a:t>ABC</a:t>
                      </a:r>
                      <a:r>
                        <a:rPr kumimoji="1" lang="ja-JP" altLang="en-US" sz="1000" b="0" i="0" u="none" strike="noStrike" kern="1200" baseline="0" dirty="0">
                          <a:solidFill>
                            <a:schemeClr val="dk1"/>
                          </a:solidFill>
                          <a:latin typeface="+mn-lt"/>
                          <a:ea typeface="+mn-ea"/>
                          <a:cs typeface="+mn-cs"/>
                        </a:rPr>
                        <a:t>検診用検査機器および検査試薬の需要開拓の可能性検討につなげる。 </a:t>
                      </a: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協業可能な現地日本企業の探索を行い、数社との折衝を続けるとともに、それら企業製品に対する</a:t>
                      </a:r>
                      <a:r>
                        <a:rPr kumimoji="1" lang="en-US" altLang="ja-JP" sz="1000" b="0" i="0" u="none" strike="noStrike" kern="1200" baseline="0" dirty="0">
                          <a:solidFill>
                            <a:schemeClr val="dk1"/>
                          </a:solidFill>
                          <a:latin typeface="+mn-lt"/>
                          <a:ea typeface="+mn-ea"/>
                          <a:cs typeface="+mn-cs"/>
                        </a:rPr>
                        <a:t>HU-USP</a:t>
                      </a:r>
                      <a:r>
                        <a:rPr kumimoji="1" lang="ja-JP" altLang="en-US" sz="1000" b="0" i="0" u="none" strike="noStrike" kern="1200" baseline="0" dirty="0">
                          <a:solidFill>
                            <a:schemeClr val="dk1"/>
                          </a:solidFill>
                          <a:latin typeface="+mn-lt"/>
                          <a:ea typeface="+mn-ea"/>
                          <a:cs typeface="+mn-cs"/>
                        </a:rPr>
                        <a:t>のニーズ調査を実施。日本企業の販売機会増大に努めている。 </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ホームページ</a:t>
            </a:r>
          </a:p>
        </p:txBody>
      </p:sp>
    </p:spTree>
    <p:extLst>
      <p:ext uri="{BB962C8B-B14F-4D97-AF65-F5344CB8AC3E}">
        <p14:creationId xmlns:p14="http://schemas.microsoft.com/office/powerpoint/2010/main" val="365327076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外務省の主な医療国際化関連事業</a:t>
            </a:r>
          </a:p>
        </p:txBody>
      </p:sp>
      <p:graphicFrame>
        <p:nvGraphicFramePr>
          <p:cNvPr id="12" name="表 11"/>
          <p:cNvGraphicFramePr>
            <a:graphicFrameLocks noGrp="1"/>
          </p:cNvGraphicFramePr>
          <p:nvPr>
            <p:extLst>
              <p:ext uri="{D42A27DB-BD31-4B8C-83A1-F6EECF244321}">
                <p14:modId xmlns:p14="http://schemas.microsoft.com/office/powerpoint/2010/main" val="1688263679"/>
              </p:ext>
            </p:extLst>
          </p:nvPr>
        </p:nvGraphicFramePr>
        <p:xfrm>
          <a:off x="200472" y="2276872"/>
          <a:ext cx="9505056" cy="1538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1669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障害者の知識アクセスの機会均等の実現に関する</a:t>
                      </a:r>
                      <a:r>
                        <a:rPr lang="en-US" altLang="ja-JP" sz="1000" spc="-10" baseline="0" dirty="0">
                          <a:latin typeface="Arial" panose="020B0604020202020204" pitchFamily="34" charset="0"/>
                          <a:ea typeface="ＭＳ Ｐゴシック" panose="020B0600070205080204" pitchFamily="50" charset="-128"/>
                          <a:cs typeface="Arial" panose="020B0604020202020204" pitchFamily="34" charset="0"/>
                        </a:rPr>
                        <a:t>ODA</a:t>
                      </a:r>
                      <a:r>
                        <a:rPr lang="ja-JP" altLang="en-US" sz="1000" spc="-10" baseline="0" dirty="0">
                          <a:latin typeface="Arial" panose="020B0604020202020204" pitchFamily="34" charset="0"/>
                          <a:ea typeface="ＭＳ Ｐゴシック" panose="020B0600070205080204" pitchFamily="50" charset="-128"/>
                          <a:cs typeface="Arial" panose="020B0604020202020204" pitchFamily="34" charset="0"/>
                        </a:rPr>
                        <a:t>ニーズ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エックス都市研究所</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調査対象国における障害者の知識・情報アクセスの向上を目指した日本の</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分野の中小企業製品および技術活用についてのニーズ調査。</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対象国は社会的弱者といえる障害者の経済的自立と社会参加の実現という共通の課題を抱えている。</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には当該分野の世界トップレベルの水準の各種アプリケーション、入出力デバイス、コンテンツ制作および流通ノウハウ等の製品・技術を有する中小企業等が数多く存在しており、技術協力、無償資金協力等を通じ、対象国の障害者支援ニーズとの適合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3" name="Rectangle 6"/>
          <p:cNvSpPr>
            <a:spLocks noChangeArrowheads="1"/>
          </p:cNvSpPr>
          <p:nvPr/>
        </p:nvSpPr>
        <p:spPr bwMode="auto">
          <a:xfrm>
            <a:off x="200472" y="19168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の</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た。</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spTree>
    <p:extLst>
      <p:ext uri="{BB962C8B-B14F-4D97-AF65-F5344CB8AC3E}">
        <p14:creationId xmlns:p14="http://schemas.microsoft.com/office/powerpoint/2010/main" val="33412590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643374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0" imgW="360" imgH="360" progId="TCLayout.ActiveDocument.1">
                  <p:embed/>
                </p:oleObj>
              </mc:Choice>
              <mc:Fallback>
                <p:oleObj name="think-cell Slide" r:id="rId40" imgW="360" imgH="360" progId="TCLayout.ActiveDocument.1">
                  <p:embed/>
                  <p:pic>
                    <p:nvPicPr>
                      <p:cNvPr id="4" name="Object 3" hidden="1"/>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latin typeface="Arial" panose="020B0604020202020204" pitchFamily="34" charset="0"/>
              <a:sym typeface="+mn-lt"/>
            </a:endParaRPr>
          </a:p>
        </p:txBody>
      </p:sp>
      <p:sp>
        <p:nvSpPr>
          <p:cNvPr id="5" name="タイトル 4"/>
          <p:cNvSpPr>
            <a:spLocks noGrp="1"/>
          </p:cNvSpPr>
          <p:nvPr>
            <p:ph type="title"/>
          </p:nvPr>
        </p:nvSpPr>
        <p:spPr/>
        <p:txBody>
          <a:bodyPr/>
          <a:lstStyle/>
          <a:p>
            <a:r>
              <a:rPr lang="ja-JP" altLang="en-US" dirty="0"/>
              <a:t>ブラジル／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94958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err="1">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ブラジル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都市化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と、すでに都市化が進んで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ユーロモニター</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4" name="Object 13"/>
          <p:cNvGraphicFramePr>
            <a:graphicFrameLocks/>
          </p:cNvGraphicFramePr>
          <p:nvPr>
            <p:custDataLst>
              <p:tags r:id="rId4"/>
            </p:custDataLst>
            <p:extLst>
              <p:ext uri="{D42A27DB-BD31-4B8C-83A1-F6EECF244321}">
                <p14:modId xmlns:p14="http://schemas.microsoft.com/office/powerpoint/2010/main" val="1769487832"/>
              </p:ext>
            </p:extLst>
          </p:nvPr>
        </p:nvGraphicFramePr>
        <p:xfrm>
          <a:off x="38100" y="2133600"/>
          <a:ext cx="4791078" cy="4162320"/>
        </p:xfrm>
        <a:graphic>
          <a:graphicData uri="http://schemas.openxmlformats.org/presentationml/2006/ole">
            <mc:AlternateContent xmlns:mc="http://schemas.openxmlformats.org/markup-compatibility/2006">
              <mc:Choice xmlns:v="urn:schemas-microsoft-com:vml" Requires="v">
                <p:oleObj spid="_x0000_s6147" name="Chart" r:id="rId42" imgW="4791078" imgH="4162320" progId="MSGraph.Chart.8">
                  <p:embed followColorScheme="full"/>
                </p:oleObj>
              </mc:Choice>
              <mc:Fallback>
                <p:oleObj name="Chart" r:id="rId42" imgW="4791078" imgH="4162320" progId="MSGraph.Chart.8">
                  <p:embed followColorScheme="full"/>
                  <p:pic>
                    <p:nvPicPr>
                      <p:cNvPr id="14" name="Object 13"/>
                      <p:cNvPicPr>
                        <a:picLocks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38100" y="2133600"/>
                        <a:ext cx="4791078" cy="416232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Text Placeholder 12"/>
          <p:cNvSpPr>
            <a:spLocks noGrp="1"/>
          </p:cNvSpPr>
          <p:nvPr>
            <p:custDataLst>
              <p:tags r:id="rId5"/>
            </p:custDataLst>
          </p:nvPr>
        </p:nvSpPr>
        <p:spPr bwMode="gray">
          <a:xfrm>
            <a:off x="451485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26E8A7-7CBC-410C-89B9-BE0297093788}" type="datetime'''''''''''''''''''''''5''''''''''''''''''''''''0'">
              <a:rPr lang="ja-JP" altLang="en-US" sz="1000" b="0">
                <a:latin typeface="Arial" panose="020B0604020202020204" pitchFamily="34" charset="0"/>
                <a:cs typeface="Arial" panose="020B0604020202020204" pitchFamily="34" charset="0"/>
                <a:sym typeface="Arial" panose="020B0604020202020204" pitchFamily="34" charset="0"/>
              </a:rPr>
              <a:pPr algn="ctr">
                <a:spcBef>
                  <a:spcPct val="0"/>
                </a:spcBef>
                <a:spcAft>
                  <a:spcPct val="0"/>
                </a:spcAft>
              </a:pPr>
              <a:t>50</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sp>
        <p:nvSpPr>
          <p:cNvPr id="30" name="Text Placeholder 12"/>
          <p:cNvSpPr>
            <a:spLocks noGrp="1"/>
          </p:cNvSpPr>
          <p:nvPr>
            <p:custDataLst>
              <p:tags r:id="rId6"/>
            </p:custDataLst>
          </p:nvPr>
        </p:nvSpPr>
        <p:spPr bwMode="gray">
          <a:xfrm>
            <a:off x="412432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9B6771A-CE72-46DA-A130-9E6C9BF3781C}" type="datetime'''4''''''''''''''''5'''''''''''''''''''''''''''''''">
              <a:rPr lang="ja-JP" altLang="en-US" sz="1000" b="0">
                <a:latin typeface="Arial" panose="020B0604020202020204" pitchFamily="34" charset="0"/>
                <a:cs typeface="Arial" panose="020B0604020202020204" pitchFamily="34" charset="0"/>
                <a:sym typeface="Arial" panose="020B0604020202020204" pitchFamily="34" charset="0"/>
              </a:rPr>
              <a:pPr algn="ctr">
                <a:spcBef>
                  <a:spcPct val="0"/>
                </a:spcBef>
                <a:spcAft>
                  <a:spcPct val="0"/>
                </a:spcAft>
              </a:pPr>
              <a:t>45</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12"/>
          <p:cNvSpPr>
            <a:spLocks noGrp="1"/>
          </p:cNvSpPr>
          <p:nvPr>
            <p:custDataLst>
              <p:tags r:id="rId7"/>
            </p:custDataLst>
          </p:nvPr>
        </p:nvSpPr>
        <p:spPr bwMode="gray">
          <a:xfrm>
            <a:off x="215265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EBAE89D-72EB-4DA4-8C27-913B06FA910D}" type="datetime'2''''0'''''''''''''''''''''''''''''''''''''''">
              <a:rPr lang="ja-JP" altLang="en-US" sz="1000" b="0">
                <a:latin typeface="Arial" panose="020B0604020202020204" pitchFamily="34" charset="0"/>
                <a:cs typeface="Arial" panose="020B0604020202020204" pitchFamily="34" charset="0"/>
                <a:sym typeface="Arial" panose="020B0604020202020204" pitchFamily="34" charset="0"/>
              </a:rPr>
              <a:pPr algn="ctr">
                <a:spcBef>
                  <a:spcPct val="0"/>
                </a:spcBef>
                <a:spcAft>
                  <a:spcPct val="0"/>
                </a:spcAft>
              </a:pPr>
              <a:t>20</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sp>
        <p:nvSpPr>
          <p:cNvPr id="27" name="Text Placeholder 12"/>
          <p:cNvSpPr>
            <a:spLocks noGrp="1"/>
          </p:cNvSpPr>
          <p:nvPr>
            <p:custDataLst>
              <p:tags r:id="rId8"/>
            </p:custDataLst>
          </p:nvPr>
        </p:nvSpPr>
        <p:spPr bwMode="gray">
          <a:xfrm>
            <a:off x="176212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577D006-586C-440B-ACDE-89FA4CACABD1}" type="datetime'''''''''''''''''''''''''''''''''''''15'''">
              <a:rPr lang="ja-JP" altLang="en-US" sz="1000" b="0">
                <a:latin typeface="Arial" panose="020B0604020202020204" pitchFamily="34" charset="0"/>
                <a:cs typeface="Arial" panose="020B0604020202020204" pitchFamily="34" charset="0"/>
                <a:sym typeface="Arial" panose="020B0604020202020204" pitchFamily="34" charset="0"/>
              </a:rPr>
              <a:pPr algn="ctr">
                <a:spcBef>
                  <a:spcPct val="0"/>
                </a:spcBef>
                <a:spcAft>
                  <a:spcPct val="0"/>
                </a:spcAft>
              </a:pPr>
              <a:t>15</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sp>
        <p:nvSpPr>
          <p:cNvPr id="16" name="Text Placeholder 12"/>
          <p:cNvSpPr>
            <a:spLocks noGrp="1"/>
          </p:cNvSpPr>
          <p:nvPr>
            <p:custDataLst>
              <p:tags r:id="rId9"/>
            </p:custDataLst>
          </p:nvPr>
        </p:nvSpPr>
        <p:spPr bwMode="gray">
          <a:xfrm>
            <a:off x="511175" y="6089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B4CCA5-9964-4C43-8A0E-8761693F6408}" type="datetime'''''''2''''0''''''''0''''''''''0'''">
              <a:rPr lang="ja-JP" altLang="en-US" sz="1000" b="0">
                <a:latin typeface="Arial" panose="020B0604020202020204" pitchFamily="34" charset="0"/>
                <a:cs typeface="Arial" panose="020B0604020202020204" pitchFamily="34" charset="0"/>
                <a:sym typeface="Arial" panose="020B0604020202020204" pitchFamily="34" charset="0"/>
              </a:rPr>
              <a:pPr algn="ctr">
                <a:spcBef>
                  <a:spcPct val="0"/>
                </a:spcBef>
                <a:spcAft>
                  <a:spcPct val="0"/>
                </a:spcAft>
              </a:pPr>
              <a:t>2000</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sp>
        <p:nvSpPr>
          <p:cNvPr id="29" name="Text Placeholder 12"/>
          <p:cNvSpPr>
            <a:spLocks noGrp="1"/>
          </p:cNvSpPr>
          <p:nvPr>
            <p:custDataLst>
              <p:tags r:id="rId10"/>
            </p:custDataLst>
          </p:nvPr>
        </p:nvSpPr>
        <p:spPr bwMode="gray">
          <a:xfrm>
            <a:off x="372427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81EBA89-A1FB-4A40-8839-007484D72F3E}" type="datetime'4''''''''0'''''''''">
              <a:rPr lang="ja-JP" altLang="en-US" sz="1000" b="0">
                <a:latin typeface="Arial" panose="020B0604020202020204" pitchFamily="34" charset="0"/>
                <a:cs typeface="Arial" panose="020B0604020202020204" pitchFamily="34" charset="0"/>
                <a:sym typeface="Arial" panose="020B0604020202020204" pitchFamily="34" charset="0"/>
              </a:rPr>
              <a:pPr algn="ctr">
                <a:spcBef>
                  <a:spcPct val="0"/>
                </a:spcBef>
                <a:spcAft>
                  <a:spcPct val="0"/>
                </a:spcAft>
              </a:pPr>
              <a:t>40</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sp>
        <p:nvSpPr>
          <p:cNvPr id="28" name="Text Placeholder 12"/>
          <p:cNvSpPr>
            <a:spLocks noGrp="1"/>
          </p:cNvSpPr>
          <p:nvPr>
            <p:custDataLst>
              <p:tags r:id="rId11"/>
            </p:custDataLst>
          </p:nvPr>
        </p:nvSpPr>
        <p:spPr bwMode="gray">
          <a:xfrm>
            <a:off x="333375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0F4E3A1-BEE7-4799-B308-079C9EA9180E}" type="datetime'''''''''''''''''''3''''''''''''''''5'''''''''''''''''''''''''">
              <a:rPr lang="ja-JP" altLang="en-US" sz="1000" b="0">
                <a:latin typeface="Arial" panose="020B0604020202020204" pitchFamily="34" charset="0"/>
                <a:cs typeface="Arial" panose="020B0604020202020204" pitchFamily="34" charset="0"/>
                <a:sym typeface="Arial" panose="020B0604020202020204" pitchFamily="34" charset="0"/>
              </a:rPr>
              <a:pPr algn="ctr">
                <a:spcBef>
                  <a:spcPct val="0"/>
                </a:spcBef>
                <a:spcAft>
                  <a:spcPct val="0"/>
                </a:spcAft>
              </a:pPr>
              <a:t>35</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sp>
        <p:nvSpPr>
          <p:cNvPr id="26" name="Text Placeholder 12"/>
          <p:cNvSpPr>
            <a:spLocks noGrp="1"/>
          </p:cNvSpPr>
          <p:nvPr>
            <p:custDataLst>
              <p:tags r:id="rId12"/>
            </p:custDataLst>
          </p:nvPr>
        </p:nvSpPr>
        <p:spPr bwMode="gray">
          <a:xfrm>
            <a:off x="294322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8A4CFC9-9E51-4361-8C2F-7C83C43046C1}" type="datetime'''''''''''30'''''''''''''''''''''''''''''">
              <a:rPr lang="ja-JP" altLang="en-US" sz="1000" b="0">
                <a:latin typeface="Arial" panose="020B0604020202020204" pitchFamily="34" charset="0"/>
                <a:cs typeface="Arial" panose="020B0604020202020204" pitchFamily="34" charset="0"/>
                <a:sym typeface="Arial" panose="020B0604020202020204" pitchFamily="34" charset="0"/>
              </a:rPr>
              <a:pPr algn="ctr">
                <a:spcBef>
                  <a:spcPct val="0"/>
                </a:spcBef>
                <a:spcAft>
                  <a:spcPct val="0"/>
                </a:spcAft>
              </a:pPr>
              <a:t>30</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sp>
        <p:nvSpPr>
          <p:cNvPr id="24" name="Text Placeholder 12"/>
          <p:cNvSpPr>
            <a:spLocks noGrp="1"/>
          </p:cNvSpPr>
          <p:nvPr>
            <p:custDataLst>
              <p:tags r:id="rId13"/>
            </p:custDataLst>
          </p:nvPr>
        </p:nvSpPr>
        <p:spPr bwMode="gray">
          <a:xfrm>
            <a:off x="255270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AE7653B-382C-4E4C-9CD3-4B78EBB704C2}" type="datetime'''''2''''''''''''5'''''''''">
              <a:rPr lang="ja-JP" altLang="en-US" sz="1000" b="0">
                <a:latin typeface="Arial" panose="020B0604020202020204" pitchFamily="34" charset="0"/>
                <a:cs typeface="Arial" panose="020B0604020202020204" pitchFamily="34" charset="0"/>
                <a:sym typeface="Arial" panose="020B0604020202020204" pitchFamily="34" charset="0"/>
              </a:rPr>
              <a:pPr algn="ctr">
                <a:spcBef>
                  <a:spcPct val="0"/>
                </a:spcBef>
                <a:spcAft>
                  <a:spcPct val="0"/>
                </a:spcAft>
              </a:pPr>
              <a:t>25</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sp>
        <p:nvSpPr>
          <p:cNvPr id="25" name="Text Placeholder 12"/>
          <p:cNvSpPr>
            <a:spLocks noGrp="1"/>
          </p:cNvSpPr>
          <p:nvPr>
            <p:custDataLst>
              <p:tags r:id="rId14"/>
            </p:custDataLst>
          </p:nvPr>
        </p:nvSpPr>
        <p:spPr bwMode="gray">
          <a:xfrm>
            <a:off x="137160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1E0314E-72A2-4A52-A179-01DCE9775976}" type="datetime'''10'''">
              <a:rPr lang="ja-JP" altLang="en-US" sz="1000" b="0">
                <a:latin typeface="Arial" panose="020B0604020202020204" pitchFamily="34" charset="0"/>
                <a:cs typeface="Arial" panose="020B0604020202020204" pitchFamily="34" charset="0"/>
                <a:sym typeface="Arial" panose="020B0604020202020204" pitchFamily="34" charset="0"/>
              </a:rPr>
              <a:pPr algn="ctr">
                <a:spcBef>
                  <a:spcPct val="0"/>
                </a:spcBef>
                <a:spcAft>
                  <a:spcPct val="0"/>
                </a:spcAft>
              </a:pPr>
              <a:t>10</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sp>
        <p:nvSpPr>
          <p:cNvPr id="17" name="Text Placeholder 12"/>
          <p:cNvSpPr>
            <a:spLocks noGrp="1"/>
          </p:cNvSpPr>
          <p:nvPr>
            <p:custDataLst>
              <p:tags r:id="rId15"/>
            </p:custDataLst>
          </p:nvPr>
        </p:nvSpPr>
        <p:spPr bwMode="gray">
          <a:xfrm>
            <a:off x="97155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0F13F2C-187D-4211-81F0-B5BB40A290B8}" type="datetime'''''''''''''''''''''''0''''''''''''''''''''''''''''''''''''5'">
              <a:rPr lang="ja-JP" altLang="en-US" sz="1000" b="0">
                <a:latin typeface="Arial" panose="020B0604020202020204" pitchFamily="34" charset="0"/>
                <a:cs typeface="Arial" panose="020B0604020202020204" pitchFamily="34" charset="0"/>
                <a:sym typeface="Arial" panose="020B0604020202020204" pitchFamily="34" charset="0"/>
              </a:rPr>
              <a:pPr algn="ctr">
                <a:spcBef>
                  <a:spcPct val="0"/>
                </a:spcBef>
                <a:spcAft>
                  <a:spcPct val="0"/>
                </a:spcAft>
              </a:pPr>
              <a:t>05</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sp>
        <p:nvSpPr>
          <p:cNvPr id="15" name="Text Placeholder 12"/>
          <p:cNvSpPr>
            <a:spLocks noGrp="1"/>
          </p:cNvSpPr>
          <p:nvPr>
            <p:custDataLst>
              <p:tags r:id="rId16"/>
            </p:custDataLst>
          </p:nvPr>
        </p:nvSpPr>
        <p:spPr bwMode="gray">
          <a:xfrm>
            <a:off x="241300" y="21558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latin typeface="Arial" panose="020B0604020202020204" pitchFamily="34" charset="0"/>
                <a:cs typeface="Arial" panose="020B0604020202020204" pitchFamily="34" charset="0"/>
                <a:sym typeface="Arial" panose="020B0604020202020204" pitchFamily="34" charset="0"/>
              </a:rPr>
              <a:t>（％）</a:t>
            </a:r>
          </a:p>
        </p:txBody>
      </p:sp>
      <p:cxnSp>
        <p:nvCxnSpPr>
          <p:cNvPr id="36" name="Straight Connector 35"/>
          <p:cNvCxnSpPr/>
          <p:nvPr>
            <p:custDataLst>
              <p:tags r:id="rId17"/>
            </p:custDataLst>
          </p:nvPr>
        </p:nvCxnSpPr>
        <p:spPr bwMode="gray">
          <a:xfrm>
            <a:off x="3633788" y="4106863"/>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18"/>
            </p:custDataLst>
          </p:nvPr>
        </p:nvCxnSpPr>
        <p:spPr bwMode="gray">
          <a:xfrm>
            <a:off x="3633788" y="4310063"/>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7" name="Rectangle 36"/>
          <p:cNvSpPr/>
          <p:nvPr>
            <p:custDataLst>
              <p:tags r:id="rId19"/>
            </p:custDataLst>
          </p:nvPr>
        </p:nvSpPr>
        <p:spPr bwMode="gray">
          <a:xfrm>
            <a:off x="3748088" y="4281488"/>
            <a:ext cx="57150" cy="57150"/>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8" name="Oval 37"/>
          <p:cNvSpPr/>
          <p:nvPr>
            <p:custDataLst>
              <p:tags r:id="rId20"/>
            </p:custDataLst>
          </p:nvPr>
        </p:nvSpPr>
        <p:spPr bwMode="gray">
          <a:xfrm>
            <a:off x="3748088" y="4078288"/>
            <a:ext cx="57150" cy="57150"/>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0" name="Text Placeholder 12"/>
          <p:cNvSpPr>
            <a:spLocks noGrp="1"/>
          </p:cNvSpPr>
          <p:nvPr>
            <p:custDataLst>
              <p:tags r:id="rId21"/>
            </p:custDataLst>
          </p:nvPr>
        </p:nvSpPr>
        <p:spPr bwMode="gray">
          <a:xfrm>
            <a:off x="3970338" y="42386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E249703-2E73-4297-8686-F7532749AC01}" type="datetime'''農''''村''''''''''''''''''''''''''''''''部'''">
              <a:rPr lang="ja-JP" altLang="en-US" sz="1000" b="0">
                <a:latin typeface="Arial" panose="020B0604020202020204" pitchFamily="34" charset="0"/>
                <a:cs typeface="Arial" panose="020B0604020202020204" pitchFamily="34" charset="0"/>
                <a:sym typeface="Arial" panose="020B0604020202020204" pitchFamily="34" charset="0"/>
              </a:rPr>
              <a:pPr>
                <a:spcBef>
                  <a:spcPct val="0"/>
                </a:spcBef>
                <a:spcAft>
                  <a:spcPct val="0"/>
                </a:spcAft>
              </a:pPr>
              <a:t>農村部</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sp>
        <p:nvSpPr>
          <p:cNvPr id="39" name="Text Placeholder 12"/>
          <p:cNvSpPr>
            <a:spLocks noGrp="1"/>
          </p:cNvSpPr>
          <p:nvPr>
            <p:custDataLst>
              <p:tags r:id="rId22"/>
            </p:custDataLst>
          </p:nvPr>
        </p:nvSpPr>
        <p:spPr bwMode="gray">
          <a:xfrm>
            <a:off x="3970338" y="40354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E5624222-EEE0-4B63-BA65-71AFBC5D4606}" type="datetime'''''''''''''''''''''''''''''''''''''都''''''市''''''部'''''''''''">
              <a:rPr lang="ja-JP" altLang="en-US" sz="1000" b="0">
                <a:latin typeface="Arial" panose="020B0604020202020204" pitchFamily="34" charset="0"/>
                <a:cs typeface="Arial" panose="020B0604020202020204" pitchFamily="34" charset="0"/>
                <a:sym typeface="Arial" panose="020B0604020202020204" pitchFamily="34" charset="0"/>
              </a:rPr>
              <a:pPr>
                <a:spcBef>
                  <a:spcPct val="0"/>
                </a:spcBef>
                <a:spcAft>
                  <a:spcPct val="0"/>
                </a:spcAft>
              </a:pPr>
              <a:t>都市部</a:t>
            </a:fld>
            <a:endParaRPr kumimoji="0" lang="ja-JP" altLang="en-US" sz="1000" b="0"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41" name="Object 40"/>
          <p:cNvGraphicFramePr>
            <a:graphicFrameLocks/>
          </p:cNvGraphicFramePr>
          <p:nvPr>
            <p:custDataLst>
              <p:tags r:id="rId23"/>
            </p:custDataLst>
            <p:extLst>
              <p:ext uri="{D42A27DB-BD31-4B8C-83A1-F6EECF244321}">
                <p14:modId xmlns:p14="http://schemas.microsoft.com/office/powerpoint/2010/main" val="529133727"/>
              </p:ext>
            </p:extLst>
          </p:nvPr>
        </p:nvGraphicFramePr>
        <p:xfrm>
          <a:off x="4838700" y="2209799"/>
          <a:ext cx="4391011" cy="4029210"/>
        </p:xfrm>
        <a:graphic>
          <a:graphicData uri="http://schemas.openxmlformats.org/presentationml/2006/ole">
            <mc:AlternateContent xmlns:mc="http://schemas.openxmlformats.org/markup-compatibility/2006">
              <mc:Choice xmlns:v="urn:schemas-microsoft-com:vml" Requires="v">
                <p:oleObj spid="_x0000_s6148" name="Chart" r:id="rId44" imgW="4391011" imgH="4029210" progId="MSGraph.Chart.8">
                  <p:embed followColorScheme="full"/>
                </p:oleObj>
              </mc:Choice>
              <mc:Fallback>
                <p:oleObj name="Chart" r:id="rId44" imgW="4391011" imgH="4029210" progId="MSGraph.Chart.8">
                  <p:embed followColorScheme="full"/>
                  <p:pic>
                    <p:nvPicPr>
                      <p:cNvPr id="41" name="Object 40"/>
                      <p:cNvPicPr>
                        <a:picLocks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4838700" y="2209799"/>
                        <a:ext cx="4391011" cy="40292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 name="Text Placeholder 12"/>
          <p:cNvSpPr>
            <a:spLocks noGrp="1"/>
          </p:cNvSpPr>
          <p:nvPr>
            <p:custDataLst>
              <p:tags r:id="rId24"/>
            </p:custDataLst>
          </p:nvPr>
        </p:nvSpPr>
        <p:spPr bwMode="gray">
          <a:xfrm>
            <a:off x="9129713" y="6343650"/>
            <a:ext cx="1588" cy="3651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endParaRPr kumimoji="0" lang="en-US" altLang="ja-JP" sz="1200" b="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a:p>
            <a:pPr algn="r">
              <a:spcBef>
                <a:spcPct val="0"/>
              </a:spcBef>
              <a:spcAft>
                <a:spcPct val="0"/>
              </a:spcAft>
            </a:pPr>
            <a:endParaRPr kumimoji="0" lang="ja-JP" altLang="en-US" sz="1200" b="0" dirty="0">
              <a:sym typeface="+mn-lt"/>
            </a:endParaRPr>
          </a:p>
        </p:txBody>
      </p:sp>
      <p:sp>
        <p:nvSpPr>
          <p:cNvPr id="46" name="Text Placeholder 12"/>
          <p:cNvSpPr>
            <a:spLocks noGrp="1"/>
          </p:cNvSpPr>
          <p:nvPr>
            <p:custDataLst>
              <p:tags r:id="rId25"/>
            </p:custDataLst>
          </p:nvPr>
        </p:nvSpPr>
        <p:spPr bwMode="gray">
          <a:xfrm>
            <a:off x="8105775" y="6089650"/>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D588FC2-7235-41F8-B135-E91D22057C2C}" type="datetime'''''''20''''''''2''''''0（''''予''測''''''''''''値''''''''）'''''''">
              <a:rPr lang="ja-JP" altLang="en-US" sz="1000" b="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algn="ctr">
                <a:spcBef>
                  <a:spcPct val="0"/>
                </a:spcBef>
                <a:spcAft>
                  <a:spcPct val="0"/>
                </a:spcAft>
              </a:pPr>
              <a:t>2020（予測値）</a:t>
            </a:fld>
            <a:endParaRPr kumimoji="0" lang="ja-JP" altLang="en-US" sz="1000" b="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43" name="Text Placeholder 12"/>
          <p:cNvSpPr>
            <a:spLocks noGrp="1"/>
          </p:cNvSpPr>
          <p:nvPr>
            <p:custDataLst>
              <p:tags r:id="rId26"/>
            </p:custDataLst>
          </p:nvPr>
        </p:nvSpPr>
        <p:spPr bwMode="gray">
          <a:xfrm>
            <a:off x="5892800" y="6089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F8423DE-0946-4304-9CD8-4B8D62BF6E88}" type="datetime'''''''''2''''0''''''''''''''''''''''''''''''''''''00'">
              <a:rPr lang="ja-JP" altLang="en-US" sz="1000" b="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algn="ctr">
                <a:spcBef>
                  <a:spcPct val="0"/>
                </a:spcBef>
                <a:spcAft>
                  <a:spcPct val="0"/>
                </a:spcAft>
              </a:pPr>
              <a:t>2000</a:t>
            </a:fld>
            <a:endParaRPr kumimoji="0" lang="ja-JP" altLang="en-US" sz="1000" b="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44" name="Text Placeholder 12"/>
          <p:cNvSpPr>
            <a:spLocks noGrp="1"/>
          </p:cNvSpPr>
          <p:nvPr>
            <p:custDataLst>
              <p:tags r:id="rId27"/>
            </p:custDataLst>
          </p:nvPr>
        </p:nvSpPr>
        <p:spPr bwMode="gray">
          <a:xfrm>
            <a:off x="7126288" y="6089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69D6D1B-2D91-49D0-8DA0-D513728C2C59}" type="datetime'''''2''''''''''''''''''0''''''1''''0'''''''''''''''''''''''">
              <a:rPr lang="ja-JP" altLang="en-US" sz="1000" b="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algn="ctr">
                <a:spcBef>
                  <a:spcPct val="0"/>
                </a:spcBef>
                <a:spcAft>
                  <a:spcPct val="0"/>
                </a:spcAft>
              </a:pPr>
              <a:t>2010</a:t>
            </a:fld>
            <a:endParaRPr kumimoji="0" lang="ja-JP" altLang="en-US" sz="1000" b="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42" name="Text Placeholder 12"/>
          <p:cNvSpPr>
            <a:spLocks noGrp="1"/>
          </p:cNvSpPr>
          <p:nvPr>
            <p:custDataLst>
              <p:tags r:id="rId28"/>
            </p:custDataLst>
          </p:nvPr>
        </p:nvSpPr>
        <p:spPr bwMode="gray">
          <a:xfrm>
            <a:off x="4933950" y="21558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t>（千人）</a:t>
            </a:r>
          </a:p>
        </p:txBody>
      </p:sp>
      <p:sp>
        <p:nvSpPr>
          <p:cNvPr id="51" name="Rectangle 50"/>
          <p:cNvSpPr/>
          <p:nvPr>
            <p:custDataLst>
              <p:tags r:id="rId29"/>
            </p:custDataLst>
          </p:nvPr>
        </p:nvSpPr>
        <p:spPr bwMode="gray">
          <a:xfrm>
            <a:off x="5803900" y="3155950"/>
            <a:ext cx="179388" cy="133350"/>
          </a:xfrm>
          <a:prstGeom prst="rect">
            <a:avLst/>
          </a:prstGeom>
          <a:solidFill>
            <a:srgbClr val="80CCE8"/>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0" name="Rectangle 49"/>
          <p:cNvSpPr/>
          <p:nvPr>
            <p:custDataLst>
              <p:tags r:id="rId30"/>
            </p:custDataLst>
          </p:nvPr>
        </p:nvSpPr>
        <p:spPr bwMode="gray">
          <a:xfrm>
            <a:off x="5803900" y="2952750"/>
            <a:ext cx="179388" cy="133350"/>
          </a:xfrm>
          <a:prstGeom prst="rect">
            <a:avLst/>
          </a:prstGeom>
          <a:solidFill>
            <a:srgbClr val="C0E6F4"/>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9" name="Rectangle 48"/>
          <p:cNvSpPr/>
          <p:nvPr>
            <p:custDataLst>
              <p:tags r:id="rId31"/>
            </p:custDataLst>
          </p:nvPr>
        </p:nvSpPr>
        <p:spPr bwMode="gray">
          <a:xfrm>
            <a:off x="5803900" y="3359150"/>
            <a:ext cx="179388" cy="133350"/>
          </a:xfrm>
          <a:prstGeom prst="rect">
            <a:avLst/>
          </a:prstGeom>
          <a:solidFill>
            <a:srgbClr val="1F497D"/>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8" name="Rectangle 47"/>
          <p:cNvSpPr/>
          <p:nvPr>
            <p:custDataLst>
              <p:tags r:id="rId32"/>
            </p:custDataLst>
          </p:nvPr>
        </p:nvSpPr>
        <p:spPr bwMode="gray">
          <a:xfrm>
            <a:off x="5803900" y="2749550"/>
            <a:ext cx="179388" cy="133350"/>
          </a:xfrm>
          <a:prstGeom prst="rect">
            <a:avLst/>
          </a:prstGeom>
          <a:solidFill>
            <a:srgbClr val="D2E0E6"/>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7" name="Rectangle 46"/>
          <p:cNvSpPr/>
          <p:nvPr>
            <p:custDataLst>
              <p:tags r:id="rId33"/>
            </p:custDataLst>
          </p:nvPr>
        </p:nvSpPr>
        <p:spPr bwMode="gray">
          <a:xfrm>
            <a:off x="5803900" y="2546350"/>
            <a:ext cx="179388" cy="133350"/>
          </a:xfrm>
          <a:prstGeom prst="rect">
            <a:avLst/>
          </a:prstGeom>
          <a:solidFill>
            <a:srgbClr val="ECE5F4"/>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6" name="Text Placeholder 12"/>
          <p:cNvSpPr>
            <a:spLocks noGrp="1"/>
          </p:cNvSpPr>
          <p:nvPr>
            <p:custDataLst>
              <p:tags r:id="rId34"/>
            </p:custDataLst>
          </p:nvPr>
        </p:nvSpPr>
        <p:spPr bwMode="gray">
          <a:xfrm>
            <a:off x="6034088" y="2744788"/>
            <a:ext cx="7794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6C9F2D6C-6C0A-4B2F-A24A-F7985B4DDBF6}" type="datetime'''''''''''ベ''ロ''''''''''''オリ''ゾ''''''''ン''テ'''''''">
              <a:rPr lang="ja-JP" altLang="en-US" sz="1000" b="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a:spcBef>
                  <a:spcPct val="0"/>
                </a:spcBef>
                <a:spcAft>
                  <a:spcPct val="0"/>
                </a:spcAft>
              </a:pPr>
              <a:t>ベロオリゾンテ</a:t>
            </a:fld>
            <a:endParaRPr kumimoji="0" lang="ja-JP" altLang="en-US" sz="1000" b="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55" name="Text Placeholder 12"/>
          <p:cNvSpPr>
            <a:spLocks noGrp="1"/>
          </p:cNvSpPr>
          <p:nvPr>
            <p:custDataLst>
              <p:tags r:id="rId35"/>
            </p:custDataLst>
          </p:nvPr>
        </p:nvSpPr>
        <p:spPr bwMode="gray">
          <a:xfrm>
            <a:off x="6034088" y="2541588"/>
            <a:ext cx="6635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13F8D46D-A243-4D7D-AAE3-A97CC72DDFAE}" type="datetime'''フ''''''''''''''''ォ''''''''''''''ル''タ''レ''ザ'">
              <a:rPr lang="ja-JP" altLang="en-US" sz="1000" b="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a:spcBef>
                  <a:spcPct val="0"/>
                </a:spcBef>
                <a:spcAft>
                  <a:spcPct val="0"/>
                </a:spcAft>
              </a:pPr>
              <a:t>フォルタレザ</a:t>
            </a:fld>
            <a:endParaRPr kumimoji="0" lang="ja-JP" altLang="en-US" sz="1000" b="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53" name="Text Placeholder 12"/>
          <p:cNvSpPr>
            <a:spLocks noGrp="1"/>
          </p:cNvSpPr>
          <p:nvPr>
            <p:custDataLst>
              <p:tags r:id="rId36"/>
            </p:custDataLst>
          </p:nvPr>
        </p:nvSpPr>
        <p:spPr bwMode="gray">
          <a:xfrm>
            <a:off x="6034088" y="2947988"/>
            <a:ext cx="812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D67E804-E067-417F-9AD0-C258937267C2}" type="datetime'''''''サルヴァ''''''''ド''''''''ー''''''ル'''">
              <a:rPr lang="ja-JP" altLang="en-US" sz="1000" b="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a:spcBef>
                  <a:spcPct val="0"/>
                </a:spcBef>
                <a:spcAft>
                  <a:spcPct val="0"/>
                </a:spcAft>
              </a:pPr>
              <a:t>サルヴァドール</a:t>
            </a:fld>
            <a:endParaRPr kumimoji="0" lang="ja-JP" altLang="en-US" sz="1000" b="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52" name="Text Placeholder 12"/>
          <p:cNvSpPr>
            <a:spLocks noGrp="1"/>
          </p:cNvSpPr>
          <p:nvPr>
            <p:custDataLst>
              <p:tags r:id="rId37"/>
            </p:custDataLst>
          </p:nvPr>
        </p:nvSpPr>
        <p:spPr bwMode="gray">
          <a:xfrm>
            <a:off x="6034088" y="3354388"/>
            <a:ext cx="5921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E2133156-7F32-4DA1-BED7-8AF44B3CA822}" type="datetime'''サ''ン''''''''''''''''''''''''''''''''''''''''''パ''''''ウ''ロ'''">
              <a:rPr lang="ja-JP" altLang="en-US" sz="1000" b="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a:spcBef>
                  <a:spcPct val="0"/>
                </a:spcBef>
                <a:spcAft>
                  <a:spcPct val="0"/>
                </a:spcAft>
              </a:pPr>
              <a:t>サンパウロ</a:t>
            </a:fld>
            <a:endParaRPr kumimoji="0" lang="ja-JP" altLang="en-US" sz="1000" b="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54" name="Text Placeholder 12"/>
          <p:cNvSpPr>
            <a:spLocks noGrp="1"/>
          </p:cNvSpPr>
          <p:nvPr>
            <p:custDataLst>
              <p:tags r:id="rId38"/>
            </p:custDataLst>
          </p:nvPr>
        </p:nvSpPr>
        <p:spPr bwMode="gray">
          <a:xfrm>
            <a:off x="6034088" y="3151188"/>
            <a:ext cx="8842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121344D-6063-4709-B3C7-A69C05E8D436}" type="datetime'''リ''''''''''オデ''ジャ''''''''''''''''''''''''''''''''''''ネイロ'">
              <a:rPr lang="ja-JP" altLang="en-US" sz="1000" b="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a:spcBef>
                  <a:spcPct val="0"/>
                </a:spcBef>
                <a:spcAft>
                  <a:spcPct val="0"/>
                </a:spcAft>
              </a:pPr>
              <a:t>リオデジャネイロ</a:t>
            </a:fld>
            <a:endParaRPr kumimoji="0" lang="ja-JP" altLang="en-US" sz="1000" b="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976746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latin typeface="Arial Black" panose="020B0A04020102020204" pitchFamily="34" charset="0"/>
              </a:rPr>
              <a:t>厚生労働省とブラジル保健省の協力覚書（</a:t>
            </a:r>
            <a:r>
              <a:rPr lang="en-US" altLang="ja-JP" dirty="0">
                <a:latin typeface="Arial Black" panose="020B0A04020102020204" pitchFamily="34" charset="0"/>
              </a:rPr>
              <a:t>MOC</a:t>
            </a:r>
            <a:r>
              <a:rPr lang="ja-JP" altLang="en-US" dirty="0">
                <a:latin typeface="Arial Black" panose="020B0A04020102020204" pitchFamily="34" charset="0"/>
              </a:rPr>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フリーフォーム 13"/>
          <p:cNvSpPr/>
          <p:nvPr/>
        </p:nvSpPr>
        <p:spPr>
          <a:xfrm>
            <a:off x="4181624" y="2133598"/>
            <a:ext cx="771090" cy="2481128"/>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881213"/>
              <a:gd name="connsiteX1" fmla="*/ 0 w 771090"/>
              <a:gd name="connsiteY1" fmla="*/ 338811 h 2881213"/>
              <a:gd name="connsiteX2" fmla="*/ 25038 w 771090"/>
              <a:gd name="connsiteY2" fmla="*/ 1251656 h 2881213"/>
              <a:gd name="connsiteX3" fmla="*/ 759237 w 771090"/>
              <a:gd name="connsiteY3" fmla="*/ 2881213 h 2881213"/>
            </a:gdLst>
            <a:ahLst/>
            <a:cxnLst>
              <a:cxn ang="0">
                <a:pos x="connsiteX0" y="connsiteY0"/>
              </a:cxn>
              <a:cxn ang="0">
                <a:pos x="connsiteX1" y="connsiteY1"/>
              </a:cxn>
              <a:cxn ang="0">
                <a:pos x="connsiteX2" y="connsiteY2"/>
              </a:cxn>
              <a:cxn ang="0">
                <a:pos x="connsiteX3" y="connsiteY3"/>
              </a:cxn>
            </a:cxnLst>
            <a:rect l="l" t="t" r="r" b="b"/>
            <a:pathLst>
              <a:path w="771090" h="2881213">
                <a:moveTo>
                  <a:pt x="771090" y="0"/>
                </a:moveTo>
                <a:lnTo>
                  <a:pt x="0" y="338811"/>
                </a:lnTo>
                <a:cubicBezTo>
                  <a:pt x="10727" y="605185"/>
                  <a:pt x="14311" y="985282"/>
                  <a:pt x="25038" y="1251656"/>
                </a:cubicBezTo>
                <a:cubicBezTo>
                  <a:pt x="46517" y="1283451"/>
                  <a:pt x="724048" y="2826289"/>
                  <a:pt x="759237" y="2881213"/>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ブラジル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4880992" y="2636911"/>
            <a:ext cx="4608512" cy="2018005"/>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MDA</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独立行政法人医薬品医療機器総合機構）と</a:t>
            </a: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VISA</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家衛生監督庁）の間の緊密性の向上を考慮した、医薬品・医療機器の規制関係</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的保健制度の知見と経験の共有</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齢化社会への準備を含む、健康的なライフスタイル及び予防医療の促進のための政策と戦略関係</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人材の強化</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r">
              <a:lnSpc>
                <a:spcPct val="114000"/>
              </a:lnSpc>
              <a:spcAft>
                <a:spcPts val="400"/>
              </a:spcAft>
              <a:buClr>
                <a:srgbClr val="868686"/>
              </a:buClr>
              <a:buSzPct val="90000"/>
            </a:pP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その他、相互の関心分野において協力を行う。</a:t>
            </a:r>
            <a:endParaRPr lang="ja-JP"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円/楕円 1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043489" y="3400422"/>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5043489" y="366299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円/楕円 19"/>
          <p:cNvSpPr/>
          <p:nvPr/>
        </p:nvSpPr>
        <p:spPr>
          <a:xfrm>
            <a:off x="5043489" y="4077677"/>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締結状況</a:t>
              </a:r>
            </a:p>
          </p:txBody>
        </p:sp>
      </p:grpSp>
      <p:sp>
        <p:nvSpPr>
          <p:cNvPr id="25" name="片側の 2 つの角を丸めた四角形 24"/>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ブラジル連邦共和国保健省との間の</a:t>
            </a:r>
            <a:b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に関する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6" name="正方形/長方形 25"/>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4</a:t>
            </a:r>
            <a:r>
              <a:rPr lang="ja-JP" altLang="en-US" sz="1200" dirty="0"/>
              <a:t>年</a:t>
            </a:r>
            <a:r>
              <a:rPr lang="en-US" altLang="ja-JP" sz="1200" dirty="0"/>
              <a:t>8</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squar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ブラジル連邦共和国保健省との間の</a:t>
            </a:r>
            <a:b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Tree>
    <p:extLst>
      <p:ext uri="{BB962C8B-B14F-4D97-AF65-F5344CB8AC3E}">
        <p14:creationId xmlns:p14="http://schemas.microsoft.com/office/powerpoint/2010/main" val="152201842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ブラジル／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が関係するその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2568231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ブラジル／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厚生労働省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による医療関連事業は確認できなかった。</a:t>
            </a:r>
          </a:p>
        </p:txBody>
      </p:sp>
    </p:spTree>
    <p:extLst>
      <p:ext uri="{BB962C8B-B14F-4D97-AF65-F5344CB8AC3E}">
        <p14:creationId xmlns:p14="http://schemas.microsoft.com/office/powerpoint/2010/main" val="167675882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ブラジル／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文部科学省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国際化関連事業は確認できなかった。</a:t>
            </a:r>
          </a:p>
        </p:txBody>
      </p:sp>
    </p:spTree>
    <p:extLst>
      <p:ext uri="{BB962C8B-B14F-4D97-AF65-F5344CB8AC3E}">
        <p14:creationId xmlns:p14="http://schemas.microsoft.com/office/powerpoint/2010/main" val="42250952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r>
              <a:rPr lang="en-US" altLang="ja-JP" dirty="0"/>
              <a:t>1/2</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1697464056"/>
              </p:ext>
            </p:extLst>
          </p:nvPr>
        </p:nvGraphicFramePr>
        <p:xfrm>
          <a:off x="200023" y="1412776"/>
          <a:ext cx="9508778" cy="415404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787799">
                  <a:extLst>
                    <a:ext uri="{9D8B030D-6E8A-4147-A177-3AD203B41FA5}">
                      <a16:colId xmlns:a16="http://schemas.microsoft.com/office/drawing/2014/main" val="20001"/>
                    </a:ext>
                  </a:extLst>
                </a:gridCol>
                <a:gridCol w="2596201">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132258">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24049">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ブラジル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292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アマゾン西部におけるローカル組織の活性化を通じた子どもの保健知識向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rPr>
                        <a:t>※1</a:t>
                      </a: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rPr>
                        <a:t>（パートナー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rPr>
                        <a:t>HANDS</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マニコレ市役所、</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IDEAS</a:t>
                      </a:r>
                      <a:r>
                        <a:rPr lang="ja-JP" altLang="en-US" sz="1000" b="0" i="0" u="none" strike="noStrike" dirty="0" err="1">
                          <a:solidFill>
                            <a:srgbClr val="000000"/>
                          </a:solidFill>
                          <a:effectLst/>
                          <a:latin typeface="Arial" panose="020B0604020202020204" pitchFamily="34" charset="0"/>
                          <a:ea typeface="ＭＳ Ｐゴシック" panose="020B0600070205080204" pitchFamily="50" charset="-128"/>
                        </a:rPr>
                        <a:t>、</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br>
                      <a:r>
                        <a:rPr lang="en-US" altLang="ja-JP" sz="1000" b="0" i="0" u="none" strike="noStrike" dirty="0" err="1">
                          <a:solidFill>
                            <a:srgbClr val="000000"/>
                          </a:solidFill>
                          <a:effectLst/>
                          <a:latin typeface="Arial" panose="020B0604020202020204" pitchFamily="34" charset="0"/>
                          <a:ea typeface="ＭＳ Ｐゴシック" panose="020B0600070205080204" pitchFamily="50" charset="-128"/>
                        </a:rPr>
                        <a:t>Projeto</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 </a:t>
                      </a:r>
                      <a:r>
                        <a:rPr lang="en-US" altLang="ja-JP" sz="1000" b="0" i="0" u="none" strike="noStrike" dirty="0" err="1">
                          <a:solidFill>
                            <a:srgbClr val="000000"/>
                          </a:solidFill>
                          <a:effectLst/>
                          <a:latin typeface="Arial" panose="020B0604020202020204" pitchFamily="34" charset="0"/>
                          <a:ea typeface="ＭＳ Ｐゴシック" panose="020B0600070205080204" pitchFamily="50" charset="-128"/>
                        </a:rPr>
                        <a:t>Arara</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292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IDS</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患者及びその他の免疫不全患者における新規診断法による真菌症対策プロジェクト</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chemeClr val="tx1"/>
                          </a:solidFill>
                          <a:effectLst/>
                          <a:latin typeface="Arial" panose="020B0604020202020204" pitchFamily="34" charset="0"/>
                          <a:ea typeface="ＭＳ Ｐゴシック" panose="020B0600070205080204" pitchFamily="50" charset="-128"/>
                        </a:rPr>
                        <a:t>1.7</a:t>
                      </a:r>
                    </a:p>
                    <a:p>
                      <a:pPr algn="ctr"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rPr>
                        <a:t>（日本側）</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技術協力</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rPr>
                        <a:t>（科学技術）</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千葉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サンパウロ州立カンピーナス大学</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292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ポルトガル語圏アフリカ諸国対象結核対策コース</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技術協力</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エヴァンドロシャーガス研究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292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人間的出産・出生ケアコース</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技術協力</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ソフィアフェルドマン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292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ブラジル・アクレ州の水銀汚染健康モニタリング強化プロジェクト</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rPr>
                        <a:t>※1</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rPr>
                        <a:t>（地域提案型）</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国際水銀ラボ、水俣市、</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国立水俣病総合研究センター</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保健省エバンドロシャーガス研究所、アクレ州リオブランコ</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IEC</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ラボラトリー</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292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経橈骨動脈カテーテル法による虚血性心疾患治療普及促進事業</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民間技術</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endParaRP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普及促進</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rPr>
                        <a:t>※2</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テルモ</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292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クリチバ市における生活習慣病対策を目的としたスマート・ヘルスケア普及促進事業</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民間技術</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endParaRP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普及促進</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rPr>
                        <a:t>※2</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タニタ、タニタヘルスリンク</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近年は、技術協力や</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民間技術普及促進</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事業を中心に実施している。</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ICA </a:t>
            </a:r>
            <a:r>
              <a:rPr lang="ja-JP" altLang="en-US" sz="800" dirty="0"/>
              <a:t>ホームページ</a:t>
            </a:r>
            <a:endParaRPr lang="en-US" altLang="ja-JP" sz="800" dirty="0"/>
          </a:p>
        </p:txBody>
      </p:sp>
      <p:sp>
        <p:nvSpPr>
          <p:cNvPr id="10" name="テキスト ボックス 9"/>
          <p:cNvSpPr txBox="1"/>
          <p:nvPr/>
        </p:nvSpPr>
        <p:spPr>
          <a:xfrm>
            <a:off x="200472" y="5949280"/>
            <a:ext cx="9432478" cy="518091"/>
          </a:xfrm>
          <a:prstGeom prst="rect">
            <a:avLst/>
          </a:prstGeom>
          <a:noFill/>
        </p:spPr>
        <p:txBody>
          <a:bodyPr wrap="square" lIns="0" tIns="0" rIns="0" bIns="0" rtlCol="0">
            <a:spAutoFit/>
          </a:bodyPr>
          <a:lstStyle/>
          <a:p>
            <a:pPr marL="214313" indent="-214313" algn="just">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草の根・人間の安全保障無償資金協力」の事業の一つ。開発途上国の地方公共団体や途上国において活動してい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G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等が現地において実施する比較的小規模なプロジェクト（原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以下の案件）に対し、資金協力を行うもの。開発途上国の草の根レベルに直接裨益するきめの細かい援助であり、また、機動的な対応が可能な「足の速い援助」であるという特徴を有してい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214313" indent="-214313" algn="just">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開発途上国の政府関係者を主な対象に、日本での研修や現地でのセミナー、実証活動等を通じ、日本の民間企業等が持つ優れた製品・技術・システムの理解を促す事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件当たりの上限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健康・医療特別枠の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a:t>
            </a:r>
          </a:p>
        </p:txBody>
      </p:sp>
    </p:spTree>
    <p:extLst>
      <p:ext uri="{BB962C8B-B14F-4D97-AF65-F5344CB8AC3E}">
        <p14:creationId xmlns:p14="http://schemas.microsoft.com/office/powerpoint/2010/main" val="272152288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ブラジル／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r>
              <a:rPr lang="en-US" altLang="ja-JP" dirty="0"/>
              <a:t>2/2</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2166466040"/>
              </p:ext>
            </p:extLst>
          </p:nvPr>
        </p:nvGraphicFramePr>
        <p:xfrm>
          <a:off x="200023" y="1412776"/>
          <a:ext cx="9508778" cy="305412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787799">
                  <a:extLst>
                    <a:ext uri="{9D8B030D-6E8A-4147-A177-3AD203B41FA5}">
                      <a16:colId xmlns:a16="http://schemas.microsoft.com/office/drawing/2014/main" val="20001"/>
                    </a:ext>
                  </a:extLst>
                </a:gridCol>
                <a:gridCol w="2596201">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132258">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24049">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ブラジル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65112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PACS</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による遠隔画像診断技術を活用した医療連携普及促進事業</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民間技術</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普及促進</a:t>
                      </a:r>
                      <a:r>
                        <a:rPr kumimoji="1" lang="en-US" altLang="ja-JP" sz="1000" b="0" i="0" u="none" strike="noStrike" kern="1200" baseline="30000" dirty="0">
                          <a:solidFill>
                            <a:srgbClr val="000000"/>
                          </a:solidFill>
                          <a:effectLst/>
                          <a:latin typeface="Arial" panose="020B0604020202020204" pitchFamily="34" charset="0"/>
                          <a:ea typeface="ＭＳ Ｐゴシック" panose="020B0600070205080204" pitchFamily="50" charset="-128"/>
                          <a:cs typeface="+mn-cs"/>
                        </a:rPr>
                        <a:t>※2</a:t>
                      </a: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健康・医療特別枠）</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富士フイルム</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日系病院関係者、</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国立大学病院関係者</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65112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人間的出産・出生ケア</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個別案件</a:t>
                      </a:r>
                      <a:endPar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mn-cs"/>
                      </a:endParaRP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a:t>
                      </a:r>
                      <a:r>
                        <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第三国研修</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ソフィアフェルドマン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65112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ブラジルと日本の薬剤耐性を含む真菌感染症診断に関する研究とリファレンス協力体制強化プロジェクト</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技術協力</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科学技術）</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サンパウロ州立カンピーナス大学医学部</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5112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SBC</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病院緩和ケア教育プロジェクト</a:t>
                      </a:r>
                    </a:p>
                  </a:txBody>
                  <a:tcPr marL="72000" marR="72000"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草の根技協</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mn-cs"/>
                        </a:rPr>
                        <a:t>（支援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学校法人日本赤十字学園　日本赤十字北海道看護大学 </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 </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北見赤十字病院</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rPr>
                        <a:t>SBC</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rPr>
                        <a:t>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近年は、技術協力や</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民間技術普及促進</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事業を中心に実施している。</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ICA </a:t>
            </a:r>
            <a:r>
              <a:rPr lang="ja-JP" altLang="en-US" sz="800" dirty="0"/>
              <a:t>ホームページ</a:t>
            </a:r>
            <a:endParaRPr lang="en-US" altLang="ja-JP" sz="800" dirty="0"/>
          </a:p>
        </p:txBody>
      </p:sp>
      <p:sp>
        <p:nvSpPr>
          <p:cNvPr id="10" name="テキスト ボックス 9"/>
          <p:cNvSpPr txBox="1"/>
          <p:nvPr/>
        </p:nvSpPr>
        <p:spPr>
          <a:xfrm>
            <a:off x="200472" y="6207115"/>
            <a:ext cx="9432478" cy="246221"/>
          </a:xfrm>
          <a:prstGeom prst="rect">
            <a:avLst/>
          </a:prstGeom>
          <a:noFill/>
        </p:spPr>
        <p:txBody>
          <a:bodyPr wrap="square" lIns="0" tIns="0" rIns="0" bIns="0" rtlCol="0">
            <a:spAutoFit/>
          </a:bodyPr>
          <a:lstStyle/>
          <a:p>
            <a:pPr marL="214313" indent="-214313" algn="just">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開発途上国の政府関係者を主な対象に、日本での研修や現地でのセミナー、実証活動等を通じ、日本の民間企業等が持つ優れた製品・技術・システムの理解を促す事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件当たりの上限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健康・医療特別枠の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a:t>
            </a:r>
          </a:p>
        </p:txBody>
      </p:sp>
    </p:spTree>
    <p:extLst>
      <p:ext uri="{BB962C8B-B14F-4D97-AF65-F5344CB8AC3E}">
        <p14:creationId xmlns:p14="http://schemas.microsoft.com/office/powerpoint/2010/main" val="81177654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ブラジル／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1839290736"/>
              </p:ext>
            </p:extLst>
          </p:nvPr>
        </p:nvGraphicFramePr>
        <p:xfrm>
          <a:off x="200472" y="1340768"/>
          <a:ext cx="9504000" cy="45747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肥満・糖尿病モデル動物におけるプロポリス由来機能性化合物の有効性検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中部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肥満・糖尿病の予防・改善効果のある新規機能性食品を開発することを第</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目的として、生体内吸収性改善のための脂質ナノ粒子化ブラジル産グリーンプロポリス製剤を作製して、物理化学的性状を解析</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第</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目的として、ブラジル産グリーンプロポリスのさらなる高付加価値化と科学的エビデンスの強化のために、ブラジル産グリーンプロポリス含まれる新規機能性成分を種々の細胞系を用いて探索し、作用機構を解析</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マゾンフルーツのナノサプリ開発</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老化と健康に及ぼす栄養ゲノミクスおよび栄養遺伝学的影響</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首都大学東京</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生活習慣病の予防や健康寿命の延長に有効なナノサプリメントの開発を目的として、アマゾン原産のグアラナ果実（</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F</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機能性を分子、細胞、個体レベルで解明</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を媒介する節足動物の対策に関する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endParaRPr lang="zh-CN" altLang="en-US"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zh-CN" altLang="en-US" sz="1000" dirty="0">
                          <a:latin typeface="Arial" panose="020B0604020202020204" pitchFamily="34" charset="0"/>
                          <a:ea typeface="ＭＳ Ｐゴシック" panose="020B0600070205080204" pitchFamily="50" charset="-128"/>
                          <a:cs typeface="Arial" panose="020B0604020202020204" pitchFamily="34" charset="0"/>
                        </a:rPr>
                        <a:t>    国立感染症研究所</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ング熱やチクングニア熱、近年ブラジルを中心に南北米大陸に拡大しているジカウイルス感染症をはじめとする新興・再興感染症を媒介するベクターの海外からの侵入の可能性や国内における分布・生息域の変化を踏まえた効果的な防除法等、ベクターコントロールの手法を確立することを目標とし、基礎的情報の収集と対策に向けた調査・研究を実施</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1</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ブラジルと日本の薬剤耐性を含む真菌感染症診断に関する研究とリファレンス協力体制強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千葉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内の深在性真菌症患者からの臨床分離株の収集を開始し、菌種の同定、薬剤感受性試験を行い、薬剤耐性と判定された株について耐性遺伝子の探索を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32665781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角丸四角形 8"/>
          <p:cNvSpPr/>
          <p:nvPr/>
        </p:nvSpPr>
        <p:spPr>
          <a:xfrm>
            <a:off x="1064568" y="2557664"/>
            <a:ext cx="3137952" cy="432050"/>
          </a:xfrm>
          <a:prstGeom prst="roundRect">
            <a:avLst>
              <a:gd name="adj" fmla="val 10050"/>
            </a:avLst>
          </a:prstGeom>
          <a:noFill/>
          <a:ln w="9525" cap="flat" cmpd="sng" algn="ctr">
            <a:noFill/>
            <a:prstDash val="solid"/>
            <a:round/>
            <a:headEnd type="none" w="med" len="med"/>
            <a:tailEnd type="none" w="med" len="med"/>
          </a:ln>
          <a:effectLst>
            <a:glow rad="50800">
              <a:schemeClr val="bg1">
                <a:lumMod val="50000"/>
                <a:alpha val="40000"/>
              </a:schemeClr>
            </a:glow>
            <a:softEdge rad="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3D6AA7"/>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Ins="0" rtlCol="0" anchor="ctr"/>
          <a:lstStyle/>
          <a:p>
            <a:pPr marL="139700" indent="-139700">
              <a:lnSpc>
                <a:spcPct val="113000"/>
              </a:lnSpc>
              <a:spcAft>
                <a:spcPts val="200"/>
              </a:spcAft>
              <a:buClr>
                <a:schemeClr val="bg1">
                  <a:lumMod val="50000"/>
                </a:schemeClr>
              </a:buClr>
              <a:buSzPct val="80000"/>
              <a:buFont typeface="Wingdings" panose="05000000000000000000" pitchFamily="2" charset="2"/>
              <a:buChar char="l"/>
            </a:pPr>
            <a:endParaRPr lang="ja-JP" altLang="en-US" sz="1200" dirty="0">
              <a:solidFill>
                <a:schemeClr val="tx1"/>
              </a:solidFill>
              <a:latin typeface="Arial" panose="020B0604020202020204" pitchFamily="34" charset="0"/>
              <a:ea typeface="ＭＳ Ｐゴシック" panose="020B0600070205080204" pitchFamily="50" charset="-128"/>
            </a:endParaRPr>
          </a:p>
        </p:txBody>
      </p:sp>
      <p:sp>
        <p:nvSpPr>
          <p:cNvPr id="2" name="タイトル 1"/>
          <p:cNvSpPr>
            <a:spLocks noGrp="1"/>
          </p:cNvSpPr>
          <p:nvPr>
            <p:ph type="title"/>
          </p:nvPr>
        </p:nvSpPr>
        <p:spPr/>
        <p:txBody>
          <a:bodyPr/>
          <a:lstStyle/>
          <a:p>
            <a:r>
              <a:rPr lang="ja-JP" altLang="en-US" dirty="0">
                <a:solidFill>
                  <a:srgbClr val="000000"/>
                </a:solidFill>
                <a:latin typeface="HGP創英角ｺﾞｼｯｸUB"/>
                <a:ea typeface="HGP創英角ｺﾞｼｯｸUB"/>
              </a:rPr>
              <a:t>ブラジル／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国際化関連事業</a:t>
            </a:r>
          </a:p>
        </p:txBody>
      </p:sp>
      <p:sp>
        <p:nvSpPr>
          <p:cNvPr id="4" name="テキスト ボックス 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下記のほ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在ブラジル日系医療機器メーカ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日本大使館、ブラジル日本商工会議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よ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国家衛生監督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NVI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官民合同対話を行った。</a:t>
            </a:r>
          </a:p>
        </p:txBody>
      </p:sp>
      <p:grpSp>
        <p:nvGrpSpPr>
          <p:cNvPr id="22" name="グループ化 21"/>
          <p:cNvGrpSpPr/>
          <p:nvPr/>
        </p:nvGrpSpPr>
        <p:grpSpPr>
          <a:xfrm rot="767249">
            <a:off x="7281420" y="3471926"/>
            <a:ext cx="1224136" cy="1656184"/>
            <a:chOff x="2432720" y="3429000"/>
            <a:chExt cx="1224136" cy="1656184"/>
          </a:xfrm>
        </p:grpSpPr>
        <p:sp>
          <p:nvSpPr>
            <p:cNvPr id="17" name="正方形/長方形 16"/>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1" name="直線コネクタ 20"/>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44" name="グループ化 43"/>
          <p:cNvGrpSpPr/>
          <p:nvPr/>
        </p:nvGrpSpPr>
        <p:grpSpPr>
          <a:xfrm rot="767249">
            <a:off x="7809565" y="3975982"/>
            <a:ext cx="1224136" cy="1656184"/>
            <a:chOff x="2432720" y="3429000"/>
            <a:chExt cx="1224136" cy="1656184"/>
          </a:xfrm>
        </p:grpSpPr>
        <p:sp>
          <p:nvSpPr>
            <p:cNvPr id="45" name="正方形/長方形 44"/>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6" name="直線コネクタ 45"/>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8" name="正方形/長方形 7"/>
          <p:cNvSpPr/>
          <p:nvPr/>
        </p:nvSpPr>
        <p:spPr>
          <a:xfrm>
            <a:off x="6321226" y="2305335"/>
            <a:ext cx="3168278" cy="2855910"/>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ea typeface="ＭＳ Ｐゴシック" panose="020B0600070205080204" pitchFamily="50" charset="-128"/>
              </a:rPr>
              <a:t>ブラジルの医療機器市場と規制</a:t>
            </a:r>
            <a:br>
              <a:rPr lang="en-US" altLang="ja-JP" sz="1400" dirty="0">
                <a:ea typeface="ＭＳ Ｐゴシック" panose="020B0600070205080204" pitchFamily="50" charset="-128"/>
              </a:rPr>
            </a:br>
            <a:r>
              <a:rPr lang="ja-JP" altLang="en-US" sz="1400" dirty="0">
                <a:ea typeface="ＭＳ Ｐゴシック" panose="020B0600070205080204" pitchFamily="50" charset="-128"/>
              </a:rPr>
              <a:t>（</a:t>
            </a:r>
            <a:r>
              <a:rPr lang="en-US" altLang="ja-JP" sz="1400" dirty="0">
                <a:ea typeface="ＭＳ Ｐゴシック" panose="020B0600070205080204" pitchFamily="50" charset="-128"/>
                <a:cs typeface="Arial" panose="020B0604020202020204" pitchFamily="34" charset="0"/>
              </a:rPr>
              <a:t>2012</a:t>
            </a:r>
            <a:r>
              <a:rPr lang="ja-JP" altLang="en-US" sz="1400" dirty="0">
                <a:ea typeface="ＭＳ Ｐゴシック" panose="020B0600070205080204" pitchFamily="50" charset="-128"/>
              </a:rPr>
              <a:t>年）</a:t>
            </a:r>
            <a:endParaRPr lang="en-US" altLang="ja-JP" sz="1400" dirty="0">
              <a:ea typeface="ＭＳ Ｐゴシック" panose="020B0600070205080204" pitchFamily="50" charset="-128"/>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ea typeface="ＭＳ Ｐゴシック" panose="020B0600070205080204" pitchFamily="50" charset="-128"/>
              </a:rPr>
              <a:t>中南米の医療機器市場</a:t>
            </a:r>
            <a:br>
              <a:rPr lang="en-US" altLang="ja-JP" sz="1400" dirty="0">
                <a:ea typeface="ＭＳ Ｐゴシック" panose="020B0600070205080204" pitchFamily="50" charset="-128"/>
              </a:rPr>
            </a:br>
            <a:r>
              <a:rPr lang="ja-JP" altLang="en-US" sz="1400" dirty="0">
                <a:ea typeface="ＭＳ Ｐゴシック" panose="020B0600070205080204" pitchFamily="50" charset="-128"/>
              </a:rPr>
              <a:t>（</a:t>
            </a:r>
            <a:r>
              <a:rPr lang="en-US" altLang="ja-JP" sz="1400" dirty="0">
                <a:ea typeface="ＭＳ Ｐゴシック" panose="020B0600070205080204" pitchFamily="50" charset="-128"/>
                <a:cs typeface="Arial" panose="020B0604020202020204" pitchFamily="34" charset="0"/>
              </a:rPr>
              <a:t>2013</a:t>
            </a:r>
            <a:r>
              <a:rPr lang="ja-JP" altLang="en-US" sz="1400" dirty="0">
                <a:ea typeface="ＭＳ Ｐゴシック" panose="020B0600070205080204" pitchFamily="50" charset="-128"/>
              </a:rPr>
              <a:t>年）</a:t>
            </a:r>
            <a:endParaRPr lang="en-US" altLang="ja-JP" sz="1400" dirty="0">
              <a:ea typeface="ＭＳ Ｐゴシック" panose="020B0600070205080204" pitchFamily="50" charset="-128"/>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ea typeface="ＭＳ Ｐゴシック" panose="020B0600070205080204" pitchFamily="50" charset="-128"/>
              </a:rPr>
              <a:t>中南米の医療機器市場の最新動向（</a:t>
            </a:r>
            <a:r>
              <a:rPr lang="en-US" altLang="ja-JP" sz="1400" dirty="0">
                <a:ea typeface="ＭＳ Ｐゴシック" panose="020B0600070205080204" pitchFamily="50" charset="-128"/>
              </a:rPr>
              <a:t>2015</a:t>
            </a:r>
            <a:r>
              <a:rPr lang="ja-JP" altLang="en-US" sz="1400" dirty="0">
                <a:ea typeface="ＭＳ Ｐゴシック" panose="020B0600070205080204" pitchFamily="50" charset="-128"/>
              </a:rPr>
              <a:t>年）</a:t>
            </a:r>
            <a:endParaRPr lang="en-US" altLang="ja-JP" sz="1400" dirty="0">
              <a:ea typeface="ＭＳ Ｐゴシック" panose="020B0600070205080204" pitchFamily="50" charset="-128"/>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ea typeface="ＭＳ Ｐゴシック" panose="020B0600070205080204" pitchFamily="50" charset="-128"/>
              </a:rPr>
              <a:t>ブラジル国家衛生監督庁（</a:t>
            </a:r>
            <a:r>
              <a:rPr lang="en-US" altLang="ja-JP" sz="1400" dirty="0">
                <a:ea typeface="ＭＳ Ｐゴシック" panose="020B0600070205080204" pitchFamily="50" charset="-128"/>
              </a:rPr>
              <a:t>ANVISA</a:t>
            </a:r>
            <a:r>
              <a:rPr lang="ja-JP" altLang="en-US" sz="1400" dirty="0">
                <a:ea typeface="ＭＳ Ｐゴシック" panose="020B0600070205080204" pitchFamily="50" charset="-128"/>
              </a:rPr>
              <a:t>）の認証・登録制度の概要（</a:t>
            </a:r>
            <a:r>
              <a:rPr lang="en-US" altLang="ja-JP" sz="1400" dirty="0">
                <a:ea typeface="ＭＳ Ｐゴシック" panose="020B0600070205080204" pitchFamily="50" charset="-128"/>
              </a:rPr>
              <a:t>2015</a:t>
            </a:r>
            <a:r>
              <a:rPr lang="ja-JP" altLang="en-US" sz="1400" dirty="0">
                <a:ea typeface="ＭＳ Ｐゴシック" panose="020B0600070205080204" pitchFamily="50" charset="-128"/>
              </a:rPr>
              <a:t>年）</a:t>
            </a:r>
            <a:endParaRPr lang="en-US" altLang="ja-JP" sz="1400" dirty="0">
              <a:ea typeface="ＭＳ Ｐゴシック" panose="020B0600070205080204" pitchFamily="50" charset="-128"/>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ea typeface="ＭＳ Ｐゴシック" panose="020B0600070205080204" pitchFamily="50" charset="-128"/>
              </a:rPr>
              <a:t>主要国・地域の健康長寿関連市場の動向調査（</a:t>
            </a:r>
            <a:r>
              <a:rPr lang="en-US" altLang="ja-JP" sz="1400" dirty="0">
                <a:ea typeface="ＭＳ Ｐゴシック" panose="020B0600070205080204" pitchFamily="50" charset="-128"/>
              </a:rPr>
              <a:t>2016</a:t>
            </a:r>
            <a:r>
              <a:rPr lang="ja-JP" altLang="en-US" sz="1400" dirty="0">
                <a:ea typeface="ＭＳ Ｐゴシック" panose="020B0600070205080204" pitchFamily="50" charset="-128"/>
              </a:rPr>
              <a:t>年）</a:t>
            </a:r>
            <a:endParaRPr lang="en-US" altLang="ja-JP" sz="1400" dirty="0">
              <a:ea typeface="ＭＳ Ｐゴシック" panose="020B0600070205080204" pitchFamily="50" charset="-128"/>
            </a:endParaRPr>
          </a:p>
        </p:txBody>
      </p:sp>
      <p:sp>
        <p:nvSpPr>
          <p:cNvPr id="66" name="正方形/長方形 65"/>
          <p:cNvSpPr/>
          <p:nvPr/>
        </p:nvSpPr>
        <p:spPr>
          <a:xfrm>
            <a:off x="560514" y="3640460"/>
            <a:ext cx="5112566" cy="1274580"/>
          </a:xfrm>
          <a:prstGeom prst="rect">
            <a:avLst/>
          </a:prstGeom>
        </p:spPr>
        <p:txBody>
          <a:bodyPr wrap="square">
            <a:spAutoFit/>
          </a:bodyPr>
          <a:lstStyle/>
          <a:p>
            <a:pPr marL="139700" indent="-139700" algn="just">
              <a:lnSpc>
                <a:spcPct val="114000"/>
              </a:lnSpc>
              <a:spcBef>
                <a:spcPts val="300"/>
              </a:spcBef>
              <a:buClr>
                <a:srgbClr val="5F8AC3"/>
              </a:buClr>
              <a:buSzPct val="9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安倍総理大臣のブラジル訪問に合わせ開催された。安倍総理や</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ANVIS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のバルバーノ長官を始め、両国の政府・企業・報道関係者など、</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35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名以上が参加した。</a:t>
            </a:r>
          </a:p>
          <a:p>
            <a:pPr marL="139700" indent="-139700" algn="just">
              <a:lnSpc>
                <a:spcPct val="114000"/>
              </a:lnSpc>
              <a:spcBef>
                <a:spcPts val="300"/>
              </a:spcBef>
              <a:buClr>
                <a:srgbClr val="5F8AC3"/>
              </a:buClr>
              <a:buSzPct val="9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PMD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からは、新薬の承認審査に長い時間がかかる「ドラッグ・ラグ」問題について、今後、</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ANVIS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と協力していくことが提案された。</a:t>
            </a:r>
          </a:p>
          <a:p>
            <a:pPr marL="139700" indent="-139700" algn="just">
              <a:lnSpc>
                <a:spcPct val="114000"/>
              </a:lnSpc>
              <a:spcBef>
                <a:spcPts val="300"/>
              </a:spcBef>
              <a:buClr>
                <a:srgbClr val="5F8AC3"/>
              </a:buClr>
              <a:buSzPct val="90000"/>
              <a:buFont typeface="Wingdings" panose="05000000000000000000" pitchFamily="2" charset="2"/>
              <a:buChar char="l"/>
            </a:pPr>
            <a:r>
              <a:rPr lang="en-US" altLang="ja-JP" sz="1050" spc="-30" dirty="0">
                <a:latin typeface="Arial" panose="020B0604020202020204" pitchFamily="34" charset="0"/>
                <a:ea typeface="ＭＳ Ｐゴシック" panose="020B0600070205080204" pitchFamily="50" charset="-128"/>
                <a:cs typeface="Arial" panose="020B0604020202020204" pitchFamily="34" charset="0"/>
              </a:rPr>
              <a:t>ANVISA</a:t>
            </a:r>
            <a:r>
              <a:rPr lang="ja-JP" altLang="en-US" sz="1050" spc="-30" dirty="0">
                <a:latin typeface="Arial" panose="020B0604020202020204" pitchFamily="34" charset="0"/>
                <a:ea typeface="ＭＳ Ｐゴシック" panose="020B0600070205080204" pitchFamily="50" charset="-128"/>
                <a:cs typeface="Arial" panose="020B0604020202020204" pitchFamily="34" charset="0"/>
              </a:rPr>
              <a:t>からは、更なる審査体制の整備や審査の迅速化・効率化のために、日本と</a:t>
            </a:r>
            <a:r>
              <a:rPr lang="ja-JP" altLang="en-US" sz="1050" spc="-60" dirty="0">
                <a:latin typeface="Arial" panose="020B0604020202020204" pitchFamily="34" charset="0"/>
                <a:ea typeface="ＭＳ Ｐゴシック" panose="020B0600070205080204" pitchFamily="50" charset="-128"/>
                <a:cs typeface="Arial" panose="020B0604020202020204" pitchFamily="34" charset="0"/>
              </a:rPr>
              <a:t>のインターンシップ・プログラムなど</a:t>
            </a:r>
            <a:r>
              <a:rPr lang="ja-JP" altLang="en-US" sz="1050" spc="-30" dirty="0">
                <a:latin typeface="Arial" panose="020B0604020202020204" pitchFamily="34" charset="0"/>
                <a:ea typeface="ＭＳ Ｐゴシック" panose="020B0600070205080204" pitchFamily="50" charset="-128"/>
                <a:cs typeface="Arial" panose="020B0604020202020204" pitchFamily="34" charset="0"/>
              </a:rPr>
              <a:t>を導入し、両国の共同活動を開始したいとの発言があった。 </a:t>
            </a:r>
          </a:p>
        </p:txBody>
      </p:sp>
      <p:grpSp>
        <p:nvGrpSpPr>
          <p:cNvPr id="68" name="グループ化 7"/>
          <p:cNvGrpSpPr/>
          <p:nvPr/>
        </p:nvGrpSpPr>
        <p:grpSpPr>
          <a:xfrm>
            <a:off x="344488" y="1916832"/>
            <a:ext cx="5472608" cy="288032"/>
            <a:chOff x="4803500" y="2113806"/>
            <a:chExt cx="2954133" cy="288032"/>
          </a:xfrm>
        </p:grpSpPr>
        <p:cxnSp>
          <p:nvCxnSpPr>
            <p:cNvPr id="72" name="直線コネクタ 7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日ブラジル医療分野規制に関するセミナー</a:t>
              </a:r>
              <a:r>
                <a:rPr lang="zh-TW" altLang="en-US" sz="1400" dirty="0">
                  <a:solidFill>
                    <a:srgbClr val="000000"/>
                  </a:solidFill>
                  <a:latin typeface="Arial Black" pitchFamily="34" charset="0"/>
                  <a:ea typeface="HGP創英角ｺﾞｼｯｸUB" pitchFamily="50" charset="-128"/>
                </a:rPr>
                <a:t>」主催</a:t>
              </a:r>
            </a:p>
          </p:txBody>
        </p:sp>
      </p:grpSp>
      <p:grpSp>
        <p:nvGrpSpPr>
          <p:cNvPr id="74" name="グループ化 7"/>
          <p:cNvGrpSpPr/>
          <p:nvPr/>
        </p:nvGrpSpPr>
        <p:grpSpPr>
          <a:xfrm>
            <a:off x="6105128" y="1916832"/>
            <a:ext cx="3456384" cy="288032"/>
            <a:chOff x="4803500" y="2113806"/>
            <a:chExt cx="2954133" cy="288032"/>
          </a:xfrm>
        </p:grpSpPr>
        <p:cxnSp>
          <p:nvCxnSpPr>
            <p:cNvPr id="75" name="直線コネクタ 7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
        <p:nvSpPr>
          <p:cNvPr id="69" name="テキスト プレースホルダー 1"/>
          <p:cNvSpPr txBox="1">
            <a:spLocks/>
          </p:cNvSpPr>
          <p:nvPr/>
        </p:nvSpPr>
        <p:spPr>
          <a:xfrm>
            <a:off x="560514" y="5501916"/>
            <a:ext cx="5112568" cy="1051891"/>
          </a:xfrm>
          <a:prstGeom prst="rect">
            <a:avLst/>
          </a:prstGeom>
        </p:spPr>
        <p:txBody>
          <a:bodyPr wrap="square">
            <a:spAutoFit/>
          </a:bodyPr>
          <a:lstStyle>
            <a:defPPr>
              <a:defRPr lang="ja-JP"/>
            </a:defPPr>
            <a:lvl1pPr marL="195263" indent="-195263" algn="just">
              <a:lnSpc>
                <a:spcPct val="114000"/>
              </a:lnSpc>
              <a:spcBef>
                <a:spcPts val="300"/>
              </a:spcBef>
              <a:buClr>
                <a:srgbClr val="5F8AC3"/>
              </a:buClr>
              <a:buSzPct val="90000"/>
              <a:buFont typeface="Wingdings" panose="05000000000000000000" pitchFamily="2" charset="2"/>
              <a:buChar char="l"/>
              <a:defRPr sz="1050">
                <a:latin typeface="Arial" panose="020B0604020202020204" pitchFamily="34" charset="0"/>
                <a:ea typeface="ＭＳ Ｐゴシック" panose="020B0600070205080204" pitchFamily="50" charset="-128"/>
                <a:cs typeface="Arial" panose="020B0604020202020204" pitchFamily="34" charset="0"/>
              </a:defRPr>
            </a:lvl1pPr>
          </a:lstStyle>
          <a:p>
            <a:pPr marL="146050" lvl="1" indent="-146050" algn="just">
              <a:lnSpc>
                <a:spcPct val="114000"/>
              </a:lnSpc>
              <a:spcBef>
                <a:spcPts val="300"/>
              </a:spcBef>
              <a:buClr>
                <a:srgbClr val="5F8AC3"/>
              </a:buClr>
              <a:buSzPct val="90000"/>
              <a:buFont typeface="Wingdings" panose="05000000000000000000" pitchFamily="2" charset="2"/>
              <a:buChar char="l"/>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ANIVIS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からは、</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に新たに就任したバルボーザ長官が出席。このほか、両国の官民関係者約</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7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名が参加した。</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46050" lvl="1" indent="-146050" algn="just">
              <a:lnSpc>
                <a:spcPct val="114000"/>
              </a:lnSpc>
              <a:spcBef>
                <a:spcPts val="300"/>
              </a:spcBef>
              <a:buClr>
                <a:srgbClr val="5F8AC3"/>
              </a:buClr>
              <a:buSzPct val="90000"/>
              <a:buFont typeface="Wingdings" panose="05000000000000000000" pitchFamily="2" charset="2"/>
              <a:buChar char="l"/>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セミナーでは、「日本ブラジル産業界の協力関係強化」、「審査効率化」、「</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QMS/GMP</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品質管理基準）システムと国際協力」、「先端医療に関する薬事規制対応」という</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5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テーマに沿って、発表</a:t>
            </a:r>
            <a:r>
              <a:rPr lang="ja-JP" altLang="en-US" sz="1050" dirty="0"/>
              <a:t>やパネルディスカッションが行われた。</a:t>
            </a:r>
            <a:endParaRPr lang="en-US" altLang="ja-JP" sz="1050" dirty="0"/>
          </a:p>
        </p:txBody>
      </p:sp>
      <p:sp>
        <p:nvSpPr>
          <p:cNvPr id="71" name="角丸四角形 70"/>
          <p:cNvSpPr/>
          <p:nvPr/>
        </p:nvSpPr>
        <p:spPr>
          <a:xfrm>
            <a:off x="560514" y="4934986"/>
            <a:ext cx="5112568" cy="538700"/>
          </a:xfrm>
          <a:prstGeom prst="roundRect">
            <a:avLst>
              <a:gd name="adj" fmla="val 10001"/>
            </a:avLst>
          </a:prstGeom>
          <a:noFill/>
          <a:ln w="19050" cap="flat" cmpd="sng" algn="ctr">
            <a:solidFill>
              <a:srgbClr val="3D6AA7"/>
            </a:solidFill>
            <a:prstDash val="solid"/>
            <a:round/>
            <a:headEnd type="none" w="med" len="med"/>
            <a:tailEnd type="none" w="med" len="med"/>
          </a:ln>
          <a:extLst>
            <a:ext uri="{909E8E84-426E-40DD-AFC4-6F175D3DCCD1}">
              <a14:hiddenFill xmlns:a14="http://schemas.microsoft.com/office/drawing/2010/main">
                <a:solidFill>
                  <a:srgbClr val="CCDAEC"/>
                </a:solidFill>
              </a14:hiddenFill>
            </a:ext>
          </a:extLst>
        </p:spPr>
        <p:txBody>
          <a:bodyPr rot="0" spcFirstLastPara="0" vertOverflow="overflow" horzOverflow="overflow" vert="horz" wrap="square" lIns="756000" tIns="0" rIns="0" bIns="18000" numCol="1" spcCol="0" rtlCol="0" fromWordArt="0" anchor="ctr" anchorCtr="0" forceAA="0" compatLnSpc="1">
            <a:prstTxWarp prst="textNoShape">
              <a:avLst/>
            </a:prstTxWarp>
            <a:noAutofit/>
          </a:bodyPr>
          <a:lstStyle/>
          <a:p>
            <a:pPr marL="0" lvl="2" fontAlgn="ctr">
              <a:lnSpc>
                <a:spcPct val="113000"/>
              </a:lnSpc>
              <a:spcBef>
                <a:spcPts val="300"/>
              </a:spcBef>
            </a:pPr>
            <a:r>
              <a:rPr lang="ja-JP" altLang="en-US" sz="1400" spc="-50" dirty="0">
                <a:latin typeface="HGP創英角ｺﾞｼｯｸUB" panose="020B0900000000000000" pitchFamily="50" charset="-128"/>
                <a:ea typeface="HGP創英角ｺﾞｼｯｸUB" panose="020B0900000000000000" pitchFamily="50" charset="-128"/>
                <a:cs typeface="Arial" panose="020B0604020202020204" pitchFamily="34" charset="0"/>
              </a:rPr>
              <a:t>第</a:t>
            </a:r>
            <a:r>
              <a:rPr lang="en-US" altLang="ja-JP" sz="1400" spc="-50" dirty="0">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lang="ja-JP" altLang="en-US" sz="1400" spc="-50" dirty="0">
                <a:latin typeface="HGP創英角ｺﾞｼｯｸUB" panose="020B0900000000000000" pitchFamily="50" charset="-128"/>
                <a:ea typeface="HGP創英角ｺﾞｼｯｸUB" panose="020B0900000000000000" pitchFamily="50" charset="-128"/>
                <a:cs typeface="Arial" panose="020B0604020202020204" pitchFamily="34" charset="0"/>
              </a:rPr>
              <a:t>回 日本－ブラジル医療分野規制に関するセミナー</a:t>
            </a:r>
          </a:p>
        </p:txBody>
      </p:sp>
      <p:sp>
        <p:nvSpPr>
          <p:cNvPr id="78" name="片側の 2 つの角を丸めた四角形 77"/>
          <p:cNvSpPr/>
          <p:nvPr/>
        </p:nvSpPr>
        <p:spPr>
          <a:xfrm rot="16200000">
            <a:off x="609594" y="4885906"/>
            <a:ext cx="538702" cy="636860"/>
          </a:xfrm>
          <a:prstGeom prst="round2SameRect">
            <a:avLst>
              <a:gd name="adj1" fmla="val 3979"/>
              <a:gd name="adj2" fmla="val 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lIns="72000" tIns="0" rIns="72000" bIns="36000" rtlCol="0" anchor="ct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200" b="1" spc="-300" dirty="0">
                <a:latin typeface="Arial" panose="020B0604020202020204" pitchFamily="34" charset="0"/>
                <a:ea typeface="ＭＳ Ｐゴシック" panose="020B0600070205080204" pitchFamily="50" charset="-128"/>
                <a:cs typeface="Arial" panose="020B0604020202020204" pitchFamily="34" charset="0"/>
              </a:rPr>
              <a:t>年 </a:t>
            </a:r>
            <a:endPar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角丸四角形 78"/>
          <p:cNvSpPr/>
          <p:nvPr/>
        </p:nvSpPr>
        <p:spPr>
          <a:xfrm>
            <a:off x="560514" y="3058287"/>
            <a:ext cx="5112568" cy="538700"/>
          </a:xfrm>
          <a:prstGeom prst="roundRect">
            <a:avLst>
              <a:gd name="adj" fmla="val 10001"/>
            </a:avLst>
          </a:prstGeom>
          <a:noFill/>
          <a:ln w="19050" cap="flat" cmpd="sng" algn="ctr">
            <a:solidFill>
              <a:srgbClr val="3D6AA7"/>
            </a:solidFill>
            <a:prstDash val="solid"/>
            <a:round/>
            <a:headEnd type="none" w="med" len="med"/>
            <a:tailEnd type="none" w="med" len="med"/>
          </a:ln>
          <a:extLst>
            <a:ext uri="{909E8E84-426E-40DD-AFC4-6F175D3DCCD1}">
              <a14:hiddenFill xmlns:a14="http://schemas.microsoft.com/office/drawing/2010/main">
                <a:solidFill>
                  <a:srgbClr val="CCDAEC"/>
                </a:solidFill>
              </a14:hiddenFill>
            </a:ext>
          </a:extLst>
        </p:spPr>
        <p:txBody>
          <a:bodyPr rot="0" spcFirstLastPara="0" vertOverflow="overflow" horzOverflow="overflow" vert="horz" wrap="square" lIns="756000" tIns="0" rIns="0" bIns="18000" numCol="1" spcCol="0" rtlCol="0" fromWordArt="0" anchor="ctr" anchorCtr="0" forceAA="0" compatLnSpc="1">
            <a:prstTxWarp prst="textNoShape">
              <a:avLst/>
            </a:prstTxWarp>
            <a:noAutofit/>
          </a:bodyPr>
          <a:lstStyle/>
          <a:p>
            <a:pPr marL="0" lvl="2" fontAlgn="ctr">
              <a:lnSpc>
                <a:spcPct val="113000"/>
              </a:lnSpc>
              <a:spcBef>
                <a:spcPts val="300"/>
              </a:spcBef>
            </a:pPr>
            <a:r>
              <a:rPr lang="ja-JP" altLang="en-US" sz="1400" spc="-50" dirty="0">
                <a:latin typeface="Arial Black" panose="020B0A04020102020204" pitchFamily="34" charset="0"/>
                <a:ea typeface="HGP創英角ｺﾞｼｯｸUB" panose="020B0900000000000000" pitchFamily="50" charset="-128"/>
                <a:cs typeface="Arial" panose="020B0604020202020204" pitchFamily="34" charset="0"/>
              </a:rPr>
              <a:t>日ブラジル医療分野規制に関するセミナー</a:t>
            </a:r>
          </a:p>
        </p:txBody>
      </p:sp>
      <p:sp>
        <p:nvSpPr>
          <p:cNvPr id="80" name="片側の 2 つの角を丸めた四角形 79"/>
          <p:cNvSpPr/>
          <p:nvPr/>
        </p:nvSpPr>
        <p:spPr>
          <a:xfrm rot="16200000">
            <a:off x="609594" y="3009207"/>
            <a:ext cx="538702" cy="636860"/>
          </a:xfrm>
          <a:prstGeom prst="round2SameRect">
            <a:avLst>
              <a:gd name="adj1" fmla="val 3979"/>
              <a:gd name="adj2" fmla="val 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lIns="72000" tIns="0" rIns="72000" bIns="36000" rtlCol="0" anchor="ct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200" b="1" spc="-300" dirty="0">
                <a:latin typeface="Arial" panose="020B0604020202020204" pitchFamily="34" charset="0"/>
                <a:ea typeface="ＭＳ Ｐゴシック" panose="020B0600070205080204" pitchFamily="50" charset="-128"/>
                <a:cs typeface="Arial" panose="020B0604020202020204" pitchFamily="34" charset="0"/>
              </a:rPr>
              <a:t>年 </a:t>
            </a:r>
            <a:endPar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1" name="片側の 2 つの角を丸めた四角形 80"/>
          <p:cNvSpPr/>
          <p:nvPr/>
        </p:nvSpPr>
        <p:spPr>
          <a:xfrm rot="16200000">
            <a:off x="609594" y="2337163"/>
            <a:ext cx="538702" cy="636860"/>
          </a:xfrm>
          <a:prstGeom prst="round2SameRect">
            <a:avLst>
              <a:gd name="adj1" fmla="val 8940"/>
              <a:gd name="adj2" fmla="val 0"/>
            </a:avLst>
          </a:prstGeom>
          <a:solidFill>
            <a:srgbClr val="868686"/>
          </a:solidFill>
          <a:ln w="9525" cap="flat" cmpd="sng" algn="ctr">
            <a:solidFill>
              <a:srgbClr val="86868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eaVert" lIns="72000" tIns="0" rIns="72000" bIns="36000" rtlCol="0" anchor="ctr"/>
          <a:lstStyle/>
          <a:p>
            <a:pPr algn="ct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共催</a:t>
            </a:r>
          </a:p>
        </p:txBody>
      </p:sp>
      <p:sp>
        <p:nvSpPr>
          <p:cNvPr id="82" name="角丸四角形 81"/>
          <p:cNvSpPr/>
          <p:nvPr/>
        </p:nvSpPr>
        <p:spPr>
          <a:xfrm>
            <a:off x="560514" y="2386255"/>
            <a:ext cx="5112568" cy="538640"/>
          </a:xfrm>
          <a:prstGeom prst="roundRect">
            <a:avLst>
              <a:gd name="adj" fmla="val 10001"/>
            </a:avLst>
          </a:prstGeom>
          <a:noFill/>
          <a:ln w="12700" cap="flat" cmpd="sng" algn="ctr">
            <a:solidFill>
              <a:srgbClr val="868686"/>
            </a:solidFill>
            <a:prstDash val="solid"/>
            <a:round/>
            <a:headEnd type="none" w="med" len="med"/>
            <a:tailEnd type="none" w="med" len="med"/>
          </a:ln>
          <a:extLst>
            <a:ext uri="{909E8E84-426E-40DD-AFC4-6F175D3DCCD1}">
              <a14:hiddenFill xmlns:a14="http://schemas.microsoft.com/office/drawing/2010/main">
                <a:solidFill>
                  <a:srgbClr val="CCDAEC"/>
                </a:solidFill>
              </a14:hiddenFill>
            </a:ext>
          </a:extLst>
        </p:spPr>
        <p:txBody>
          <a:bodyPr rot="0" spcFirstLastPara="0" vertOverflow="overflow" horzOverflow="overflow" vert="horz" wrap="square" lIns="756000" tIns="0" rIns="0" bIns="0" numCol="1" spcCol="0" rtlCol="0" fromWordArt="0" anchor="ctr" anchorCtr="0" forceAA="0" compatLnSpc="1">
            <a:prstTxWarp prst="textNoShape">
              <a:avLst/>
            </a:prstTxWarp>
            <a:noAutofit/>
          </a:bodyPr>
          <a:lstStyle/>
          <a:p>
            <a:pPr marL="139700" indent="-139700" fontAlgn="ctr">
              <a:lnSpc>
                <a:spcPct val="113000"/>
              </a:lnSpc>
              <a:spcAft>
                <a:spcPts val="200"/>
              </a:spcAft>
              <a:buClr>
                <a:schemeClr val="bg1">
                  <a:lumMod val="50000"/>
                </a:schemeClr>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rPr>
              <a:t>医薬品医療機器総合機構（</a:t>
            </a:r>
            <a:r>
              <a:rPr lang="en-US" altLang="ja-JP" sz="1200" dirty="0">
                <a:latin typeface="Arial" panose="020B0604020202020204" pitchFamily="34" charset="0"/>
                <a:ea typeface="ＭＳ Ｐゴシック" panose="020B0600070205080204" pitchFamily="50" charset="-128"/>
              </a:rPr>
              <a:t>PMDA</a:t>
            </a:r>
            <a:r>
              <a:rPr lang="ja-JP" altLang="en-US" sz="1200" dirty="0">
                <a:latin typeface="Arial" panose="020B0604020202020204" pitchFamily="34" charset="0"/>
                <a:ea typeface="ＭＳ Ｐゴシック" panose="020B0600070205080204" pitchFamily="50" charset="-128"/>
              </a:rPr>
              <a:t>）</a:t>
            </a:r>
            <a:endParaRPr lang="en-US" altLang="ja-JP" sz="1200" dirty="0">
              <a:latin typeface="Arial" panose="020B0604020202020204" pitchFamily="34" charset="0"/>
              <a:ea typeface="ＭＳ Ｐゴシック" panose="020B0600070205080204" pitchFamily="50" charset="-128"/>
            </a:endParaRPr>
          </a:p>
          <a:p>
            <a:pPr marL="139700" indent="-139700" fontAlgn="ctr">
              <a:lnSpc>
                <a:spcPct val="113000"/>
              </a:lnSpc>
              <a:spcAft>
                <a:spcPts val="200"/>
              </a:spcAft>
              <a:buClr>
                <a:schemeClr val="bg1">
                  <a:lumMod val="50000"/>
                </a:schemeClr>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rPr>
              <a:t>ブラジル国家衛生監督庁（</a:t>
            </a:r>
            <a:r>
              <a:rPr lang="en-US" altLang="ja-JP" sz="1200" dirty="0">
                <a:latin typeface="Arial" panose="020B0604020202020204" pitchFamily="34" charset="0"/>
                <a:ea typeface="ＭＳ Ｐゴシック" panose="020B0600070205080204" pitchFamily="50" charset="-128"/>
              </a:rPr>
              <a:t>ANVISA</a:t>
            </a:r>
            <a:r>
              <a:rPr lang="ja-JP" altLang="en-US" sz="1200" dirty="0">
                <a:latin typeface="Arial" panose="020B0604020202020204" pitchFamily="34" charset="0"/>
                <a:ea typeface="ＭＳ Ｐゴシック" panose="020B0600070205080204" pitchFamily="50" charset="-128"/>
              </a:rPr>
              <a:t>）</a:t>
            </a:r>
          </a:p>
        </p:txBody>
      </p:sp>
    </p:spTree>
    <p:extLst>
      <p:ext uri="{BB962C8B-B14F-4D97-AF65-F5344CB8AC3E}">
        <p14:creationId xmlns:p14="http://schemas.microsoft.com/office/powerpoint/2010/main" val="417500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65" imgW="360" imgH="360" progId="TCLayout.ActiveDocument.1">
                  <p:embed/>
                </p:oleObj>
              </mc:Choice>
              <mc:Fallback>
                <p:oleObj name="think-cell Slide" r:id="rId65" imgW="360" imgH="360" progId="TCLayout.ActiveDocument.1">
                  <p:embed/>
                  <p:pic>
                    <p:nvPicPr>
                      <p:cNvPr id="8" name="Object 7" hidden="1"/>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ブラジ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2,059.44</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9,571.81</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a:t>
            </a:r>
            <a:r>
              <a:rPr lang="ja-JP" altLang="en-US"/>
              <a:t>質</a:t>
            </a:r>
            <a:r>
              <a:rPr lang="en-US" altLang="ja-JP"/>
              <a:t>GDP</a:t>
            </a:r>
            <a:r>
              <a:rPr lang="ja-JP" altLang="en-US" dirty="0"/>
              <a:t>成長率は新型コロナの影響もあり</a:t>
            </a:r>
            <a:r>
              <a:rPr lang="ja-JP" altLang="en-US"/>
              <a:t>、</a:t>
            </a:r>
            <a:r>
              <a:rPr lang="en-US" altLang="ja-JP"/>
              <a:t>2020</a:t>
            </a:r>
            <a:r>
              <a:rPr lang="ja-JP" altLang="en-US" dirty="0"/>
              <a:t>年に急落したが</a:t>
            </a:r>
            <a:r>
              <a:rPr lang="ja-JP" altLang="en-US"/>
              <a:t>、</a:t>
            </a:r>
            <a:r>
              <a:rPr lang="en-US" altLang="ja-JP"/>
              <a:t>2021</a:t>
            </a:r>
            <a:r>
              <a:rPr lang="ja-JP" altLang="en-US" dirty="0"/>
              <a:t>年に</a:t>
            </a:r>
            <a:r>
              <a:rPr lang="ja-JP" altLang="en-US"/>
              <a:t>は</a:t>
            </a:r>
            <a:r>
              <a:rPr lang="en-US" altLang="ja-JP"/>
              <a:t>10</a:t>
            </a:r>
            <a:r>
              <a:rPr lang="ja-JP" altLang="en-US" dirty="0"/>
              <a:t>年ぶりの高水準の</a:t>
            </a:r>
            <a:r>
              <a:rPr lang="en-US" altLang="ja-JP"/>
              <a:t>4.6%</a:t>
            </a:r>
            <a:r>
              <a:rPr lang="ja-JP" altLang="en-US" dirty="0"/>
              <a:t>まで回復し</a:t>
            </a:r>
            <a:r>
              <a:rPr lang="ja-JP" altLang="en-US"/>
              <a:t>、</a:t>
            </a:r>
            <a:r>
              <a:rPr lang="en-US" altLang="ja-JP"/>
              <a:t>2023</a:t>
            </a:r>
            <a:r>
              <a:rPr lang="ja-JP" altLang="en-US" dirty="0"/>
              <a:t>年</a:t>
            </a:r>
            <a:r>
              <a:rPr lang="ja-JP" altLang="en-US"/>
              <a:t>には</a:t>
            </a:r>
            <a:r>
              <a:rPr lang="ja-JP" altLang="en-US" dirty="0"/>
              <a:t>名</a:t>
            </a:r>
            <a:r>
              <a:rPr lang="ja-JP" altLang="en-US"/>
              <a:t>目</a:t>
            </a:r>
            <a:r>
              <a:rPr lang="en-US" altLang="ja-JP"/>
              <a:t>GDP</a:t>
            </a:r>
            <a:r>
              <a:rPr lang="ja-JP" altLang="en-US" dirty="0"/>
              <a:t>が</a:t>
            </a:r>
            <a:r>
              <a:rPr lang="ja-JP" altLang="en-US"/>
              <a:t>約</a:t>
            </a:r>
            <a:r>
              <a:rPr lang="en-US" altLang="ja-JP"/>
              <a:t>2.1</a:t>
            </a:r>
            <a:r>
              <a:rPr lang="ja-JP" altLang="en-US" dirty="0"/>
              <a:t>兆</a:t>
            </a:r>
            <a:r>
              <a:rPr lang="en-US" altLang="ja-JP"/>
              <a:t>US$</a:t>
            </a:r>
            <a:r>
              <a:rPr lang="ja-JP" altLang="en-US" dirty="0"/>
              <a:t>、一人当た</a:t>
            </a:r>
            <a:r>
              <a:rPr lang="ja-JP" altLang="en-US"/>
              <a:t>り</a:t>
            </a:r>
            <a:r>
              <a:rPr lang="en-US" altLang="ja-JP"/>
              <a:t>GDP</a:t>
            </a:r>
            <a:r>
              <a:rPr lang="ja-JP" altLang="en-US"/>
              <a:t>が</a:t>
            </a:r>
            <a:r>
              <a:rPr lang="ja-JP" altLang="en-US" dirty="0"/>
              <a:t>約</a:t>
            </a:r>
            <a:r>
              <a:rPr lang="en-US" altLang="ja-JP"/>
              <a:t>9,600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p>
        </p:txBody>
      </p:sp>
      <p:graphicFrame>
        <p:nvGraphicFramePr>
          <p:cNvPr id="107" name="Chart 106">
            <a:extLst>
              <a:ext uri="{FF2B5EF4-FFF2-40B4-BE49-F238E27FC236}">
                <a16:creationId xmlns:a16="http://schemas.microsoft.com/office/drawing/2014/main" id="{B38B7A4F-8338-4901-8B9D-E8C1D711A580}"/>
              </a:ext>
            </a:extLst>
          </p:cNvPr>
          <p:cNvGraphicFramePr/>
          <p:nvPr>
            <p:custDataLst>
              <p:tags r:id="rId4"/>
            </p:custDataLst>
          </p:nvPr>
        </p:nvGraphicFramePr>
        <p:xfrm>
          <a:off x="233363" y="2089150"/>
          <a:ext cx="8037512" cy="1895475"/>
        </p:xfrm>
        <a:graphic>
          <a:graphicData uri="http://schemas.openxmlformats.org/drawingml/2006/chart">
            <c:chart xmlns:c="http://schemas.openxmlformats.org/drawingml/2006/chart" xmlns:r="http://schemas.openxmlformats.org/officeDocument/2006/relationships" r:id="rId67"/>
          </a:graphicData>
        </a:graphic>
      </p:graphicFrame>
      <p:sp>
        <p:nvSpPr>
          <p:cNvPr id="33" name="Text Placeholder 12"/>
          <p:cNvSpPr>
            <a:spLocks noGrp="1"/>
          </p:cNvSpPr>
          <p:nvPr>
            <p:custDataLst>
              <p:tags r:id="rId5"/>
            </p:custDataLst>
          </p:nvPr>
        </p:nvSpPr>
        <p:spPr bwMode="auto">
          <a:xfrm>
            <a:off x="30988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pPr algn="ctr">
                <a:spcBef>
                  <a:spcPct val="0"/>
                </a:spcBef>
                <a:spcAft>
                  <a:spcPct val="0"/>
                </a:spcAft>
              </a:pPr>
              <a:t>07</a:t>
            </a:fld>
            <a:endParaRPr kumimoji="0" lang="ja-JP" altLang="en-US" sz="1000" b="0" dirty="0">
              <a:sym typeface="+mn-lt"/>
            </a:endParaRPr>
          </a:p>
        </p:txBody>
      </p:sp>
      <p:sp useBgFill="1">
        <p:nvSpPr>
          <p:cNvPr id="90" name="テキスト プレースホルダ 9">
            <a:extLst>
              <a:ext uri="{FF2B5EF4-FFF2-40B4-BE49-F238E27FC236}">
                <a16:creationId xmlns:a16="http://schemas.microsoft.com/office/drawing/2014/main" id="{5B8F7277-92CE-432A-9728-B61A2FDB1E20}"/>
              </a:ext>
            </a:extLst>
          </p:cNvPr>
          <p:cNvSpPr>
            <a:spLocks noGrp="1"/>
          </p:cNvSpPr>
          <p:nvPr>
            <p:custDataLst>
              <p:tags r:id="rId6"/>
            </p:custDataLst>
          </p:nvPr>
        </p:nvSpPr>
        <p:spPr bwMode="gray">
          <a:xfrm>
            <a:off x="1787525" y="297973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E6C895-5788-4276-A660-AE74B7136D39}" type="datetime'1''''''''''''''''''''''''''''.''''''1'''''''''">
              <a:rPr lang="en-US" altLang="en-US" sz="1000" smtClean="0">
                <a:effectLst/>
              </a:rPr>
              <a:pPr/>
              <a:t>1.1</a:t>
            </a:fld>
            <a:endParaRPr lang="ja-JP" altLang="en-US" sz="1000" dirty="0">
              <a:sym typeface="+mn-lt"/>
            </a:endParaRPr>
          </a:p>
        </p:txBody>
      </p:sp>
      <p:sp>
        <p:nvSpPr>
          <p:cNvPr id="24" name="Text Placeholder 12"/>
          <p:cNvSpPr>
            <a:spLocks noGrp="1"/>
          </p:cNvSpPr>
          <p:nvPr>
            <p:custDataLst>
              <p:tags r:id="rId7"/>
            </p:custDataLst>
          </p:nvPr>
        </p:nvSpPr>
        <p:spPr bwMode="auto">
          <a:xfrm>
            <a:off x="325438" y="2085975"/>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28" name="Text Placeholder 12"/>
          <p:cNvSpPr>
            <a:spLocks noGrp="1"/>
          </p:cNvSpPr>
          <p:nvPr>
            <p:custDataLst>
              <p:tags r:id="rId8"/>
            </p:custDataLst>
          </p:nvPr>
        </p:nvSpPr>
        <p:spPr bwMode="auto">
          <a:xfrm>
            <a:off x="14938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pPr algn="ctr">
                <a:spcBef>
                  <a:spcPct val="0"/>
                </a:spcBef>
                <a:spcAft>
                  <a:spcPct val="0"/>
                </a:spcAft>
              </a:pPr>
              <a:t>02</a:t>
            </a:fld>
            <a:endParaRPr kumimoji="0" lang="ja-JP" altLang="en-US" sz="1000" b="0" dirty="0">
              <a:sym typeface="+mn-lt"/>
            </a:endParaRPr>
          </a:p>
        </p:txBody>
      </p:sp>
      <p:sp>
        <p:nvSpPr>
          <p:cNvPr id="27" name="Text Placeholder 12"/>
          <p:cNvSpPr>
            <a:spLocks noGrp="1"/>
          </p:cNvSpPr>
          <p:nvPr>
            <p:custDataLst>
              <p:tags r:id="rId9"/>
            </p:custDataLst>
          </p:nvPr>
        </p:nvSpPr>
        <p:spPr bwMode="auto">
          <a:xfrm>
            <a:off x="11731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pPr algn="ctr">
                <a:spcBef>
                  <a:spcPct val="0"/>
                </a:spcBef>
                <a:spcAft>
                  <a:spcPct val="0"/>
                </a:spcAft>
              </a:pPr>
              <a:t>01</a:t>
            </a:fld>
            <a:endParaRPr kumimoji="0" lang="ja-JP" altLang="en-US" sz="1000" b="0" dirty="0">
              <a:sym typeface="+mn-lt"/>
            </a:endParaRPr>
          </a:p>
        </p:txBody>
      </p:sp>
      <p:sp>
        <p:nvSpPr>
          <p:cNvPr id="42" name="Text Placeholder 12"/>
          <p:cNvSpPr>
            <a:spLocks noGrp="1"/>
          </p:cNvSpPr>
          <p:nvPr>
            <p:custDataLst>
              <p:tags r:id="rId10"/>
            </p:custDataLst>
          </p:nvPr>
        </p:nvSpPr>
        <p:spPr bwMode="auto">
          <a:xfrm>
            <a:off x="788193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26" name="Text Placeholder 12"/>
          <p:cNvSpPr>
            <a:spLocks noGrp="1"/>
          </p:cNvSpPr>
          <p:nvPr>
            <p:custDataLst>
              <p:tags r:id="rId11"/>
            </p:custDataLst>
          </p:nvPr>
        </p:nvSpPr>
        <p:spPr bwMode="auto">
          <a:xfrm>
            <a:off x="7810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pPr algn="ctr">
                <a:spcBef>
                  <a:spcPct val="0"/>
                </a:spcBef>
                <a:spcAft>
                  <a:spcPct val="0"/>
                </a:spcAft>
              </a:pPr>
              <a:t>2000</a:t>
            </a:fld>
            <a:endParaRPr kumimoji="0" lang="ja-JP" altLang="en-US" sz="1000" b="0" dirty="0">
              <a:sym typeface="+mn-lt"/>
            </a:endParaRPr>
          </a:p>
        </p:txBody>
      </p:sp>
      <p:sp>
        <p:nvSpPr>
          <p:cNvPr id="41" name="Text Placeholder 12"/>
          <p:cNvSpPr>
            <a:spLocks noGrp="1"/>
          </p:cNvSpPr>
          <p:nvPr>
            <p:custDataLst>
              <p:tags r:id="rId12"/>
            </p:custDataLst>
          </p:nvPr>
        </p:nvSpPr>
        <p:spPr bwMode="auto">
          <a:xfrm>
            <a:off x="56673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pPr algn="ctr">
                <a:spcBef>
                  <a:spcPct val="0"/>
                </a:spcBef>
                <a:spcAft>
                  <a:spcPct val="0"/>
                </a:spcAft>
              </a:pPr>
              <a:t>15</a:t>
            </a:fld>
            <a:endParaRPr kumimoji="0" lang="ja-JP" altLang="en-US" sz="1000" b="0" dirty="0">
              <a:sym typeface="+mn-lt"/>
            </a:endParaRPr>
          </a:p>
        </p:txBody>
      </p:sp>
      <p:sp>
        <p:nvSpPr>
          <p:cNvPr id="29" name="Text Placeholder 12"/>
          <p:cNvSpPr>
            <a:spLocks noGrp="1"/>
          </p:cNvSpPr>
          <p:nvPr>
            <p:custDataLst>
              <p:tags r:id="rId13"/>
            </p:custDataLst>
          </p:nvPr>
        </p:nvSpPr>
        <p:spPr bwMode="auto">
          <a:xfrm>
            <a:off x="18145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pPr algn="ctr">
                <a:spcBef>
                  <a:spcPct val="0"/>
                </a:spcBef>
                <a:spcAft>
                  <a:spcPct val="0"/>
                </a:spcAft>
              </a:pPr>
              <a:t>03</a:t>
            </a:fld>
            <a:endParaRPr kumimoji="0" lang="ja-JP" altLang="en-US" sz="1000" b="0" dirty="0">
              <a:sym typeface="+mn-lt"/>
            </a:endParaRPr>
          </a:p>
        </p:txBody>
      </p:sp>
      <p:sp>
        <p:nvSpPr>
          <p:cNvPr id="30" name="Text Placeholder 12"/>
          <p:cNvSpPr>
            <a:spLocks noGrp="1"/>
          </p:cNvSpPr>
          <p:nvPr>
            <p:custDataLst>
              <p:tags r:id="rId14"/>
            </p:custDataLst>
          </p:nvPr>
        </p:nvSpPr>
        <p:spPr bwMode="auto">
          <a:xfrm>
            <a:off x="21351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pPr algn="ctr">
                <a:spcBef>
                  <a:spcPct val="0"/>
                </a:spcBef>
                <a:spcAft>
                  <a:spcPct val="0"/>
                </a:spcAft>
              </a:pPr>
              <a:t>04</a:t>
            </a:fld>
            <a:endParaRPr kumimoji="0" lang="ja-JP" altLang="en-US" sz="1000" b="0" dirty="0">
              <a:sym typeface="+mn-lt"/>
            </a:endParaRPr>
          </a:p>
        </p:txBody>
      </p:sp>
      <p:sp>
        <p:nvSpPr>
          <p:cNvPr id="31" name="Text Placeholder 12"/>
          <p:cNvSpPr>
            <a:spLocks noGrp="1"/>
          </p:cNvSpPr>
          <p:nvPr>
            <p:custDataLst>
              <p:tags r:id="rId15"/>
            </p:custDataLst>
          </p:nvPr>
        </p:nvSpPr>
        <p:spPr bwMode="auto">
          <a:xfrm>
            <a:off x="24574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pPr algn="ctr">
                <a:spcBef>
                  <a:spcPct val="0"/>
                </a:spcBef>
                <a:spcAft>
                  <a:spcPct val="0"/>
                </a:spcAft>
              </a:pPr>
              <a:t>05</a:t>
            </a:fld>
            <a:endParaRPr kumimoji="0" lang="ja-JP" altLang="en-US" sz="1000" b="0" dirty="0">
              <a:sym typeface="+mn-lt"/>
            </a:endParaRPr>
          </a:p>
        </p:txBody>
      </p:sp>
      <p:sp>
        <p:nvSpPr>
          <p:cNvPr id="32" name="Text Placeholder 12"/>
          <p:cNvSpPr>
            <a:spLocks noGrp="1"/>
          </p:cNvSpPr>
          <p:nvPr>
            <p:custDataLst>
              <p:tags r:id="rId16"/>
            </p:custDataLst>
          </p:nvPr>
        </p:nvSpPr>
        <p:spPr bwMode="auto">
          <a:xfrm>
            <a:off x="27781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pPr algn="ctr">
                <a:spcBef>
                  <a:spcPct val="0"/>
                </a:spcBef>
                <a:spcAft>
                  <a:spcPct val="0"/>
                </a:spcAft>
              </a:pPr>
              <a:t>06</a:t>
            </a:fld>
            <a:endParaRPr kumimoji="0" lang="ja-JP" altLang="en-US" sz="1000" b="0" dirty="0">
              <a:sym typeface="+mn-lt"/>
            </a:endParaRPr>
          </a:p>
        </p:txBody>
      </p:sp>
      <p:sp>
        <p:nvSpPr>
          <p:cNvPr id="34" name="Text Placeholder 12"/>
          <p:cNvSpPr>
            <a:spLocks noGrp="1"/>
          </p:cNvSpPr>
          <p:nvPr>
            <p:custDataLst>
              <p:tags r:id="rId17"/>
            </p:custDataLst>
          </p:nvPr>
        </p:nvSpPr>
        <p:spPr bwMode="auto">
          <a:xfrm>
            <a:off x="34194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pPr algn="ctr">
                <a:spcBef>
                  <a:spcPct val="0"/>
                </a:spcBef>
                <a:spcAft>
                  <a:spcPct val="0"/>
                </a:spcAft>
              </a:pPr>
              <a:t>08</a:t>
            </a:fld>
            <a:endParaRPr kumimoji="0" lang="ja-JP" altLang="en-US" sz="1000" b="0" dirty="0">
              <a:sym typeface="+mn-lt"/>
            </a:endParaRPr>
          </a:p>
        </p:txBody>
      </p:sp>
      <p:sp>
        <p:nvSpPr>
          <p:cNvPr id="40" name="Text Placeholder 12"/>
          <p:cNvSpPr>
            <a:spLocks noGrp="1"/>
          </p:cNvSpPr>
          <p:nvPr>
            <p:custDataLst>
              <p:tags r:id="rId18"/>
            </p:custDataLst>
          </p:nvPr>
        </p:nvSpPr>
        <p:spPr bwMode="auto">
          <a:xfrm>
            <a:off x="53467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pPr algn="ctr">
                <a:spcBef>
                  <a:spcPct val="0"/>
                </a:spcBef>
                <a:spcAft>
                  <a:spcPct val="0"/>
                </a:spcAft>
              </a:pPr>
              <a:t>14</a:t>
            </a:fld>
            <a:endParaRPr kumimoji="0" lang="ja-JP" altLang="en-US" sz="1000" b="0" dirty="0">
              <a:sym typeface="+mn-lt"/>
            </a:endParaRPr>
          </a:p>
        </p:txBody>
      </p:sp>
      <p:sp useBgFill="1">
        <p:nvSpPr>
          <p:cNvPr id="121" name="テキスト プレースホルダ 9">
            <a:extLst>
              <a:ext uri="{FF2B5EF4-FFF2-40B4-BE49-F238E27FC236}">
                <a16:creationId xmlns:a16="http://schemas.microsoft.com/office/drawing/2014/main" id="{7A5F8745-6B1A-40C7-BAD0-E913D6901B40}"/>
              </a:ext>
            </a:extLst>
          </p:cNvPr>
          <p:cNvSpPr>
            <a:spLocks noGrp="1"/>
          </p:cNvSpPr>
          <p:nvPr>
            <p:custDataLst>
              <p:tags r:id="rId19"/>
            </p:custDataLst>
          </p:nvPr>
        </p:nvSpPr>
        <p:spPr bwMode="gray">
          <a:xfrm>
            <a:off x="3692525" y="3141663"/>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611994-1813-4856-AC54-1C704908B7E2}" type="datetime'''''-''''''''''''''0''''''''''.''''''''''1'''">
              <a:rPr lang="en-US" altLang="en-US" sz="1000" smtClean="0">
                <a:effectLst/>
              </a:rPr>
              <a:pPr/>
              <a:t>-0.1</a:t>
            </a:fld>
            <a:endParaRPr lang="ja-JP" altLang="en-US" sz="1000" dirty="0">
              <a:sym typeface="+mn-lt"/>
            </a:endParaRPr>
          </a:p>
        </p:txBody>
      </p:sp>
      <p:sp>
        <p:nvSpPr>
          <p:cNvPr id="102" name="Text Placeholder 12">
            <a:extLst>
              <a:ext uri="{FF2B5EF4-FFF2-40B4-BE49-F238E27FC236}">
                <a16:creationId xmlns:a16="http://schemas.microsoft.com/office/drawing/2014/main" id="{A37369EE-5863-478A-A406-9859E7A15C4F}"/>
              </a:ext>
            </a:extLst>
          </p:cNvPr>
          <p:cNvSpPr>
            <a:spLocks noGrp="1"/>
          </p:cNvSpPr>
          <p:nvPr>
            <p:custDataLst>
              <p:tags r:id="rId20"/>
            </p:custDataLst>
          </p:nvPr>
        </p:nvSpPr>
        <p:spPr bwMode="auto">
          <a:xfrm>
            <a:off x="66309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BF9202-85C1-497C-8D30-E4B71FC76F49}" type="datetime'''1''''''''''''''''''''''''''''8'''''''''''''''''''''''''">
              <a:rPr kumimoji="0" lang="en-US" altLang="en-US" sz="1000" b="0" smtClean="0"/>
              <a:pPr/>
              <a:t>18</a:t>
            </a:fld>
            <a:endParaRPr kumimoji="0" lang="ja-JP" altLang="en-US" sz="1000" b="0" dirty="0">
              <a:sym typeface="+mn-lt"/>
            </a:endParaRPr>
          </a:p>
        </p:txBody>
      </p:sp>
      <p:sp>
        <p:nvSpPr>
          <p:cNvPr id="38" name="Text Placeholder 12"/>
          <p:cNvSpPr>
            <a:spLocks noGrp="1"/>
          </p:cNvSpPr>
          <p:nvPr>
            <p:custDataLst>
              <p:tags r:id="rId21"/>
            </p:custDataLst>
          </p:nvPr>
        </p:nvSpPr>
        <p:spPr bwMode="auto">
          <a:xfrm>
            <a:off x="47053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pPr algn="ctr">
                <a:spcBef>
                  <a:spcPct val="0"/>
                </a:spcBef>
                <a:spcAft>
                  <a:spcPct val="0"/>
                </a:spcAft>
              </a:pPr>
              <a:t>12</a:t>
            </a:fld>
            <a:endParaRPr kumimoji="0" lang="ja-JP" altLang="en-US" sz="1000" b="0" dirty="0">
              <a:sym typeface="+mn-lt"/>
            </a:endParaRPr>
          </a:p>
        </p:txBody>
      </p:sp>
      <p:sp useBgFill="1">
        <p:nvSpPr>
          <p:cNvPr id="93" name="テキスト プレースホルダ 9">
            <a:extLst>
              <a:ext uri="{FF2B5EF4-FFF2-40B4-BE49-F238E27FC236}">
                <a16:creationId xmlns:a16="http://schemas.microsoft.com/office/drawing/2014/main" id="{6FEF6012-71F6-4A45-9522-7B4013821BBA}"/>
              </a:ext>
            </a:extLst>
          </p:cNvPr>
          <p:cNvSpPr>
            <a:spLocks noGrp="1"/>
          </p:cNvSpPr>
          <p:nvPr>
            <p:custDataLst>
              <p:tags r:id="rId22"/>
            </p:custDataLst>
          </p:nvPr>
        </p:nvSpPr>
        <p:spPr bwMode="gray">
          <a:xfrm>
            <a:off x="4356100" y="26177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A0BD3F-F669-4C69-A3A3-11C80D236F5F}" type="datetime'''''4''''''''''''''''''''.''''''0'''''">
              <a:rPr lang="en-US" altLang="en-US" sz="1000" smtClean="0">
                <a:effectLst/>
              </a:rPr>
              <a:pPr/>
              <a:t>4.0</a:t>
            </a:fld>
            <a:endParaRPr lang="ja-JP" altLang="en-US" sz="1000" dirty="0">
              <a:sym typeface="+mn-lt"/>
            </a:endParaRPr>
          </a:p>
        </p:txBody>
      </p:sp>
      <p:sp>
        <p:nvSpPr>
          <p:cNvPr id="35" name="Text Placeholder 12"/>
          <p:cNvSpPr>
            <a:spLocks noGrp="1"/>
          </p:cNvSpPr>
          <p:nvPr>
            <p:custDataLst>
              <p:tags r:id="rId23"/>
            </p:custDataLst>
          </p:nvPr>
        </p:nvSpPr>
        <p:spPr bwMode="auto">
          <a:xfrm>
            <a:off x="37417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pPr algn="ctr">
                <a:spcBef>
                  <a:spcPct val="0"/>
                </a:spcBef>
                <a:spcAft>
                  <a:spcPct val="0"/>
                </a:spcAft>
              </a:pPr>
              <a:t>09</a:t>
            </a:fld>
            <a:endParaRPr kumimoji="0" lang="ja-JP" altLang="en-US" sz="1000" b="0" dirty="0">
              <a:sym typeface="+mn-lt"/>
            </a:endParaRPr>
          </a:p>
        </p:txBody>
      </p:sp>
      <p:sp>
        <p:nvSpPr>
          <p:cNvPr id="36" name="Text Placeholder 12"/>
          <p:cNvSpPr>
            <a:spLocks noGrp="1"/>
          </p:cNvSpPr>
          <p:nvPr>
            <p:custDataLst>
              <p:tags r:id="rId24"/>
            </p:custDataLst>
          </p:nvPr>
        </p:nvSpPr>
        <p:spPr bwMode="auto">
          <a:xfrm>
            <a:off x="40624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pPr algn="ctr">
                <a:spcBef>
                  <a:spcPct val="0"/>
                </a:spcBef>
                <a:spcAft>
                  <a:spcPct val="0"/>
                </a:spcAft>
              </a:pPr>
              <a:t>10</a:t>
            </a:fld>
            <a:endParaRPr kumimoji="0" lang="ja-JP" altLang="en-US" sz="1000" b="0" dirty="0">
              <a:sym typeface="+mn-lt"/>
            </a:endParaRPr>
          </a:p>
        </p:txBody>
      </p:sp>
      <p:sp>
        <p:nvSpPr>
          <p:cNvPr id="37" name="Text Placeholder 12"/>
          <p:cNvSpPr>
            <a:spLocks noGrp="1"/>
          </p:cNvSpPr>
          <p:nvPr>
            <p:custDataLst>
              <p:tags r:id="rId25"/>
            </p:custDataLst>
          </p:nvPr>
        </p:nvSpPr>
        <p:spPr bwMode="auto">
          <a:xfrm>
            <a:off x="43830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pPr algn="ctr">
                <a:spcBef>
                  <a:spcPct val="0"/>
                </a:spcBef>
                <a:spcAft>
                  <a:spcPct val="0"/>
                </a:spcAft>
              </a:pPr>
              <a:t>11</a:t>
            </a:fld>
            <a:endParaRPr kumimoji="0" lang="ja-JP" altLang="en-US" sz="1000" b="0" dirty="0">
              <a:sym typeface="+mn-lt"/>
            </a:endParaRPr>
          </a:p>
        </p:txBody>
      </p:sp>
      <p:sp>
        <p:nvSpPr>
          <p:cNvPr id="39" name="Text Placeholder 12"/>
          <p:cNvSpPr>
            <a:spLocks noGrp="1"/>
          </p:cNvSpPr>
          <p:nvPr>
            <p:custDataLst>
              <p:tags r:id="rId26"/>
            </p:custDataLst>
          </p:nvPr>
        </p:nvSpPr>
        <p:spPr bwMode="auto">
          <a:xfrm>
            <a:off x="50260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pPr algn="ctr">
                <a:spcBef>
                  <a:spcPct val="0"/>
                </a:spcBef>
                <a:spcAft>
                  <a:spcPct val="0"/>
                </a:spcAft>
              </a:pPr>
              <a:t>13</a:t>
            </a:fld>
            <a:endParaRPr kumimoji="0" lang="ja-JP" altLang="en-US" sz="1000" b="0" dirty="0">
              <a:sym typeface="+mn-lt"/>
            </a:endParaRPr>
          </a:p>
        </p:txBody>
      </p:sp>
      <p:sp>
        <p:nvSpPr>
          <p:cNvPr id="80" name="Text Placeholder 12"/>
          <p:cNvSpPr>
            <a:spLocks noGrp="1"/>
          </p:cNvSpPr>
          <p:nvPr>
            <p:custDataLst>
              <p:tags r:id="rId27"/>
            </p:custDataLst>
          </p:nvPr>
        </p:nvSpPr>
        <p:spPr bwMode="auto">
          <a:xfrm>
            <a:off x="59896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pPr algn="ctr">
                <a:spcBef>
                  <a:spcPct val="0"/>
                </a:spcBef>
                <a:spcAft>
                  <a:spcPct val="0"/>
                </a:spcAft>
              </a:pPr>
              <a:t>16</a:t>
            </a:fld>
            <a:endParaRPr kumimoji="0" lang="ja-JP" altLang="en-US" sz="1000" b="0" dirty="0">
              <a:sym typeface="+mn-lt"/>
            </a:endParaRPr>
          </a:p>
        </p:txBody>
      </p:sp>
      <p:sp>
        <p:nvSpPr>
          <p:cNvPr id="83" name="Text Placeholder 12"/>
          <p:cNvSpPr>
            <a:spLocks noGrp="1"/>
          </p:cNvSpPr>
          <p:nvPr>
            <p:custDataLst>
              <p:tags r:id="rId28"/>
            </p:custDataLst>
          </p:nvPr>
        </p:nvSpPr>
        <p:spPr bwMode="auto">
          <a:xfrm>
            <a:off x="63103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pPr algn="ctr">
                <a:spcBef>
                  <a:spcPct val="0"/>
                </a:spcBef>
                <a:spcAft>
                  <a:spcPct val="0"/>
                </a:spcAft>
              </a:pPr>
              <a:t>17</a:t>
            </a:fld>
            <a:endParaRPr kumimoji="0" lang="ja-JP" altLang="en-US" sz="1000" b="0" dirty="0">
              <a:sym typeface="+mn-lt"/>
            </a:endParaRPr>
          </a:p>
        </p:txBody>
      </p:sp>
      <p:sp>
        <p:nvSpPr>
          <p:cNvPr id="104" name="Text Placeholder 12">
            <a:extLst>
              <a:ext uri="{FF2B5EF4-FFF2-40B4-BE49-F238E27FC236}">
                <a16:creationId xmlns:a16="http://schemas.microsoft.com/office/drawing/2014/main" id="{CDD6BB76-D5D7-4195-A02B-AEEA5F4C6AD5}"/>
              </a:ext>
            </a:extLst>
          </p:cNvPr>
          <p:cNvSpPr>
            <a:spLocks noGrp="1"/>
          </p:cNvSpPr>
          <p:nvPr>
            <p:custDataLst>
              <p:tags r:id="rId29"/>
            </p:custDataLst>
          </p:nvPr>
        </p:nvSpPr>
        <p:spPr bwMode="auto">
          <a:xfrm>
            <a:off x="69516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7A7578-FACE-4CB3-9133-D20A8E7FA107}" type="datetime'''''''''''''''''''''''1''''''''''''''''9'''">
              <a:rPr kumimoji="0" lang="en-US" altLang="en-US" sz="1000" b="0" smtClean="0"/>
              <a:pPr/>
              <a:t>19</a:t>
            </a:fld>
            <a:endParaRPr kumimoji="0" lang="ja-JP" altLang="en-US" sz="1000" b="0" dirty="0">
              <a:sym typeface="+mn-lt"/>
            </a:endParaRPr>
          </a:p>
        </p:txBody>
      </p:sp>
      <p:sp useBgFill="1">
        <p:nvSpPr>
          <p:cNvPr id="122" name="テキスト プレースホルダ 9">
            <a:extLst>
              <a:ext uri="{FF2B5EF4-FFF2-40B4-BE49-F238E27FC236}">
                <a16:creationId xmlns:a16="http://schemas.microsoft.com/office/drawing/2014/main" id="{415AF3A0-18DE-4C7C-92D4-90435F032A8F}"/>
              </a:ext>
            </a:extLst>
          </p:cNvPr>
          <p:cNvSpPr>
            <a:spLocks noGrp="1"/>
          </p:cNvSpPr>
          <p:nvPr>
            <p:custDataLst>
              <p:tags r:id="rId30"/>
            </p:custDataLst>
          </p:nvPr>
        </p:nvSpPr>
        <p:spPr bwMode="gray">
          <a:xfrm>
            <a:off x="7224713" y="3622675"/>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9C1A67-4790-40AE-A158-B9D52E70234C}" type="datetime'''''''-3''''''''''''''''''''''''''''''''''.''9'''''''''''''''">
              <a:rPr lang="en-US" altLang="en-US" sz="1000" smtClean="0">
                <a:effectLst/>
              </a:rPr>
              <a:pPr/>
              <a:t>-3.9</a:t>
            </a:fld>
            <a:endParaRPr lang="ja-JP" altLang="en-US" sz="1000" dirty="0">
              <a:sym typeface="+mn-lt"/>
            </a:endParaRPr>
          </a:p>
        </p:txBody>
      </p:sp>
      <p:sp>
        <p:nvSpPr>
          <p:cNvPr id="106" name="Text Placeholder 12">
            <a:extLst>
              <a:ext uri="{FF2B5EF4-FFF2-40B4-BE49-F238E27FC236}">
                <a16:creationId xmlns:a16="http://schemas.microsoft.com/office/drawing/2014/main" id="{0A3CE905-5073-41D1-91F6-1B57B4BD8200}"/>
              </a:ext>
            </a:extLst>
          </p:cNvPr>
          <p:cNvSpPr>
            <a:spLocks noGrp="1"/>
          </p:cNvSpPr>
          <p:nvPr>
            <p:custDataLst>
              <p:tags r:id="rId31"/>
            </p:custDataLst>
          </p:nvPr>
        </p:nvSpPr>
        <p:spPr bwMode="auto">
          <a:xfrm>
            <a:off x="72739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47B10BE-1B9E-4C9E-8731-5A5D97D229C2}" type="datetime'''''''''''''''''''''''''''2''''''''0'''''''">
              <a:rPr kumimoji="0" lang="en-US" altLang="en-US" sz="1000" b="0" smtClean="0"/>
              <a:pPr/>
              <a:t>20</a:t>
            </a:fld>
            <a:endParaRPr kumimoji="0" lang="ja-JP" altLang="en-US" sz="1000" b="0" dirty="0">
              <a:sym typeface="+mn-lt"/>
            </a:endParaRPr>
          </a:p>
        </p:txBody>
      </p:sp>
      <p:sp>
        <p:nvSpPr>
          <p:cNvPr id="109" name="Text Placeholder 12">
            <a:extLst>
              <a:ext uri="{FF2B5EF4-FFF2-40B4-BE49-F238E27FC236}">
                <a16:creationId xmlns:a16="http://schemas.microsoft.com/office/drawing/2014/main" id="{BA7375C9-218B-4C04-9D17-E9A95FD0684B}"/>
              </a:ext>
            </a:extLst>
          </p:cNvPr>
          <p:cNvSpPr>
            <a:spLocks noGrp="1"/>
          </p:cNvSpPr>
          <p:nvPr>
            <p:custDataLst>
              <p:tags r:id="rId32"/>
            </p:custDataLst>
          </p:nvPr>
        </p:nvSpPr>
        <p:spPr bwMode="auto">
          <a:xfrm>
            <a:off x="75247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CEC5CFF-E2A9-49AF-80A7-FD30C88FA601}" type="datetime'''2''''''''''0''''''2''''''''''''''''''''''''''''1'''''''''''">
              <a:rPr kumimoji="0" lang="en-US" altLang="en-US" sz="1000" b="0" smtClean="0"/>
              <a:pPr/>
              <a:t>2021</a:t>
            </a:fld>
            <a:endParaRPr kumimoji="0" lang="ja-JP" altLang="en-US" sz="1000" b="0" dirty="0">
              <a:sym typeface="+mn-lt"/>
            </a:endParaRPr>
          </a:p>
        </p:txBody>
      </p:sp>
      <p:sp useBgFill="1">
        <p:nvSpPr>
          <p:cNvPr id="101" name="テキスト プレースホルダ 9">
            <a:extLst>
              <a:ext uri="{FF2B5EF4-FFF2-40B4-BE49-F238E27FC236}">
                <a16:creationId xmlns:a16="http://schemas.microsoft.com/office/drawing/2014/main" id="{333CA370-D8D2-41BF-9939-28C3DD1D6BD2}"/>
              </a:ext>
            </a:extLst>
          </p:cNvPr>
          <p:cNvSpPr>
            <a:spLocks noGrp="1"/>
          </p:cNvSpPr>
          <p:nvPr>
            <p:custDataLst>
              <p:tags r:id="rId33"/>
            </p:custDataLst>
          </p:nvPr>
        </p:nvSpPr>
        <p:spPr bwMode="gray">
          <a:xfrm>
            <a:off x="5619750" y="3579813"/>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6DB646-262B-4365-9130-D679D7428730}" type="datetime'-''''''''''''''''''3.''''''''''''''''''''''''5'''''''">
              <a:rPr lang="en-US" altLang="en-US" sz="1000" smtClean="0">
                <a:effectLst/>
                <a:sym typeface="+mn-lt"/>
              </a:rPr>
              <a:pPr marL="0" indent="0" algn="ctr">
                <a:spcBef>
                  <a:spcPct val="0"/>
                </a:spcBef>
                <a:buNone/>
              </a:pPr>
              <a:t>-3.5</a:t>
            </a:fld>
            <a:endParaRPr lang="ja-JP" altLang="en-US" sz="1000" dirty="0">
              <a:sym typeface="+mn-lt"/>
            </a:endParaRPr>
          </a:p>
        </p:txBody>
      </p:sp>
      <p:sp useBgFill="1">
        <p:nvSpPr>
          <p:cNvPr id="103" name="テキスト プレースホルダ 9">
            <a:extLst>
              <a:ext uri="{FF2B5EF4-FFF2-40B4-BE49-F238E27FC236}">
                <a16:creationId xmlns:a16="http://schemas.microsoft.com/office/drawing/2014/main" id="{3BB485A8-CCF4-415C-88BA-BA0E8259EE4E}"/>
              </a:ext>
            </a:extLst>
          </p:cNvPr>
          <p:cNvSpPr>
            <a:spLocks noGrp="1"/>
          </p:cNvSpPr>
          <p:nvPr>
            <p:custDataLst>
              <p:tags r:id="rId34"/>
            </p:custDataLst>
          </p:nvPr>
        </p:nvSpPr>
        <p:spPr bwMode="gray">
          <a:xfrm>
            <a:off x="5940425" y="3546475"/>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31C34B2-5CF7-41DF-B387-2913733DD719}" type="datetime'''-''''''''''3''''''.3'''''''''''''">
              <a:rPr lang="en-US" altLang="en-US" sz="1000" smtClean="0">
                <a:effectLst/>
                <a:sym typeface="+mn-lt"/>
              </a:rPr>
              <a:pPr marL="0" indent="0" algn="ctr">
                <a:spcBef>
                  <a:spcPct val="0"/>
                </a:spcBef>
                <a:buNone/>
              </a:pPr>
              <a:t>-3.3</a:t>
            </a:fld>
            <a:endParaRPr lang="ja-JP" altLang="en-US" sz="1000" dirty="0">
              <a:sym typeface="+mn-lt"/>
            </a:endParaRPr>
          </a:p>
        </p:txBody>
      </p:sp>
      <p:graphicFrame>
        <p:nvGraphicFramePr>
          <p:cNvPr id="110" name="Chart 109">
            <a:extLst>
              <a:ext uri="{FF2B5EF4-FFF2-40B4-BE49-F238E27FC236}">
                <a16:creationId xmlns:a16="http://schemas.microsoft.com/office/drawing/2014/main" id="{47B3CD06-FB91-4756-86FB-F75E3B686F4D}"/>
              </a:ext>
            </a:extLst>
          </p:cNvPr>
          <p:cNvGraphicFramePr/>
          <p:nvPr>
            <p:custDataLst>
              <p:tags r:id="rId35"/>
            </p:custDataLst>
          </p:nvPr>
        </p:nvGraphicFramePr>
        <p:xfrm>
          <a:off x="130175" y="4621213"/>
          <a:ext cx="7823200" cy="1858962"/>
        </p:xfrm>
        <a:graphic>
          <a:graphicData uri="http://schemas.openxmlformats.org/drawingml/2006/chart">
            <c:chart xmlns:c="http://schemas.openxmlformats.org/drawingml/2006/chart" xmlns:r="http://schemas.openxmlformats.org/officeDocument/2006/relationships" r:id="rId68"/>
          </a:graphicData>
        </a:graphic>
      </p:graphicFrame>
      <p:sp>
        <p:nvSpPr>
          <p:cNvPr id="70" name="Text Placeholder 12"/>
          <p:cNvSpPr>
            <a:spLocks noGrp="1"/>
          </p:cNvSpPr>
          <p:nvPr>
            <p:custDataLst>
              <p:tags r:id="rId36"/>
            </p:custDataLst>
          </p:nvPr>
        </p:nvSpPr>
        <p:spPr bwMode="auto">
          <a:xfrm>
            <a:off x="27670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1D352DD-DF2E-4B25-A5C8-C1F15C9270BB}" type="datetime'''''''''''''''''''''''''''''''''''''''''''''0''''6'">
              <a:rPr lang="ja-JP" altLang="en-US" sz="1000" b="0"/>
              <a:pPr algn="ctr">
                <a:spcBef>
                  <a:spcPct val="0"/>
                </a:spcBef>
                <a:spcAft>
                  <a:spcPct val="0"/>
                </a:spcAft>
              </a:pPr>
              <a:t>06</a:t>
            </a:fld>
            <a:endParaRPr kumimoji="0" lang="ja-JP" altLang="en-US" sz="1000" b="0" dirty="0">
              <a:sym typeface="+mn-lt"/>
            </a:endParaRPr>
          </a:p>
        </p:txBody>
      </p:sp>
      <p:sp>
        <p:nvSpPr>
          <p:cNvPr id="63" name="Text Placeholder 12"/>
          <p:cNvSpPr>
            <a:spLocks noGrp="1"/>
          </p:cNvSpPr>
          <p:nvPr>
            <p:custDataLst>
              <p:tags r:id="rId37"/>
            </p:custDataLst>
          </p:nvPr>
        </p:nvSpPr>
        <p:spPr bwMode="auto">
          <a:xfrm>
            <a:off x="22225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64" name="Text Placeholder 12"/>
          <p:cNvSpPr>
            <a:spLocks noGrp="1"/>
          </p:cNvSpPr>
          <p:nvPr>
            <p:custDataLst>
              <p:tags r:id="rId38"/>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4B9863-92CB-4E7F-A5CC-D490F8CA5D59}" type="datetime'''2''''''''''''''''0''''0''''''''''''''''''''''''''''''''0'''">
              <a:rPr lang="ja-JP" altLang="en-US" sz="1000" b="0"/>
              <a:pPr algn="ctr">
                <a:spcBef>
                  <a:spcPct val="0"/>
                </a:spcBef>
                <a:spcAft>
                  <a:spcPct val="0"/>
                </a:spcAft>
              </a:pPr>
              <a:t>2000</a:t>
            </a:fld>
            <a:endParaRPr kumimoji="0" lang="ja-JP" altLang="en-US" sz="1000" b="0" dirty="0">
              <a:sym typeface="+mn-lt"/>
            </a:endParaRPr>
          </a:p>
        </p:txBody>
      </p:sp>
      <p:sp>
        <p:nvSpPr>
          <p:cNvPr id="65" name="Text Placeholder 12"/>
          <p:cNvSpPr>
            <a:spLocks noGrp="1"/>
          </p:cNvSpPr>
          <p:nvPr>
            <p:custDataLst>
              <p:tags r:id="rId39"/>
            </p:custDataLst>
          </p:nvPr>
        </p:nvSpPr>
        <p:spPr bwMode="auto">
          <a:xfrm>
            <a:off x="11445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37389C2-5F5A-480F-8913-6D0F7E15B479}" type="datetime'''''''''''''''''''''''''''''''''''''''''0''''''1'">
              <a:rPr lang="ja-JP" altLang="en-US" sz="1000" b="0"/>
              <a:pPr algn="ctr">
                <a:spcBef>
                  <a:spcPct val="0"/>
                </a:spcBef>
                <a:spcAft>
                  <a:spcPct val="0"/>
                </a:spcAft>
              </a:pPr>
              <a:t>01</a:t>
            </a:fld>
            <a:endParaRPr kumimoji="0" lang="ja-JP" altLang="en-US" sz="1000" b="0" dirty="0">
              <a:sym typeface="+mn-lt"/>
            </a:endParaRPr>
          </a:p>
        </p:txBody>
      </p:sp>
      <p:sp>
        <p:nvSpPr>
          <p:cNvPr id="66" name="Text Placeholder 12"/>
          <p:cNvSpPr>
            <a:spLocks noGrp="1"/>
          </p:cNvSpPr>
          <p:nvPr>
            <p:custDataLst>
              <p:tags r:id="rId40"/>
            </p:custDataLst>
          </p:nvPr>
        </p:nvSpPr>
        <p:spPr bwMode="auto">
          <a:xfrm>
            <a:off x="14700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774A7E-EE78-42F3-A63C-8FED0DAE6E00}" type="datetime'''''''''''''''''0''''''''''''''''''''''''''''''''''''2'''">
              <a:rPr lang="ja-JP" altLang="en-US" sz="1000" b="0"/>
              <a:pPr algn="ctr">
                <a:spcBef>
                  <a:spcPct val="0"/>
                </a:spcBef>
                <a:spcAft>
                  <a:spcPct val="0"/>
                </a:spcAft>
              </a:pPr>
              <a:t>02</a:t>
            </a:fld>
            <a:endParaRPr kumimoji="0" lang="ja-JP" altLang="en-US" sz="1000" b="0" dirty="0">
              <a:sym typeface="+mn-lt"/>
            </a:endParaRPr>
          </a:p>
        </p:txBody>
      </p:sp>
      <p:sp>
        <p:nvSpPr>
          <p:cNvPr id="68" name="Text Placeholder 12"/>
          <p:cNvSpPr>
            <a:spLocks noGrp="1"/>
          </p:cNvSpPr>
          <p:nvPr>
            <p:custDataLst>
              <p:tags r:id="rId41"/>
            </p:custDataLst>
          </p:nvPr>
        </p:nvSpPr>
        <p:spPr bwMode="auto">
          <a:xfrm>
            <a:off x="21177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061DC8-6FD5-473E-AD3C-5C7FBE78207B}" type="datetime'''''''''''''''0''''''''''4'''''''''''''''">
              <a:rPr lang="ja-JP" altLang="en-US" sz="1000" b="0"/>
              <a:pPr algn="ctr">
                <a:spcBef>
                  <a:spcPct val="0"/>
                </a:spcBef>
                <a:spcAft>
                  <a:spcPct val="0"/>
                </a:spcAft>
              </a:pPr>
              <a:t>04</a:t>
            </a:fld>
            <a:endParaRPr kumimoji="0" lang="ja-JP" altLang="en-US" sz="1000" b="0" dirty="0">
              <a:sym typeface="+mn-lt"/>
            </a:endParaRPr>
          </a:p>
        </p:txBody>
      </p:sp>
      <p:sp>
        <p:nvSpPr>
          <p:cNvPr id="67" name="Text Placeholder 12"/>
          <p:cNvSpPr>
            <a:spLocks noGrp="1"/>
          </p:cNvSpPr>
          <p:nvPr>
            <p:custDataLst>
              <p:tags r:id="rId42"/>
            </p:custDataLst>
          </p:nvPr>
        </p:nvSpPr>
        <p:spPr bwMode="auto">
          <a:xfrm>
            <a:off x="17938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6D4C44-3323-4E9C-9EC3-0820FD7CBD22}" type="datetime'''''''0''''''''''3'''''''''''''''''''''''''''''''''''''">
              <a:rPr lang="ja-JP" altLang="en-US" sz="1000" b="0"/>
              <a:pPr algn="ctr">
                <a:spcBef>
                  <a:spcPct val="0"/>
                </a:spcBef>
                <a:spcAft>
                  <a:spcPct val="0"/>
                </a:spcAft>
              </a:pPr>
              <a:t>03</a:t>
            </a:fld>
            <a:endParaRPr kumimoji="0" lang="ja-JP" altLang="en-US" sz="1000" b="0" dirty="0">
              <a:sym typeface="+mn-lt"/>
            </a:endParaRPr>
          </a:p>
        </p:txBody>
      </p:sp>
      <p:sp>
        <p:nvSpPr>
          <p:cNvPr id="77" name="Text Placeholder 12"/>
          <p:cNvSpPr>
            <a:spLocks noGrp="1"/>
          </p:cNvSpPr>
          <p:nvPr>
            <p:custDataLst>
              <p:tags r:id="rId43"/>
            </p:custDataLst>
          </p:nvPr>
        </p:nvSpPr>
        <p:spPr bwMode="auto">
          <a:xfrm>
            <a:off x="50371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732CAEE-A5DE-4841-94E9-D13FB4264FF9}" type="datetime'''''''''''''1''''''''''''3'''''''''">
              <a:rPr lang="ja-JP" altLang="en-US" sz="1000" b="0"/>
              <a:pPr algn="ctr">
                <a:spcBef>
                  <a:spcPct val="0"/>
                </a:spcBef>
                <a:spcAft>
                  <a:spcPct val="0"/>
                </a:spcAft>
              </a:pPr>
              <a:t>13</a:t>
            </a:fld>
            <a:endParaRPr kumimoji="0" lang="ja-JP" altLang="en-US" sz="1000" b="0" dirty="0">
              <a:sym typeface="+mn-lt"/>
            </a:endParaRPr>
          </a:p>
        </p:txBody>
      </p:sp>
      <p:sp>
        <p:nvSpPr>
          <p:cNvPr id="69" name="Text Placeholder 12"/>
          <p:cNvSpPr>
            <a:spLocks noGrp="1"/>
          </p:cNvSpPr>
          <p:nvPr>
            <p:custDataLst>
              <p:tags r:id="rId44"/>
            </p:custDataLst>
          </p:nvPr>
        </p:nvSpPr>
        <p:spPr bwMode="auto">
          <a:xfrm>
            <a:off x="24431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B8B526-E51C-4EE1-B859-B784D83B34AE}" type="datetime'''''''''''''''''''''''''''''''''''''05'''''''''''''''">
              <a:rPr lang="ja-JP" altLang="en-US" sz="1000" b="0"/>
              <a:pPr algn="ctr">
                <a:spcBef>
                  <a:spcPct val="0"/>
                </a:spcBef>
                <a:spcAft>
                  <a:spcPct val="0"/>
                </a:spcAft>
              </a:pPr>
              <a:t>05</a:t>
            </a:fld>
            <a:endParaRPr kumimoji="0" lang="ja-JP" altLang="en-US" sz="1000" b="0" dirty="0">
              <a:sym typeface="+mn-lt"/>
            </a:endParaRPr>
          </a:p>
        </p:txBody>
      </p:sp>
      <p:sp>
        <p:nvSpPr>
          <p:cNvPr id="71" name="Text Placeholder 12"/>
          <p:cNvSpPr>
            <a:spLocks noGrp="1"/>
          </p:cNvSpPr>
          <p:nvPr>
            <p:custDataLst>
              <p:tags r:id="rId45"/>
            </p:custDataLst>
          </p:nvPr>
        </p:nvSpPr>
        <p:spPr bwMode="auto">
          <a:xfrm>
            <a:off x="30908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C78E3E8-7102-42BF-B0BC-FA1E5CB5949D}" type="datetime'''''''''''''''''0''''''''''''''''''''''7'">
              <a:rPr lang="ja-JP" altLang="en-US" sz="1000" b="0"/>
              <a:pPr algn="ctr">
                <a:spcBef>
                  <a:spcPct val="0"/>
                </a:spcBef>
                <a:spcAft>
                  <a:spcPct val="0"/>
                </a:spcAft>
              </a:pPr>
              <a:t>07</a:t>
            </a:fld>
            <a:endParaRPr kumimoji="0" lang="ja-JP" altLang="en-US" sz="1000" b="0" dirty="0">
              <a:sym typeface="+mn-lt"/>
            </a:endParaRPr>
          </a:p>
        </p:txBody>
      </p:sp>
      <p:sp>
        <p:nvSpPr>
          <p:cNvPr id="72" name="Text Placeholder 12"/>
          <p:cNvSpPr>
            <a:spLocks noGrp="1"/>
          </p:cNvSpPr>
          <p:nvPr>
            <p:custDataLst>
              <p:tags r:id="rId46"/>
            </p:custDataLst>
          </p:nvPr>
        </p:nvSpPr>
        <p:spPr bwMode="auto">
          <a:xfrm>
            <a:off x="34163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04DF5EB-60E2-425F-887F-5A7A4E1F7368}" type="datetime'''''''''''''''0''''''''''''8'">
              <a:rPr lang="ja-JP" altLang="en-US" sz="1000" b="0"/>
              <a:pPr algn="ctr">
                <a:spcBef>
                  <a:spcPct val="0"/>
                </a:spcBef>
                <a:spcAft>
                  <a:spcPct val="0"/>
                </a:spcAft>
              </a:pPr>
              <a:t>08</a:t>
            </a:fld>
            <a:endParaRPr kumimoji="0" lang="ja-JP" altLang="en-US" sz="1000" b="0" dirty="0">
              <a:sym typeface="+mn-lt"/>
            </a:endParaRPr>
          </a:p>
        </p:txBody>
      </p:sp>
      <p:sp>
        <p:nvSpPr>
          <p:cNvPr id="73" name="Text Placeholder 12"/>
          <p:cNvSpPr>
            <a:spLocks noGrp="1"/>
          </p:cNvSpPr>
          <p:nvPr>
            <p:custDataLst>
              <p:tags r:id="rId47"/>
            </p:custDataLst>
          </p:nvPr>
        </p:nvSpPr>
        <p:spPr bwMode="auto">
          <a:xfrm>
            <a:off x="37401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001A92-9F3B-4E1A-AE6B-609B86E40DBC}" type="datetime'''''''''''''''''''''''''''''''''''''''0''9'''''''''''''''''''">
              <a:rPr lang="ja-JP" altLang="en-US" sz="1000" b="0"/>
              <a:pPr algn="ctr">
                <a:spcBef>
                  <a:spcPct val="0"/>
                </a:spcBef>
                <a:spcAft>
                  <a:spcPct val="0"/>
                </a:spcAft>
              </a:pPr>
              <a:t>09</a:t>
            </a:fld>
            <a:endParaRPr kumimoji="0" lang="ja-JP" altLang="en-US" sz="1000" b="0" dirty="0">
              <a:sym typeface="+mn-lt"/>
            </a:endParaRPr>
          </a:p>
        </p:txBody>
      </p:sp>
      <p:sp>
        <p:nvSpPr>
          <p:cNvPr id="74" name="Text Placeholder 12"/>
          <p:cNvSpPr>
            <a:spLocks noGrp="1"/>
          </p:cNvSpPr>
          <p:nvPr>
            <p:custDataLst>
              <p:tags r:id="rId48"/>
            </p:custDataLst>
          </p:nvPr>
        </p:nvSpPr>
        <p:spPr bwMode="auto">
          <a:xfrm>
            <a:off x="40640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2C19DD4-A886-4CD4-A276-45F6AEBA937D}" type="datetime'''''''''''''1''''''''''''''''0'''''''''''">
              <a:rPr lang="ja-JP" altLang="en-US" sz="1000" b="0"/>
              <a:pPr algn="ctr">
                <a:spcBef>
                  <a:spcPct val="0"/>
                </a:spcBef>
                <a:spcAft>
                  <a:spcPct val="0"/>
                </a:spcAft>
              </a:pPr>
              <a:t>10</a:t>
            </a:fld>
            <a:endParaRPr kumimoji="0" lang="ja-JP" altLang="en-US" sz="1000" b="0" dirty="0">
              <a:sym typeface="+mn-lt"/>
            </a:endParaRPr>
          </a:p>
        </p:txBody>
      </p:sp>
      <p:sp>
        <p:nvSpPr>
          <p:cNvPr id="75" name="Text Placeholder 12"/>
          <p:cNvSpPr>
            <a:spLocks noGrp="1"/>
          </p:cNvSpPr>
          <p:nvPr>
            <p:custDataLst>
              <p:tags r:id="rId49"/>
            </p:custDataLst>
          </p:nvPr>
        </p:nvSpPr>
        <p:spPr bwMode="auto">
          <a:xfrm>
            <a:off x="43894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7FD87E4-8858-4291-9F63-BBB50041C8D7}" type="datetime'''''''''''''''''''''''''''1''1'''''">
              <a:rPr lang="ja-JP" altLang="en-US" sz="1000" b="0"/>
              <a:pPr algn="ctr">
                <a:spcBef>
                  <a:spcPct val="0"/>
                </a:spcBef>
                <a:spcAft>
                  <a:spcPct val="0"/>
                </a:spcAft>
              </a:pPr>
              <a:t>11</a:t>
            </a:fld>
            <a:endParaRPr kumimoji="0" lang="ja-JP" altLang="en-US" sz="1000" b="0" dirty="0">
              <a:sym typeface="+mn-lt"/>
            </a:endParaRPr>
          </a:p>
        </p:txBody>
      </p:sp>
      <p:sp>
        <p:nvSpPr>
          <p:cNvPr id="76" name="Text Placeholder 12"/>
          <p:cNvSpPr>
            <a:spLocks noGrp="1"/>
          </p:cNvSpPr>
          <p:nvPr>
            <p:custDataLst>
              <p:tags r:id="rId50"/>
            </p:custDataLst>
          </p:nvPr>
        </p:nvSpPr>
        <p:spPr bwMode="auto">
          <a:xfrm>
            <a:off x="47132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E62BFF4-ED1C-4C50-9387-F46F0A7DE98A}" type="datetime'''''''''''''''''''''''''''''''''''1''''''''''2'''''''''''''''">
              <a:rPr lang="ja-JP" altLang="en-US" sz="1000" b="0"/>
              <a:pPr algn="ctr">
                <a:spcBef>
                  <a:spcPct val="0"/>
                </a:spcBef>
                <a:spcAft>
                  <a:spcPct val="0"/>
                </a:spcAft>
              </a:pPr>
              <a:t>12</a:t>
            </a:fld>
            <a:endParaRPr kumimoji="0" lang="ja-JP" altLang="en-US" sz="1000" b="0" dirty="0">
              <a:sym typeface="+mn-lt"/>
            </a:endParaRPr>
          </a:p>
        </p:txBody>
      </p:sp>
      <p:sp>
        <p:nvSpPr>
          <p:cNvPr id="78" name="Text Placeholder 12"/>
          <p:cNvSpPr>
            <a:spLocks noGrp="1"/>
          </p:cNvSpPr>
          <p:nvPr>
            <p:custDataLst>
              <p:tags r:id="rId51"/>
            </p:custDataLst>
          </p:nvPr>
        </p:nvSpPr>
        <p:spPr bwMode="auto">
          <a:xfrm>
            <a:off x="53609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9559D3-009A-411B-8485-FD47EC7EA168}" type="datetime'''''''''''''''''''''''1''''''''''''4'''''''''''">
              <a:rPr lang="ja-JP" altLang="en-US" sz="1000" b="0"/>
              <a:pPr algn="ctr">
                <a:spcBef>
                  <a:spcPct val="0"/>
                </a:spcBef>
                <a:spcAft>
                  <a:spcPct val="0"/>
                </a:spcAft>
              </a:pPr>
              <a:t>14</a:t>
            </a:fld>
            <a:endParaRPr kumimoji="0" lang="ja-JP" altLang="en-US" sz="1000" b="0" dirty="0">
              <a:sym typeface="+mn-lt"/>
            </a:endParaRPr>
          </a:p>
        </p:txBody>
      </p:sp>
      <p:sp>
        <p:nvSpPr>
          <p:cNvPr id="79" name="Text Placeholder 12"/>
          <p:cNvSpPr>
            <a:spLocks noGrp="1"/>
          </p:cNvSpPr>
          <p:nvPr>
            <p:custDataLst>
              <p:tags r:id="rId52"/>
            </p:custDataLst>
          </p:nvPr>
        </p:nvSpPr>
        <p:spPr bwMode="auto">
          <a:xfrm>
            <a:off x="56864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D2C0248-983B-4CE5-9787-91F38EED57D3}" type="datetime'''''''''''1''''''''''''''''''''''''''5'''''''''''''">
              <a:rPr lang="ja-JP" altLang="en-US" sz="1000" b="0"/>
              <a:pPr algn="ctr">
                <a:spcBef>
                  <a:spcPct val="0"/>
                </a:spcBef>
                <a:spcAft>
                  <a:spcPct val="0"/>
                </a:spcAft>
              </a:pPr>
              <a:t>15</a:t>
            </a:fld>
            <a:endParaRPr kumimoji="0" lang="ja-JP" altLang="en-US" sz="1000" b="0" dirty="0">
              <a:sym typeface="+mn-lt"/>
            </a:endParaRPr>
          </a:p>
        </p:txBody>
      </p:sp>
      <p:sp>
        <p:nvSpPr>
          <p:cNvPr id="95" name="Text Placeholder 12">
            <a:extLst>
              <a:ext uri="{FF2B5EF4-FFF2-40B4-BE49-F238E27FC236}">
                <a16:creationId xmlns:a16="http://schemas.microsoft.com/office/drawing/2014/main" id="{A59BD8F7-0CC8-4502-9B5B-6CEA46B28068}"/>
              </a:ext>
            </a:extLst>
          </p:cNvPr>
          <p:cNvSpPr>
            <a:spLocks noGrp="1"/>
          </p:cNvSpPr>
          <p:nvPr>
            <p:custDataLst>
              <p:tags r:id="rId53"/>
            </p:custDataLst>
          </p:nvPr>
        </p:nvSpPr>
        <p:spPr bwMode="auto">
          <a:xfrm>
            <a:off x="7562850"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962D43-AC7E-4C5B-AA7C-556E3CFEBA6E}" type="datetime'''''''''''2''''''''''''''''0''21'''''''''''''''''''''''">
              <a:rPr kumimoji="0" lang="en-US" altLang="en-US" sz="1000" b="0" smtClean="0"/>
              <a:pPr/>
              <a:t>2021</a:t>
            </a:fld>
            <a:endParaRPr kumimoji="0" lang="ja-JP" altLang="en-US" sz="1000" b="0" dirty="0">
              <a:sym typeface="+mn-lt"/>
            </a:endParaRPr>
          </a:p>
        </p:txBody>
      </p:sp>
      <p:sp>
        <p:nvSpPr>
          <p:cNvPr id="112" name="Text Placeholder 12"/>
          <p:cNvSpPr>
            <a:spLocks noGrp="1"/>
          </p:cNvSpPr>
          <p:nvPr>
            <p:custDataLst>
              <p:tags r:id="rId54"/>
            </p:custDataLst>
          </p:nvPr>
        </p:nvSpPr>
        <p:spPr bwMode="auto">
          <a:xfrm>
            <a:off x="60102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FAC1101-2511-4BA8-9D4D-7A8F3C6FC7F4}" type="datetime'''1''6'''''''''''''''''''''''''''''''''''''''''''''''''''''">
              <a:rPr lang="ja-JP" altLang="en-US" sz="1000" b="0" smtClean="0"/>
              <a:pPr algn="ctr">
                <a:spcBef>
                  <a:spcPct val="0"/>
                </a:spcBef>
                <a:spcAft>
                  <a:spcPct val="0"/>
                </a:spcAft>
              </a:pPr>
              <a:t>16</a:t>
            </a:fld>
            <a:endParaRPr kumimoji="0" lang="ja-JP" altLang="en-US" sz="1000" b="0" dirty="0">
              <a:sym typeface="+mn-lt"/>
            </a:endParaRPr>
          </a:p>
        </p:txBody>
      </p:sp>
      <p:sp>
        <p:nvSpPr>
          <p:cNvPr id="84" name="Text Placeholder 12">
            <a:extLst>
              <a:ext uri="{FF2B5EF4-FFF2-40B4-BE49-F238E27FC236}">
                <a16:creationId xmlns:a16="http://schemas.microsoft.com/office/drawing/2014/main" id="{953C82F3-7428-4735-A5D9-AFEFFEB5EB66}"/>
              </a:ext>
            </a:extLst>
          </p:cNvPr>
          <p:cNvSpPr>
            <a:spLocks noGrp="1"/>
          </p:cNvSpPr>
          <p:nvPr>
            <p:custDataLst>
              <p:tags r:id="rId55"/>
            </p:custDataLst>
          </p:nvPr>
        </p:nvSpPr>
        <p:spPr bwMode="auto">
          <a:xfrm>
            <a:off x="66595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pPr/>
              <a:t>18</a:t>
            </a:fld>
            <a:endParaRPr kumimoji="0" lang="ja-JP" altLang="en-US" sz="1000" b="0" dirty="0">
              <a:sym typeface="+mn-lt"/>
            </a:endParaRPr>
          </a:p>
        </p:txBody>
      </p:sp>
      <p:sp>
        <p:nvSpPr>
          <p:cNvPr id="86" name="Text Placeholder 12"/>
          <p:cNvSpPr>
            <a:spLocks noGrp="1"/>
          </p:cNvSpPr>
          <p:nvPr>
            <p:custDataLst>
              <p:tags r:id="rId56"/>
            </p:custDataLst>
          </p:nvPr>
        </p:nvSpPr>
        <p:spPr bwMode="auto">
          <a:xfrm>
            <a:off x="63341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81FBC31-52FC-485A-9C4C-89BEF09D51B8}" type="datetime'''''1''''7'''''''''''''''''''''">
              <a:rPr lang="en-US" altLang="en-US" sz="1000" b="0" smtClean="0"/>
              <a:pPr algn="ctr">
                <a:spcBef>
                  <a:spcPct val="0"/>
                </a:spcBef>
                <a:spcAft>
                  <a:spcPct val="0"/>
                </a:spcAft>
              </a:pPr>
              <a:t>17</a:t>
            </a:fld>
            <a:endParaRPr kumimoji="0" lang="ja-JP" altLang="en-US" sz="1000" b="0" dirty="0">
              <a:sym typeface="+mn-lt"/>
            </a:endParaRPr>
          </a:p>
        </p:txBody>
      </p:sp>
      <p:sp>
        <p:nvSpPr>
          <p:cNvPr id="87" name="Text Placeholder 12">
            <a:extLst>
              <a:ext uri="{FF2B5EF4-FFF2-40B4-BE49-F238E27FC236}">
                <a16:creationId xmlns:a16="http://schemas.microsoft.com/office/drawing/2014/main" id="{F444EC47-6C4E-4954-86B6-A8E72503AE54}"/>
              </a:ext>
            </a:extLst>
          </p:cNvPr>
          <p:cNvSpPr>
            <a:spLocks noGrp="1"/>
          </p:cNvSpPr>
          <p:nvPr>
            <p:custDataLst>
              <p:tags r:id="rId57"/>
            </p:custDataLst>
          </p:nvPr>
        </p:nvSpPr>
        <p:spPr bwMode="auto">
          <a:xfrm>
            <a:off x="69834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pPr/>
              <a:t>19</a:t>
            </a:fld>
            <a:endParaRPr kumimoji="0" lang="ja-JP" altLang="en-US" sz="1000" b="0" dirty="0">
              <a:sym typeface="+mn-lt"/>
            </a:endParaRPr>
          </a:p>
        </p:txBody>
      </p:sp>
      <p:sp>
        <p:nvSpPr>
          <p:cNvPr id="88" name="Text Placeholder 12">
            <a:extLst>
              <a:ext uri="{FF2B5EF4-FFF2-40B4-BE49-F238E27FC236}">
                <a16:creationId xmlns:a16="http://schemas.microsoft.com/office/drawing/2014/main" id="{2B64225D-573D-4645-B7AF-1A02ECA16C3D}"/>
              </a:ext>
            </a:extLst>
          </p:cNvPr>
          <p:cNvSpPr>
            <a:spLocks noGrp="1"/>
          </p:cNvSpPr>
          <p:nvPr>
            <p:custDataLst>
              <p:tags r:id="rId58"/>
            </p:custDataLst>
          </p:nvPr>
        </p:nvSpPr>
        <p:spPr bwMode="auto">
          <a:xfrm>
            <a:off x="73072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pPr/>
              <a:t>20</a:t>
            </a:fld>
            <a:endParaRPr kumimoji="0" lang="ja-JP" altLang="en-US" sz="1000" b="0" dirty="0">
              <a:sym typeface="+mn-lt"/>
            </a:endParaRPr>
          </a:p>
        </p:txBody>
      </p:sp>
      <p:sp>
        <p:nvSpPr>
          <p:cNvPr id="3" name="Rectangle 2"/>
          <p:cNvSpPr/>
          <p:nvPr>
            <p:custDataLst>
              <p:tags r:id="rId59"/>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60"/>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61"/>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noGrp="1"/>
          </p:cNvSpPr>
          <p:nvPr>
            <p:custDataLst>
              <p:tags r:id="rId62"/>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noGrp="1"/>
          </p:cNvSpPr>
          <p:nvPr>
            <p:custDataLst>
              <p:tags r:id="rId63"/>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spTree>
    <p:extLst>
      <p:ext uri="{BB962C8B-B14F-4D97-AF65-F5344CB8AC3E}">
        <p14:creationId xmlns:p14="http://schemas.microsoft.com/office/powerpoint/2010/main" val="6129774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329946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84" imgW="360" imgH="360" progId="TCLayout.ActiveDocument.1">
                  <p:embed/>
                </p:oleObj>
              </mc:Choice>
              <mc:Fallback>
                <p:oleObj name="think-cell Slide" r:id="rId84" imgW="360" imgH="360" progId="TCLayout.ActiveDocument.1">
                  <p:embed/>
                  <p:pic>
                    <p:nvPicPr>
                      <p:cNvPr id="7" name="Object 6" hidden="1"/>
                      <p:cNvPicPr>
                        <a:picLocks noChangeAspect="1" noChangeArrowheads="1"/>
                      </p:cNvPicPr>
                      <p:nvPr/>
                    </p:nvPicPr>
                    <p:blipFill>
                      <a:blip r:embed="rId8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ブラジ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 Investing.com</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grpSp>
        <p:nvGrpSpPr>
          <p:cNvPr id="40" name="グループ化 39"/>
          <p:cNvGrpSpPr/>
          <p:nvPr/>
        </p:nvGrpSpPr>
        <p:grpSpPr>
          <a:xfrm>
            <a:off x="4002166" y="2370138"/>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95" name="Chart 94">
            <a:extLst>
              <a:ext uri="{FF2B5EF4-FFF2-40B4-BE49-F238E27FC236}">
                <a16:creationId xmlns:a16="http://schemas.microsoft.com/office/drawing/2014/main" id="{18F32A23-ECBB-43BA-AE8E-52212582D471}"/>
              </a:ext>
            </a:extLst>
          </p:cNvPr>
          <p:cNvGraphicFramePr/>
          <p:nvPr>
            <p:custDataLst>
              <p:tags r:id="rId4"/>
            </p:custDataLst>
            <p:extLst>
              <p:ext uri="{D42A27DB-BD31-4B8C-83A1-F6EECF244321}">
                <p14:modId xmlns:p14="http://schemas.microsoft.com/office/powerpoint/2010/main" val="688045901"/>
              </p:ext>
            </p:extLst>
          </p:nvPr>
        </p:nvGraphicFramePr>
        <p:xfrm>
          <a:off x="28575" y="2282825"/>
          <a:ext cx="4948238" cy="3859213"/>
        </p:xfrm>
        <a:graphic>
          <a:graphicData uri="http://schemas.openxmlformats.org/drawingml/2006/chart">
            <c:chart xmlns:c="http://schemas.openxmlformats.org/drawingml/2006/chart" xmlns:r="http://schemas.openxmlformats.org/officeDocument/2006/relationships" r:id="rId86"/>
          </a:graphicData>
        </a:graphic>
      </p:graphicFrame>
      <p:sp>
        <p:nvSpPr>
          <p:cNvPr id="78" name="Text Placeholder 12"/>
          <p:cNvSpPr>
            <a:spLocks noGrp="1"/>
          </p:cNvSpPr>
          <p:nvPr>
            <p:custDataLst>
              <p:tags r:id="rId5"/>
            </p:custDataLst>
          </p:nvPr>
        </p:nvSpPr>
        <p:spPr bwMode="auto">
          <a:xfrm>
            <a:off x="952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800" b="0"/>
              <a:pPr algn="ctr">
                <a:spcBef>
                  <a:spcPct val="0"/>
                </a:spcBef>
                <a:spcAft>
                  <a:spcPct val="0"/>
                </a:spcAft>
              </a:pPr>
              <a:t>03</a:t>
            </a:fld>
            <a:endParaRPr kumimoji="0" lang="ja-JP" altLang="en-US" sz="800" b="0" dirty="0">
              <a:sym typeface="+mn-lt"/>
            </a:endParaRPr>
          </a:p>
        </p:txBody>
      </p:sp>
      <p:sp useBgFill="1">
        <p:nvSpPr>
          <p:cNvPr id="102" name="テキスト プレースホルダ 9">
            <a:extLst>
              <a:ext uri="{FF2B5EF4-FFF2-40B4-BE49-F238E27FC236}">
                <a16:creationId xmlns:a16="http://schemas.microsoft.com/office/drawing/2014/main" id="{8BA5AE84-7FD2-4D38-B741-41CC1FEEF802}"/>
              </a:ext>
            </a:extLst>
          </p:cNvPr>
          <p:cNvSpPr>
            <a:spLocks noGrp="1"/>
          </p:cNvSpPr>
          <p:nvPr>
            <p:custDataLst>
              <p:tags r:id="rId6"/>
            </p:custDataLst>
          </p:nvPr>
        </p:nvSpPr>
        <p:spPr bwMode="gray">
          <a:xfrm>
            <a:off x="563563" y="39497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C5D658-6862-4F2C-8C68-68CAAFEA5A0A}" type="datetime'''''''''''6''''''''.''''''''''''''''''''''8'''''''''''''">
              <a:rPr lang="en-US" altLang="en-US" sz="1000" smtClean="0">
                <a:effectLst/>
                <a:sym typeface="+mn-lt"/>
              </a:rPr>
              <a:pPr marL="0" indent="0" algn="ctr">
                <a:spcBef>
                  <a:spcPct val="0"/>
                </a:spcBef>
                <a:buNone/>
              </a:pPr>
              <a:t>6.8</a:t>
            </a:fld>
            <a:endParaRPr lang="ja-JP" altLang="en-US" sz="1000" dirty="0">
              <a:sym typeface="+mn-lt"/>
            </a:endParaRPr>
          </a:p>
        </p:txBody>
      </p:sp>
      <p:sp>
        <p:nvSpPr>
          <p:cNvPr id="75" name="Text Placeholder 12"/>
          <p:cNvSpPr>
            <a:spLocks noGrp="1"/>
          </p:cNvSpPr>
          <p:nvPr>
            <p:custDataLst>
              <p:tags r:id="rId7"/>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83" name="Text Placeholder 12"/>
          <p:cNvSpPr>
            <a:spLocks noGrp="1"/>
          </p:cNvSpPr>
          <p:nvPr>
            <p:custDataLst>
              <p:tags r:id="rId8"/>
            </p:custDataLst>
          </p:nvPr>
        </p:nvSpPr>
        <p:spPr bwMode="auto">
          <a:xfrm>
            <a:off x="1822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800" b="0"/>
              <a:pPr algn="ctr">
                <a:spcBef>
                  <a:spcPct val="0"/>
                </a:spcBef>
                <a:spcAft>
                  <a:spcPct val="0"/>
                </a:spcAft>
              </a:pPr>
              <a:t>08</a:t>
            </a:fld>
            <a:endParaRPr kumimoji="0" lang="ja-JP" altLang="en-US" sz="800" b="0" dirty="0">
              <a:sym typeface="+mn-lt"/>
            </a:endParaRPr>
          </a:p>
        </p:txBody>
      </p:sp>
      <p:sp>
        <p:nvSpPr>
          <p:cNvPr id="76" name="Text Placeholder 12"/>
          <p:cNvSpPr>
            <a:spLocks noGrp="1"/>
          </p:cNvSpPr>
          <p:nvPr>
            <p:custDataLst>
              <p:tags r:id="rId9"/>
            </p:custDataLst>
          </p:nvPr>
        </p:nvSpPr>
        <p:spPr bwMode="auto">
          <a:xfrm>
            <a:off x="37306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800" b="0"/>
              <a:pPr algn="ctr">
                <a:spcBef>
                  <a:spcPct val="0"/>
                </a:spcBef>
                <a:spcAft>
                  <a:spcPct val="0"/>
                </a:spcAft>
              </a:pPr>
              <a:t>2000</a:t>
            </a:fld>
            <a:endParaRPr kumimoji="0" lang="ja-JP" altLang="en-US" sz="800" b="0" dirty="0">
              <a:sym typeface="+mn-lt"/>
            </a:endParaRPr>
          </a:p>
        </p:txBody>
      </p:sp>
      <p:sp>
        <p:nvSpPr>
          <p:cNvPr id="81" name="Text Placeholder 12"/>
          <p:cNvSpPr>
            <a:spLocks noGrp="1"/>
          </p:cNvSpPr>
          <p:nvPr>
            <p:custDataLst>
              <p:tags r:id="rId10"/>
            </p:custDataLst>
          </p:nvPr>
        </p:nvSpPr>
        <p:spPr bwMode="auto">
          <a:xfrm>
            <a:off x="1474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800" b="0"/>
              <a:pPr algn="ctr">
                <a:spcBef>
                  <a:spcPct val="0"/>
                </a:spcBef>
                <a:spcAft>
                  <a:spcPct val="0"/>
                </a:spcAft>
              </a:pPr>
              <a:t>06</a:t>
            </a:fld>
            <a:endParaRPr kumimoji="0" lang="ja-JP" altLang="en-US" sz="800" b="0" dirty="0">
              <a:sym typeface="+mn-lt"/>
            </a:endParaRPr>
          </a:p>
        </p:txBody>
      </p:sp>
      <p:sp>
        <p:nvSpPr>
          <p:cNvPr id="77" name="Text Placeholder 12"/>
          <p:cNvSpPr>
            <a:spLocks noGrp="1"/>
          </p:cNvSpPr>
          <p:nvPr>
            <p:custDataLst>
              <p:tags r:id="rId11"/>
            </p:custDataLst>
          </p:nvPr>
        </p:nvSpPr>
        <p:spPr bwMode="auto">
          <a:xfrm>
            <a:off x="604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800" b="0"/>
              <a:pPr algn="ctr">
                <a:spcBef>
                  <a:spcPct val="0"/>
                </a:spcBef>
                <a:spcAft>
                  <a:spcPct val="0"/>
                </a:spcAft>
              </a:pPr>
              <a:t>01</a:t>
            </a:fld>
            <a:endParaRPr kumimoji="0" lang="ja-JP" altLang="en-US" sz="800" b="0" dirty="0">
              <a:sym typeface="+mn-lt"/>
            </a:endParaRPr>
          </a:p>
        </p:txBody>
      </p:sp>
      <p:sp useBgFill="1">
        <p:nvSpPr>
          <p:cNvPr id="96" name="Text Placeholder 12"/>
          <p:cNvSpPr>
            <a:spLocks noGrp="1"/>
          </p:cNvSpPr>
          <p:nvPr>
            <p:custDataLst>
              <p:tags r:id="rId12"/>
            </p:custDataLst>
          </p:nvPr>
        </p:nvSpPr>
        <p:spPr bwMode="gray">
          <a:xfrm>
            <a:off x="736600" y="361315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736B450-3483-4994-90ED-593803081D79}" type="datetime'''''''''''8''''''.''''''''5'''''''''''''''''">
              <a:rPr lang="en-US" altLang="en-US" sz="1000" b="0" smtClean="0">
                <a:effectLst/>
              </a:rPr>
              <a:pPr/>
              <a:t>8.5</a:t>
            </a:fld>
            <a:endParaRPr kumimoji="0" lang="ja-JP" altLang="en-US" sz="1000" b="0" dirty="0">
              <a:sym typeface="+mn-lt"/>
            </a:endParaRPr>
          </a:p>
        </p:txBody>
      </p:sp>
      <p:sp>
        <p:nvSpPr>
          <p:cNvPr id="74" name="Text Placeholder 12"/>
          <p:cNvSpPr>
            <a:spLocks noGrp="1"/>
          </p:cNvSpPr>
          <p:nvPr>
            <p:custDataLst>
              <p:tags r:id="rId13"/>
            </p:custDataLst>
          </p:nvPr>
        </p:nvSpPr>
        <p:spPr bwMode="auto">
          <a:xfrm>
            <a:off x="7778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800" b="0"/>
              <a:pPr algn="ctr">
                <a:spcBef>
                  <a:spcPct val="0"/>
                </a:spcBef>
                <a:spcAft>
                  <a:spcPct val="0"/>
                </a:spcAft>
              </a:pPr>
              <a:t>02</a:t>
            </a:fld>
            <a:endParaRPr kumimoji="0" lang="ja-JP" altLang="en-US" sz="800" b="0" dirty="0">
              <a:sym typeface="+mn-lt"/>
            </a:endParaRPr>
          </a:p>
        </p:txBody>
      </p:sp>
      <p:sp>
        <p:nvSpPr>
          <p:cNvPr id="79" name="Text Placeholder 12"/>
          <p:cNvSpPr>
            <a:spLocks noGrp="1"/>
          </p:cNvSpPr>
          <p:nvPr>
            <p:custDataLst>
              <p:tags r:id="rId14"/>
            </p:custDataLst>
          </p:nvPr>
        </p:nvSpPr>
        <p:spPr bwMode="auto">
          <a:xfrm>
            <a:off x="11255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800" b="0"/>
              <a:pPr algn="ctr">
                <a:spcBef>
                  <a:spcPct val="0"/>
                </a:spcBef>
                <a:spcAft>
                  <a:spcPct val="0"/>
                </a:spcAft>
              </a:pPr>
              <a:t>04</a:t>
            </a:fld>
            <a:endParaRPr kumimoji="0" lang="ja-JP" altLang="en-US" sz="800" b="0" dirty="0">
              <a:sym typeface="+mn-lt"/>
            </a:endParaRPr>
          </a:p>
        </p:txBody>
      </p:sp>
      <p:sp useBgFill="1">
        <p:nvSpPr>
          <p:cNvPr id="136" name="テキスト プレースホルダ 9">
            <a:extLst>
              <a:ext uri="{FF2B5EF4-FFF2-40B4-BE49-F238E27FC236}">
                <a16:creationId xmlns:a16="http://schemas.microsoft.com/office/drawing/2014/main" id="{E79D3944-559C-42D4-B167-860A10BEF1B5}"/>
              </a:ext>
            </a:extLst>
          </p:cNvPr>
          <p:cNvSpPr>
            <a:spLocks noGrp="1"/>
          </p:cNvSpPr>
          <p:nvPr>
            <p:custDataLst>
              <p:tags r:id="rId15"/>
            </p:custDataLst>
          </p:nvPr>
        </p:nvSpPr>
        <p:spPr bwMode="gray">
          <a:xfrm>
            <a:off x="1084263" y="40005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2F28D3-29EA-4F59-A9C9-C77C64054E39}" type="datetime'''''''''''''''''''''''''6''.''''''''''''''6'''">
              <a:rPr lang="en-US" altLang="en-US" sz="1000" smtClean="0">
                <a:effectLst/>
                <a:sym typeface="+mn-lt"/>
              </a:rPr>
              <a:pPr marL="0" indent="0" algn="ctr">
                <a:spcBef>
                  <a:spcPct val="0"/>
                </a:spcBef>
                <a:buNone/>
              </a:pPr>
              <a:t>6.6</a:t>
            </a:fld>
            <a:endParaRPr lang="ja-JP" altLang="en-US" sz="1000" dirty="0">
              <a:sym typeface="+mn-lt"/>
            </a:endParaRPr>
          </a:p>
        </p:txBody>
      </p:sp>
      <p:sp>
        <p:nvSpPr>
          <p:cNvPr id="71" name="Text Placeholder 12"/>
          <p:cNvSpPr>
            <a:spLocks noGrp="1"/>
          </p:cNvSpPr>
          <p:nvPr>
            <p:custDataLst>
              <p:tags r:id="rId16"/>
            </p:custDataLst>
          </p:nvPr>
        </p:nvSpPr>
        <p:spPr bwMode="auto">
          <a:xfrm>
            <a:off x="35623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800" b="0"/>
              <a:pPr algn="ctr">
                <a:spcBef>
                  <a:spcPct val="0"/>
                </a:spcBef>
                <a:spcAft>
                  <a:spcPct val="0"/>
                </a:spcAft>
              </a:pPr>
              <a:t>18</a:t>
            </a:fld>
            <a:endParaRPr kumimoji="0" lang="ja-JP" altLang="en-US" sz="800" b="0" dirty="0">
              <a:sym typeface="+mn-lt"/>
            </a:endParaRPr>
          </a:p>
        </p:txBody>
      </p:sp>
      <p:sp>
        <p:nvSpPr>
          <p:cNvPr id="80" name="Text Placeholder 12"/>
          <p:cNvSpPr>
            <a:spLocks noGrp="1"/>
          </p:cNvSpPr>
          <p:nvPr>
            <p:custDataLst>
              <p:tags r:id="rId17"/>
            </p:custDataLst>
          </p:nvPr>
        </p:nvSpPr>
        <p:spPr bwMode="auto">
          <a:xfrm>
            <a:off x="1300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800" b="0"/>
              <a:pPr algn="ctr">
                <a:spcBef>
                  <a:spcPct val="0"/>
                </a:spcBef>
                <a:spcAft>
                  <a:spcPct val="0"/>
                </a:spcAft>
              </a:pPr>
              <a:t>05</a:t>
            </a:fld>
            <a:endParaRPr kumimoji="0" lang="ja-JP" altLang="en-US" sz="800" b="0" dirty="0">
              <a:sym typeface="+mn-lt"/>
            </a:endParaRPr>
          </a:p>
        </p:txBody>
      </p:sp>
      <p:sp>
        <p:nvSpPr>
          <p:cNvPr id="69" name="Text Placeholder 12"/>
          <p:cNvSpPr>
            <a:spLocks noGrp="1"/>
          </p:cNvSpPr>
          <p:nvPr>
            <p:custDataLst>
              <p:tags r:id="rId18"/>
            </p:custDataLst>
          </p:nvPr>
        </p:nvSpPr>
        <p:spPr bwMode="auto">
          <a:xfrm>
            <a:off x="32146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800" b="0"/>
              <a:pPr algn="ctr">
                <a:spcBef>
                  <a:spcPct val="0"/>
                </a:spcBef>
                <a:spcAft>
                  <a:spcPct val="0"/>
                </a:spcAft>
              </a:pPr>
              <a:t>16</a:t>
            </a:fld>
            <a:endParaRPr kumimoji="0" lang="ja-JP" altLang="en-US" sz="800" b="0" dirty="0">
              <a:sym typeface="+mn-lt"/>
            </a:endParaRPr>
          </a:p>
        </p:txBody>
      </p:sp>
      <p:sp useBgFill="1">
        <p:nvSpPr>
          <p:cNvPr id="92" name="Text Placeholder 12"/>
          <p:cNvSpPr>
            <a:spLocks noGrp="1"/>
          </p:cNvSpPr>
          <p:nvPr>
            <p:custDataLst>
              <p:tags r:id="rId19"/>
            </p:custDataLst>
          </p:nvPr>
        </p:nvSpPr>
        <p:spPr bwMode="gray">
          <a:xfrm>
            <a:off x="1433513" y="4503738"/>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0A72E47-152F-4468-9C76-BF3DB799BDC2}" type="datetime'''''''''''''''''''''''''''4.''''2'''''''''''''''''''''''''">
              <a:rPr lang="en-US" altLang="en-US" sz="1000" b="0" smtClean="0">
                <a:effectLst/>
              </a:rPr>
              <a:pPr/>
              <a:t>4.2</a:t>
            </a:fld>
            <a:endParaRPr kumimoji="0" lang="ja-JP" altLang="en-US" sz="1000" b="0" dirty="0">
              <a:sym typeface="+mn-lt"/>
            </a:endParaRPr>
          </a:p>
        </p:txBody>
      </p:sp>
      <p:sp>
        <p:nvSpPr>
          <p:cNvPr id="73" name="Text Placeholder 12"/>
          <p:cNvSpPr>
            <a:spLocks noGrp="1"/>
          </p:cNvSpPr>
          <p:nvPr>
            <p:custDataLst>
              <p:tags r:id="rId20"/>
            </p:custDataLst>
          </p:nvPr>
        </p:nvSpPr>
        <p:spPr bwMode="auto">
          <a:xfrm>
            <a:off x="39100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800" b="0"/>
              <a:pPr algn="ctr">
                <a:spcBef>
                  <a:spcPct val="0"/>
                </a:spcBef>
                <a:spcAft>
                  <a:spcPct val="0"/>
                </a:spcAft>
              </a:pPr>
              <a:t>20</a:t>
            </a:fld>
            <a:endParaRPr kumimoji="0" lang="ja-JP" altLang="en-US" sz="800" b="0" dirty="0">
              <a:sym typeface="+mn-lt"/>
            </a:endParaRPr>
          </a:p>
        </p:txBody>
      </p:sp>
      <p:sp useBgFill="1">
        <p:nvSpPr>
          <p:cNvPr id="91" name="Text Placeholder 12"/>
          <p:cNvSpPr>
            <a:spLocks noGrp="1"/>
          </p:cNvSpPr>
          <p:nvPr>
            <p:custDataLst>
              <p:tags r:id="rId21"/>
            </p:custDataLst>
          </p:nvPr>
        </p:nvSpPr>
        <p:spPr bwMode="gray">
          <a:xfrm>
            <a:off x="1606550" y="4618038"/>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41954B-A5FE-454B-9431-313ABA573C92}" type="datetime'''''''''''''''''3''.''''''''''''''''''''''''''''''''''''''6'">
              <a:rPr lang="en-US" altLang="en-US" sz="1000" b="0" smtClean="0">
                <a:effectLst/>
              </a:rPr>
              <a:pPr/>
              <a:t>3.6</a:t>
            </a:fld>
            <a:endParaRPr kumimoji="0" lang="ja-JP" altLang="en-US" sz="1000" b="0" dirty="0">
              <a:sym typeface="+mn-lt"/>
            </a:endParaRPr>
          </a:p>
        </p:txBody>
      </p:sp>
      <p:sp>
        <p:nvSpPr>
          <p:cNvPr id="82" name="Text Placeholder 12"/>
          <p:cNvSpPr>
            <a:spLocks noGrp="1"/>
          </p:cNvSpPr>
          <p:nvPr>
            <p:custDataLst>
              <p:tags r:id="rId22"/>
            </p:custDataLst>
          </p:nvPr>
        </p:nvSpPr>
        <p:spPr bwMode="auto">
          <a:xfrm>
            <a:off x="1647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800" b="0"/>
              <a:pPr algn="ctr">
                <a:spcBef>
                  <a:spcPct val="0"/>
                </a:spcBef>
                <a:spcAft>
                  <a:spcPct val="0"/>
                </a:spcAft>
              </a:pPr>
              <a:t>07</a:t>
            </a:fld>
            <a:endParaRPr kumimoji="0" lang="ja-JP" altLang="en-US" sz="800" b="0" dirty="0">
              <a:sym typeface="+mn-lt"/>
            </a:endParaRPr>
          </a:p>
        </p:txBody>
      </p:sp>
      <p:sp>
        <p:nvSpPr>
          <p:cNvPr id="84" name="Text Placeholder 12"/>
          <p:cNvSpPr>
            <a:spLocks noGrp="1"/>
          </p:cNvSpPr>
          <p:nvPr>
            <p:custDataLst>
              <p:tags r:id="rId23"/>
            </p:custDataLst>
          </p:nvPr>
        </p:nvSpPr>
        <p:spPr bwMode="auto">
          <a:xfrm>
            <a:off x="199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800" b="0"/>
              <a:pPr algn="ctr">
                <a:spcBef>
                  <a:spcPct val="0"/>
                </a:spcBef>
                <a:spcAft>
                  <a:spcPct val="0"/>
                </a:spcAft>
              </a:pPr>
              <a:t>09</a:t>
            </a:fld>
            <a:endParaRPr kumimoji="0" lang="ja-JP" altLang="en-US" sz="800" b="0" dirty="0">
              <a:sym typeface="+mn-lt"/>
            </a:endParaRPr>
          </a:p>
        </p:txBody>
      </p:sp>
      <p:sp useBgFill="1">
        <p:nvSpPr>
          <p:cNvPr id="98" name="Text Placeholder 12"/>
          <p:cNvSpPr>
            <a:spLocks noGrp="1"/>
          </p:cNvSpPr>
          <p:nvPr>
            <p:custDataLst>
              <p:tags r:id="rId24"/>
            </p:custDataLst>
          </p:nvPr>
        </p:nvSpPr>
        <p:spPr bwMode="gray">
          <a:xfrm>
            <a:off x="2128838" y="4325938"/>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3045F21-3C44-4FDB-9D4E-1C20668118B8}" type="datetime'''''''5''''''''.''''''''''''''''''0'''''''''''''''''''''">
              <a:rPr lang="en-US" altLang="en-US" sz="1000" b="0" smtClean="0">
                <a:effectLst/>
              </a:rPr>
              <a:pPr/>
              <a:t>5.0</a:t>
            </a:fld>
            <a:endParaRPr kumimoji="0" lang="ja-JP" altLang="en-US" sz="1000" b="0" dirty="0">
              <a:sym typeface="+mn-lt"/>
            </a:endParaRPr>
          </a:p>
        </p:txBody>
      </p:sp>
      <p:sp>
        <p:nvSpPr>
          <p:cNvPr id="85" name="Text Placeholder 12"/>
          <p:cNvSpPr>
            <a:spLocks noGrp="1"/>
          </p:cNvSpPr>
          <p:nvPr>
            <p:custDataLst>
              <p:tags r:id="rId25"/>
            </p:custDataLst>
          </p:nvPr>
        </p:nvSpPr>
        <p:spPr bwMode="auto">
          <a:xfrm>
            <a:off x="2170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800" b="0"/>
              <a:pPr algn="ctr">
                <a:spcBef>
                  <a:spcPct val="0"/>
                </a:spcBef>
                <a:spcAft>
                  <a:spcPct val="0"/>
                </a:spcAft>
              </a:pPr>
              <a:t>10</a:t>
            </a:fld>
            <a:endParaRPr kumimoji="0" lang="ja-JP" altLang="en-US" sz="800" b="0" dirty="0">
              <a:sym typeface="+mn-lt"/>
            </a:endParaRPr>
          </a:p>
        </p:txBody>
      </p:sp>
      <p:sp>
        <p:nvSpPr>
          <p:cNvPr id="141" name="Text Placeholder 12">
            <a:extLst>
              <a:ext uri="{FF2B5EF4-FFF2-40B4-BE49-F238E27FC236}">
                <a16:creationId xmlns:a16="http://schemas.microsoft.com/office/drawing/2014/main" id="{5B0E4367-7745-4BEB-9978-0E41A5D841ED}"/>
              </a:ext>
            </a:extLst>
          </p:cNvPr>
          <p:cNvSpPr>
            <a:spLocks noGrp="1"/>
          </p:cNvSpPr>
          <p:nvPr>
            <p:custDataLst>
              <p:tags r:id="rId26"/>
            </p:custDataLst>
          </p:nvPr>
        </p:nvSpPr>
        <p:spPr bwMode="auto">
          <a:xfrm>
            <a:off x="47799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AE006E-7BCE-45CD-8986-AB0D72A158D2}" type="datetime'''''''''''''2''''''''''''''''''''5'''''''''''''''''''''''">
              <a:rPr kumimoji="0" lang="en-US" altLang="en-US" sz="800" b="0" smtClean="0"/>
              <a:pPr/>
              <a:t>25</a:t>
            </a:fld>
            <a:endParaRPr kumimoji="0" lang="ja-JP" altLang="en-US" sz="800" b="0" dirty="0">
              <a:sym typeface="+mn-lt"/>
            </a:endParaRPr>
          </a:p>
        </p:txBody>
      </p:sp>
      <p:sp>
        <p:nvSpPr>
          <p:cNvPr id="86" name="Text Placeholder 12"/>
          <p:cNvSpPr>
            <a:spLocks noGrp="1"/>
          </p:cNvSpPr>
          <p:nvPr>
            <p:custDataLst>
              <p:tags r:id="rId27"/>
            </p:custDataLst>
          </p:nvPr>
        </p:nvSpPr>
        <p:spPr bwMode="auto">
          <a:xfrm>
            <a:off x="23447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800" b="0"/>
              <a:pPr algn="ctr">
                <a:spcBef>
                  <a:spcPct val="0"/>
                </a:spcBef>
                <a:spcAft>
                  <a:spcPct val="0"/>
                </a:spcAft>
              </a:pPr>
              <a:t>11</a:t>
            </a:fld>
            <a:endParaRPr kumimoji="0" lang="ja-JP" altLang="en-US" sz="800" b="0" dirty="0">
              <a:sym typeface="+mn-lt"/>
            </a:endParaRPr>
          </a:p>
        </p:txBody>
      </p:sp>
      <p:sp useBgFill="1">
        <p:nvSpPr>
          <p:cNvPr id="99" name="Text Placeholder 12"/>
          <p:cNvSpPr>
            <a:spLocks noGrp="1"/>
          </p:cNvSpPr>
          <p:nvPr>
            <p:custDataLst>
              <p:tags r:id="rId28"/>
            </p:custDataLst>
          </p:nvPr>
        </p:nvSpPr>
        <p:spPr bwMode="gray">
          <a:xfrm>
            <a:off x="2476500" y="4249738"/>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6D2444-547A-40AD-AF44-E5D879464F2B}" type="datetime'''''''5''''''''''''''''''''''''''''''''''.''''4'''''">
              <a:rPr lang="en-US" altLang="en-US" sz="1000" b="0" smtClean="0">
                <a:effectLst/>
              </a:rPr>
              <a:pPr/>
              <a:t>5.4</a:t>
            </a:fld>
            <a:endParaRPr kumimoji="0" lang="ja-JP" altLang="en-US" sz="1000" b="0" dirty="0">
              <a:sym typeface="+mn-lt"/>
            </a:endParaRPr>
          </a:p>
        </p:txBody>
      </p:sp>
      <p:sp>
        <p:nvSpPr>
          <p:cNvPr id="87" name="Text Placeholder 12"/>
          <p:cNvSpPr>
            <a:spLocks noGrp="1"/>
          </p:cNvSpPr>
          <p:nvPr>
            <p:custDataLst>
              <p:tags r:id="rId29"/>
            </p:custDataLst>
          </p:nvPr>
        </p:nvSpPr>
        <p:spPr bwMode="auto">
          <a:xfrm>
            <a:off x="2517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800" b="0"/>
              <a:pPr algn="ctr">
                <a:spcBef>
                  <a:spcPct val="0"/>
                </a:spcBef>
                <a:spcAft>
                  <a:spcPct val="0"/>
                </a:spcAft>
              </a:pPr>
              <a:t>12</a:t>
            </a:fld>
            <a:endParaRPr kumimoji="0" lang="ja-JP" altLang="en-US" sz="800" b="0" dirty="0">
              <a:sym typeface="+mn-lt"/>
            </a:endParaRPr>
          </a:p>
        </p:txBody>
      </p:sp>
      <p:sp>
        <p:nvSpPr>
          <p:cNvPr id="88" name="Text Placeholder 12"/>
          <p:cNvSpPr>
            <a:spLocks noGrp="1"/>
          </p:cNvSpPr>
          <p:nvPr>
            <p:custDataLst>
              <p:tags r:id="rId30"/>
            </p:custDataLst>
          </p:nvPr>
        </p:nvSpPr>
        <p:spPr bwMode="auto">
          <a:xfrm>
            <a:off x="26924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800" b="0"/>
              <a:pPr algn="ctr">
                <a:spcBef>
                  <a:spcPct val="0"/>
                </a:spcBef>
                <a:spcAft>
                  <a:spcPct val="0"/>
                </a:spcAft>
              </a:pPr>
              <a:t>13</a:t>
            </a:fld>
            <a:endParaRPr kumimoji="0" lang="ja-JP" altLang="en-US" sz="800" b="0" dirty="0">
              <a:sym typeface="+mn-lt"/>
            </a:endParaRPr>
          </a:p>
        </p:txBody>
      </p:sp>
      <p:sp>
        <p:nvSpPr>
          <p:cNvPr id="135" name="Text Placeholder 12"/>
          <p:cNvSpPr>
            <a:spLocks noGrp="1"/>
          </p:cNvSpPr>
          <p:nvPr>
            <p:custDataLst>
              <p:tags r:id="rId31"/>
            </p:custDataLst>
          </p:nvPr>
        </p:nvSpPr>
        <p:spPr bwMode="auto">
          <a:xfrm>
            <a:off x="4257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800" b="0" smtClean="0"/>
              <a:pPr algn="ctr">
                <a:spcBef>
                  <a:spcPct val="0"/>
                </a:spcBef>
                <a:spcAft>
                  <a:spcPct val="0"/>
                </a:spcAft>
              </a:pPr>
              <a:t>22</a:t>
            </a:fld>
            <a:endParaRPr kumimoji="0" lang="ja-JP" altLang="en-US" sz="800" b="0" dirty="0">
              <a:sym typeface="+mn-lt"/>
            </a:endParaRPr>
          </a:p>
        </p:txBody>
      </p:sp>
      <p:sp useBgFill="1">
        <p:nvSpPr>
          <p:cNvPr id="104" name="テキスト プレースホルダ 9">
            <a:extLst>
              <a:ext uri="{FF2B5EF4-FFF2-40B4-BE49-F238E27FC236}">
                <a16:creationId xmlns:a16="http://schemas.microsoft.com/office/drawing/2014/main" id="{88F4160C-2CDD-42E7-9CC3-1EDC35BB318F}"/>
              </a:ext>
            </a:extLst>
          </p:cNvPr>
          <p:cNvSpPr>
            <a:spLocks noGrp="1"/>
          </p:cNvSpPr>
          <p:nvPr>
            <p:custDataLst>
              <p:tags r:id="rId32"/>
            </p:custDataLst>
          </p:nvPr>
        </p:nvSpPr>
        <p:spPr bwMode="gray">
          <a:xfrm>
            <a:off x="2824163" y="40560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B32CD2-1870-4F59-8157-3B6892F0921E}" type="datetime'''''''''''''''''''''''6''.''''''''''''3'">
              <a:rPr lang="en-US" altLang="en-US" sz="1000" smtClean="0">
                <a:effectLst/>
              </a:rPr>
              <a:pPr/>
              <a:t>6.3</a:t>
            </a:fld>
            <a:endParaRPr lang="ja-JP" altLang="en-US" sz="1000" dirty="0">
              <a:sym typeface="+mn-lt"/>
            </a:endParaRPr>
          </a:p>
        </p:txBody>
      </p:sp>
      <p:sp>
        <p:nvSpPr>
          <p:cNvPr id="89" name="Text Placeholder 12"/>
          <p:cNvSpPr>
            <a:spLocks noGrp="1"/>
          </p:cNvSpPr>
          <p:nvPr>
            <p:custDataLst>
              <p:tags r:id="rId33"/>
            </p:custDataLst>
          </p:nvPr>
        </p:nvSpPr>
        <p:spPr bwMode="auto">
          <a:xfrm>
            <a:off x="2865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800" b="0"/>
              <a:pPr algn="ctr">
                <a:spcBef>
                  <a:spcPct val="0"/>
                </a:spcBef>
                <a:spcAft>
                  <a:spcPct val="0"/>
                </a:spcAft>
              </a:pPr>
              <a:t>14</a:t>
            </a:fld>
            <a:endParaRPr kumimoji="0" lang="ja-JP" altLang="en-US" sz="800" b="0" dirty="0">
              <a:sym typeface="+mn-lt"/>
            </a:endParaRPr>
          </a:p>
        </p:txBody>
      </p:sp>
      <p:sp>
        <p:nvSpPr>
          <p:cNvPr id="70" name="Text Placeholder 12"/>
          <p:cNvSpPr>
            <a:spLocks noGrp="1"/>
          </p:cNvSpPr>
          <p:nvPr>
            <p:custDataLst>
              <p:tags r:id="rId34"/>
            </p:custDataLst>
          </p:nvPr>
        </p:nvSpPr>
        <p:spPr bwMode="auto">
          <a:xfrm>
            <a:off x="3387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800" b="0"/>
              <a:pPr algn="ctr">
                <a:spcBef>
                  <a:spcPct val="0"/>
                </a:spcBef>
                <a:spcAft>
                  <a:spcPct val="0"/>
                </a:spcAft>
              </a:pPr>
              <a:t>17</a:t>
            </a:fld>
            <a:endParaRPr kumimoji="0" lang="ja-JP" altLang="en-US" sz="800" b="0" dirty="0">
              <a:sym typeface="+mn-lt"/>
            </a:endParaRPr>
          </a:p>
        </p:txBody>
      </p:sp>
      <p:sp>
        <p:nvSpPr>
          <p:cNvPr id="90" name="Text Placeholder 12"/>
          <p:cNvSpPr>
            <a:spLocks noGrp="1"/>
          </p:cNvSpPr>
          <p:nvPr>
            <p:custDataLst>
              <p:tags r:id="rId35"/>
            </p:custDataLst>
          </p:nvPr>
        </p:nvSpPr>
        <p:spPr bwMode="auto">
          <a:xfrm>
            <a:off x="3040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800" b="0"/>
              <a:pPr algn="ctr">
                <a:spcBef>
                  <a:spcPct val="0"/>
                </a:spcBef>
                <a:spcAft>
                  <a:spcPct val="0"/>
                </a:spcAft>
              </a:pPr>
              <a:t>15</a:t>
            </a:fld>
            <a:endParaRPr kumimoji="0" lang="ja-JP" altLang="en-US" sz="800" b="0" dirty="0">
              <a:sym typeface="+mn-lt"/>
            </a:endParaRPr>
          </a:p>
        </p:txBody>
      </p:sp>
      <p:sp useBgFill="1">
        <p:nvSpPr>
          <p:cNvPr id="148" name="テキスト プレースホルダ 9">
            <a:extLst>
              <a:ext uri="{FF2B5EF4-FFF2-40B4-BE49-F238E27FC236}">
                <a16:creationId xmlns:a16="http://schemas.microsoft.com/office/drawing/2014/main" id="{AC38FBF5-9C87-4051-8D03-280EBC6AF90F}"/>
              </a:ext>
            </a:extLst>
          </p:cNvPr>
          <p:cNvSpPr>
            <a:spLocks noGrp="1"/>
          </p:cNvSpPr>
          <p:nvPr>
            <p:custDataLst>
              <p:tags r:id="rId36"/>
            </p:custDataLst>
          </p:nvPr>
        </p:nvSpPr>
        <p:spPr bwMode="gray">
          <a:xfrm>
            <a:off x="3346450" y="46577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438A93-D73F-44B3-A1FD-053860EB7FD8}" type="datetime'''''''''''''''''''3''.''''''''''''''''''''''4'''''''''">
              <a:rPr lang="en-US" altLang="en-US" sz="1000" smtClean="0">
                <a:effectLst/>
                <a:sym typeface="+mn-lt"/>
              </a:rPr>
              <a:pPr marL="0" indent="0" algn="ctr">
                <a:spcBef>
                  <a:spcPct val="0"/>
                </a:spcBef>
                <a:buNone/>
              </a:pPr>
              <a:t>3.4</a:t>
            </a:fld>
            <a:endParaRPr lang="ja-JP" altLang="en-US" sz="1000" dirty="0">
              <a:sym typeface="+mn-lt"/>
            </a:endParaRPr>
          </a:p>
        </p:txBody>
      </p:sp>
      <p:sp>
        <p:nvSpPr>
          <p:cNvPr id="72" name="Text Placeholder 12"/>
          <p:cNvSpPr>
            <a:spLocks noGrp="1"/>
          </p:cNvSpPr>
          <p:nvPr>
            <p:custDataLst>
              <p:tags r:id="rId37"/>
            </p:custDataLst>
          </p:nvPr>
        </p:nvSpPr>
        <p:spPr bwMode="auto">
          <a:xfrm>
            <a:off x="37353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800" b="0"/>
              <a:pPr algn="ctr">
                <a:spcBef>
                  <a:spcPct val="0"/>
                </a:spcBef>
                <a:spcAft>
                  <a:spcPct val="0"/>
                </a:spcAft>
              </a:pPr>
              <a:t>19</a:t>
            </a:fld>
            <a:endParaRPr kumimoji="0" lang="ja-JP" altLang="en-US" sz="800" b="0" dirty="0">
              <a:sym typeface="+mn-lt"/>
            </a:endParaRPr>
          </a:p>
        </p:txBody>
      </p:sp>
      <p:sp useBgFill="1">
        <p:nvSpPr>
          <p:cNvPr id="132" name="テキスト プレースホルダ 9">
            <a:extLst>
              <a:ext uri="{FF2B5EF4-FFF2-40B4-BE49-F238E27FC236}">
                <a16:creationId xmlns:a16="http://schemas.microsoft.com/office/drawing/2014/main" id="{5C5C8440-C9B4-42DB-BC58-2B8D19BC4820}"/>
              </a:ext>
            </a:extLst>
          </p:cNvPr>
          <p:cNvSpPr>
            <a:spLocks noGrp="1"/>
          </p:cNvSpPr>
          <p:nvPr>
            <p:custDataLst>
              <p:tags r:id="rId38"/>
            </p:custDataLst>
          </p:nvPr>
        </p:nvSpPr>
        <p:spPr bwMode="gray">
          <a:xfrm>
            <a:off x="3868738" y="470693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CAF1E5-FA80-4AC2-8614-8BA23BFC2D01}" type="datetime'''''''''3.''''''''''''''''''2'''''''''''''''''''''''''">
              <a:rPr lang="en-US" altLang="en-US" sz="1000" smtClean="0">
                <a:effectLst/>
              </a:rPr>
              <a:pPr/>
              <a:t>3.2</a:t>
            </a:fld>
            <a:endParaRPr lang="ja-JP" altLang="en-US" sz="1000" dirty="0">
              <a:sym typeface="+mn-lt"/>
            </a:endParaRPr>
          </a:p>
        </p:txBody>
      </p:sp>
      <p:sp useBgFill="1">
        <p:nvSpPr>
          <p:cNvPr id="151" name="テキスト プレースホルダ 9">
            <a:extLst>
              <a:ext uri="{FF2B5EF4-FFF2-40B4-BE49-F238E27FC236}">
                <a16:creationId xmlns:a16="http://schemas.microsoft.com/office/drawing/2014/main" id="{3FAA2A76-90EE-4A85-8BD2-81356B101654}"/>
              </a:ext>
            </a:extLst>
          </p:cNvPr>
          <p:cNvSpPr>
            <a:spLocks noGrp="1"/>
          </p:cNvSpPr>
          <p:nvPr>
            <p:custDataLst>
              <p:tags r:id="rId39"/>
            </p:custDataLst>
          </p:nvPr>
        </p:nvSpPr>
        <p:spPr bwMode="gray">
          <a:xfrm>
            <a:off x="4043363" y="36449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324766-4584-4A3F-84A0-54606ADE0778}" type="datetime'8''''''''.''3'''''''''''''''''''''''''''''''''''''">
              <a:rPr lang="en-US" altLang="en-US" sz="1000" smtClean="0">
                <a:effectLst/>
                <a:sym typeface="+mn-lt"/>
              </a:rPr>
              <a:pPr marL="0" indent="0" algn="ctr">
                <a:spcBef>
                  <a:spcPct val="0"/>
                </a:spcBef>
                <a:buNone/>
              </a:pPr>
              <a:t>8.3</a:t>
            </a:fld>
            <a:endParaRPr lang="ja-JP" altLang="en-US" sz="1000" dirty="0">
              <a:sym typeface="+mn-lt"/>
            </a:endParaRPr>
          </a:p>
        </p:txBody>
      </p:sp>
      <p:sp>
        <p:nvSpPr>
          <p:cNvPr id="133" name="Text Placeholder 12"/>
          <p:cNvSpPr>
            <a:spLocks noGrp="1"/>
          </p:cNvSpPr>
          <p:nvPr>
            <p:custDataLst>
              <p:tags r:id="rId40"/>
            </p:custDataLst>
          </p:nvPr>
        </p:nvSpPr>
        <p:spPr bwMode="auto">
          <a:xfrm>
            <a:off x="40846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800" b="0" smtClean="0"/>
              <a:pPr algn="ctr">
                <a:spcBef>
                  <a:spcPct val="0"/>
                </a:spcBef>
                <a:spcAft>
                  <a:spcPct val="0"/>
                </a:spcAft>
              </a:pPr>
              <a:t>21</a:t>
            </a:fld>
            <a:endParaRPr kumimoji="0" lang="ja-JP" altLang="en-US" sz="800" b="0" dirty="0">
              <a:sym typeface="+mn-lt"/>
            </a:endParaRPr>
          </a:p>
        </p:txBody>
      </p:sp>
      <p:sp useBgFill="1">
        <p:nvSpPr>
          <p:cNvPr id="143" name="テキスト プレースホルダ 9">
            <a:extLst>
              <a:ext uri="{FF2B5EF4-FFF2-40B4-BE49-F238E27FC236}">
                <a16:creationId xmlns:a16="http://schemas.microsoft.com/office/drawing/2014/main" id="{038E5815-A178-4E5A-8B06-ECADA00A50BA}"/>
              </a:ext>
            </a:extLst>
          </p:cNvPr>
          <p:cNvSpPr>
            <a:spLocks noGrp="1"/>
          </p:cNvSpPr>
          <p:nvPr>
            <p:custDataLst>
              <p:tags r:id="rId41"/>
            </p:custDataLst>
          </p:nvPr>
        </p:nvSpPr>
        <p:spPr bwMode="gray">
          <a:xfrm>
            <a:off x="4391025" y="440213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CA1BAA-E162-4A89-B01E-125A1E471907}" type="datetime'''''''''''''''''''''''''''''''''''''''''''''4''''''.''7'''''''">
              <a:rPr lang="en-US" altLang="en-US" sz="1000" smtClean="0">
                <a:effectLst/>
              </a:rPr>
              <a:pPr/>
              <a:t>4.7</a:t>
            </a:fld>
            <a:endParaRPr lang="ja-JP" altLang="en-US" sz="1000" dirty="0">
              <a:sym typeface="+mn-lt"/>
            </a:endParaRPr>
          </a:p>
        </p:txBody>
      </p:sp>
      <p:sp>
        <p:nvSpPr>
          <p:cNvPr id="137" name="Text Placeholder 12">
            <a:extLst>
              <a:ext uri="{FF2B5EF4-FFF2-40B4-BE49-F238E27FC236}">
                <a16:creationId xmlns:a16="http://schemas.microsoft.com/office/drawing/2014/main" id="{76179EAB-F5E2-4C0C-8F49-A7FBE0D6E2AA}"/>
              </a:ext>
            </a:extLst>
          </p:cNvPr>
          <p:cNvSpPr>
            <a:spLocks noGrp="1"/>
          </p:cNvSpPr>
          <p:nvPr>
            <p:custDataLst>
              <p:tags r:id="rId42"/>
            </p:custDataLst>
          </p:nvPr>
        </p:nvSpPr>
        <p:spPr bwMode="auto">
          <a:xfrm>
            <a:off x="44323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756F22A-B7A6-4CC4-9602-52314B3DD012}" type="datetime'''''''''''2''''''''''''''''''''''''''3'''''''''''''">
              <a:rPr kumimoji="0" lang="en-US" altLang="en-US" sz="800" b="0" smtClean="0"/>
              <a:pPr/>
              <a:t>23</a:t>
            </a:fld>
            <a:endParaRPr kumimoji="0" lang="ja-JP" altLang="en-US" sz="800" b="0" dirty="0">
              <a:sym typeface="+mn-lt"/>
            </a:endParaRPr>
          </a:p>
        </p:txBody>
      </p:sp>
      <p:sp>
        <p:nvSpPr>
          <p:cNvPr id="138" name="Text Placeholder 12">
            <a:extLst>
              <a:ext uri="{FF2B5EF4-FFF2-40B4-BE49-F238E27FC236}">
                <a16:creationId xmlns:a16="http://schemas.microsoft.com/office/drawing/2014/main" id="{A89606A1-BB6E-4EAD-97F3-A7AD2611DA09}"/>
              </a:ext>
            </a:extLst>
          </p:cNvPr>
          <p:cNvSpPr>
            <a:spLocks noGrp="1"/>
          </p:cNvSpPr>
          <p:nvPr>
            <p:custDataLst>
              <p:tags r:id="rId43"/>
            </p:custDataLst>
          </p:nvPr>
        </p:nvSpPr>
        <p:spPr bwMode="auto">
          <a:xfrm>
            <a:off x="4605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4A9C47-D3F1-49A1-A7B5-F3FBEB49FDFE}" type="datetime'''''2''''4'''''''''''''''''''''''''''''">
              <a:rPr kumimoji="0" lang="en-US" altLang="en-US" sz="800" b="0" smtClean="0"/>
              <a:pPr/>
              <a:t>24</a:t>
            </a:fld>
            <a:endParaRPr kumimoji="0" lang="ja-JP" altLang="en-US" sz="800" b="0" dirty="0">
              <a:sym typeface="+mn-lt"/>
            </a:endParaRPr>
          </a:p>
        </p:txBody>
      </p:sp>
      <p:graphicFrame>
        <p:nvGraphicFramePr>
          <p:cNvPr id="154" name="Chart 153">
            <a:extLst>
              <a:ext uri="{FF2B5EF4-FFF2-40B4-BE49-F238E27FC236}">
                <a16:creationId xmlns:a16="http://schemas.microsoft.com/office/drawing/2014/main" id="{41C300A3-2172-47D6-B92C-34A139CB091E}"/>
              </a:ext>
            </a:extLst>
          </p:cNvPr>
          <p:cNvGraphicFramePr/>
          <p:nvPr>
            <p:custDataLst>
              <p:tags r:id="rId44"/>
            </p:custDataLst>
            <p:extLst>
              <p:ext uri="{D42A27DB-BD31-4B8C-83A1-F6EECF244321}">
                <p14:modId xmlns:p14="http://schemas.microsoft.com/office/powerpoint/2010/main" val="259800848"/>
              </p:ext>
            </p:extLst>
          </p:nvPr>
        </p:nvGraphicFramePr>
        <p:xfrm>
          <a:off x="4895850" y="2393950"/>
          <a:ext cx="4892675" cy="3748088"/>
        </p:xfrm>
        <a:graphic>
          <a:graphicData uri="http://schemas.openxmlformats.org/drawingml/2006/chart">
            <c:chart xmlns:c="http://schemas.openxmlformats.org/drawingml/2006/chart" xmlns:r="http://schemas.openxmlformats.org/officeDocument/2006/relationships" r:id="rId87"/>
          </a:graphicData>
        </a:graphic>
      </p:graphicFrame>
      <p:sp>
        <p:nvSpPr>
          <p:cNvPr id="117" name="Text Placeholder 12"/>
          <p:cNvSpPr>
            <a:spLocks noGrp="1"/>
          </p:cNvSpPr>
          <p:nvPr>
            <p:custDataLst>
              <p:tags r:id="rId45"/>
            </p:custDataLst>
          </p:nvPr>
        </p:nvSpPr>
        <p:spPr bwMode="auto">
          <a:xfrm>
            <a:off x="5692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9E1C18-88E5-4C1F-AEBC-5FF9B4161E64}" type="datetime'''''''''''''''''''0''''''''''''''''2'''''''''''">
              <a:rPr lang="ja-JP" altLang="en-US" sz="800" b="0"/>
              <a:pPr algn="ctr">
                <a:spcBef>
                  <a:spcPct val="0"/>
                </a:spcBef>
                <a:spcAft>
                  <a:spcPct val="0"/>
                </a:spcAft>
              </a:pPr>
              <a:t>02</a:t>
            </a:fld>
            <a:endParaRPr kumimoji="0" lang="ja-JP" altLang="en-US" sz="800" b="0" dirty="0">
              <a:sym typeface="+mn-lt"/>
            </a:endParaRPr>
          </a:p>
        </p:txBody>
      </p:sp>
      <p:sp>
        <p:nvSpPr>
          <p:cNvPr id="120" name="Text Placeholder 12"/>
          <p:cNvSpPr>
            <a:spLocks noGrp="1"/>
          </p:cNvSpPr>
          <p:nvPr>
            <p:custDataLst>
              <p:tags r:id="rId46"/>
            </p:custDataLst>
          </p:nvPr>
        </p:nvSpPr>
        <p:spPr bwMode="auto">
          <a:xfrm>
            <a:off x="62849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ACC981C-8F13-4A46-B239-260E2D84E7E4}" type="datetime'''''''''''''''''''''05'''''''''''''''''''''''''''''''''''''''">
              <a:rPr lang="ja-JP" altLang="en-US" sz="800" b="0"/>
              <a:pPr algn="ctr">
                <a:spcBef>
                  <a:spcPct val="0"/>
                </a:spcBef>
                <a:spcAft>
                  <a:spcPct val="0"/>
                </a:spcAft>
              </a:pPr>
              <a:t>05</a:t>
            </a:fld>
            <a:endParaRPr kumimoji="0" lang="ja-JP" altLang="en-US" sz="800" b="0" dirty="0">
              <a:sym typeface="+mn-lt"/>
            </a:endParaRPr>
          </a:p>
        </p:txBody>
      </p:sp>
      <p:sp>
        <p:nvSpPr>
          <p:cNvPr id="115" name="Text Placeholder 12"/>
          <p:cNvSpPr>
            <a:spLocks noGrp="1"/>
          </p:cNvSpPr>
          <p:nvPr>
            <p:custDataLst>
              <p:tags r:id="rId47"/>
            </p:custDataLst>
          </p:nvPr>
        </p:nvSpPr>
        <p:spPr bwMode="auto">
          <a:xfrm>
            <a:off x="4987925" y="2162175"/>
            <a:ext cx="6381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レアル）</a:t>
            </a:r>
          </a:p>
        </p:txBody>
      </p:sp>
      <p:sp>
        <p:nvSpPr>
          <p:cNvPr id="107" name="Text Placeholder 12"/>
          <p:cNvSpPr>
            <a:spLocks noGrp="1"/>
          </p:cNvSpPr>
          <p:nvPr>
            <p:custDataLst>
              <p:tags r:id="rId48"/>
            </p:custDataLst>
          </p:nvPr>
        </p:nvSpPr>
        <p:spPr bwMode="auto">
          <a:xfrm>
            <a:off x="5240338"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59D6E1-F7A9-48ED-BFBC-48A0ABA3BCCA}" type="datetime'''''''''''2''''''''''''0''''''''''''''''''''''''''''00'''''">
              <a:rPr lang="ja-JP" altLang="en-US" sz="800" b="0" smtClean="0"/>
              <a:pPr algn="ctr">
                <a:spcBef>
                  <a:spcPct val="0"/>
                </a:spcBef>
                <a:spcAft>
                  <a:spcPct val="0"/>
                </a:spcAft>
              </a:pPr>
              <a:t>2000</a:t>
            </a:fld>
            <a:endParaRPr kumimoji="0" lang="ja-JP" altLang="en-US" sz="800" b="0" dirty="0">
              <a:sym typeface="+mn-lt"/>
            </a:endParaRPr>
          </a:p>
        </p:txBody>
      </p:sp>
      <p:sp>
        <p:nvSpPr>
          <p:cNvPr id="119" name="Text Placeholder 12"/>
          <p:cNvSpPr>
            <a:spLocks noGrp="1"/>
          </p:cNvSpPr>
          <p:nvPr>
            <p:custDataLst>
              <p:tags r:id="rId49"/>
            </p:custDataLst>
          </p:nvPr>
        </p:nvSpPr>
        <p:spPr bwMode="auto">
          <a:xfrm>
            <a:off x="6088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8543A2-3F90-4602-B822-9A51EE9A897B}" type="datetime'''''''''''''''''''''''''04'''''''''">
              <a:rPr lang="ja-JP" altLang="en-US" sz="800" b="0"/>
              <a:pPr algn="ctr">
                <a:spcBef>
                  <a:spcPct val="0"/>
                </a:spcBef>
                <a:spcAft>
                  <a:spcPct val="0"/>
                </a:spcAft>
              </a:pPr>
              <a:t>04</a:t>
            </a:fld>
            <a:endParaRPr kumimoji="0" lang="ja-JP" altLang="en-US" sz="800" b="0" dirty="0">
              <a:sym typeface="+mn-lt"/>
            </a:endParaRPr>
          </a:p>
        </p:txBody>
      </p:sp>
      <p:sp useBgFill="1">
        <p:nvSpPr>
          <p:cNvPr id="103" name="テキスト プレースホルダ 9"/>
          <p:cNvSpPr>
            <a:spLocks noGrp="1"/>
          </p:cNvSpPr>
          <p:nvPr>
            <p:custDataLst>
              <p:tags r:id="rId50"/>
            </p:custDataLst>
          </p:nvPr>
        </p:nvSpPr>
        <p:spPr bwMode="gray">
          <a:xfrm>
            <a:off x="5418138" y="3276600"/>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69790D-A583-40D8-971B-5BEA4CBEDC05}" type="datetime'5''2''''''''.''''''''''''''''''''''''''4'''''''''''''''''''">
              <a:rPr lang="en-US" altLang="en-US" sz="1000" smtClean="0">
                <a:effectLst/>
              </a:rPr>
              <a:pPr/>
              <a:t>52.4</a:t>
            </a:fld>
            <a:endParaRPr kumimoji="0" lang="ja-JP" altLang="en-US" sz="1000" dirty="0">
              <a:sym typeface="+mn-lt"/>
            </a:endParaRPr>
          </a:p>
        </p:txBody>
      </p:sp>
      <p:sp>
        <p:nvSpPr>
          <p:cNvPr id="114" name="Text Placeholder 12"/>
          <p:cNvSpPr>
            <a:spLocks noGrp="1"/>
          </p:cNvSpPr>
          <p:nvPr>
            <p:custDataLst>
              <p:tags r:id="rId51"/>
            </p:custDataLst>
          </p:nvPr>
        </p:nvSpPr>
        <p:spPr bwMode="auto">
          <a:xfrm>
            <a:off x="9247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294021-928A-4DFC-90AD-89444D3A33E9}" type="datetime'''''''''''''''''''''''''''''''''20'''''''''">
              <a:rPr lang="ja-JP" altLang="en-US" sz="800" b="0"/>
              <a:pPr algn="ctr">
                <a:spcBef>
                  <a:spcPct val="0"/>
                </a:spcBef>
                <a:spcAft>
                  <a:spcPct val="0"/>
                </a:spcAft>
              </a:pPr>
              <a:t>20</a:t>
            </a:fld>
            <a:endParaRPr kumimoji="0" lang="ja-JP" altLang="en-US" sz="800" b="0" dirty="0">
              <a:sym typeface="+mn-lt"/>
            </a:endParaRPr>
          </a:p>
        </p:txBody>
      </p:sp>
      <p:sp>
        <p:nvSpPr>
          <p:cNvPr id="118" name="Text Placeholder 12"/>
          <p:cNvSpPr>
            <a:spLocks noGrp="1"/>
          </p:cNvSpPr>
          <p:nvPr>
            <p:custDataLst>
              <p:tags r:id="rId52"/>
            </p:custDataLst>
          </p:nvPr>
        </p:nvSpPr>
        <p:spPr bwMode="auto">
          <a:xfrm>
            <a:off x="5889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D87CFE-472E-43FF-96E8-B5AB68687F7E}" type="datetime'''''0''''''''''''''''''''''''''''''''''3'">
              <a:rPr lang="ja-JP" altLang="en-US" sz="800" b="0"/>
              <a:pPr algn="ctr">
                <a:spcBef>
                  <a:spcPct val="0"/>
                </a:spcBef>
                <a:spcAft>
                  <a:spcPct val="0"/>
                </a:spcAft>
              </a:pPr>
              <a:t>03</a:t>
            </a:fld>
            <a:endParaRPr kumimoji="0" lang="ja-JP" altLang="en-US" sz="800" b="0" dirty="0">
              <a:sym typeface="+mn-lt"/>
            </a:endParaRPr>
          </a:p>
        </p:txBody>
      </p:sp>
      <p:sp useBgFill="1">
        <p:nvSpPr>
          <p:cNvPr id="147" name="テキスト プレースホルダ 9">
            <a:extLst>
              <a:ext uri="{FF2B5EF4-FFF2-40B4-BE49-F238E27FC236}">
                <a16:creationId xmlns:a16="http://schemas.microsoft.com/office/drawing/2014/main" id="{21F8BCE9-B29F-4E12-80DA-36C6C7B1A712}"/>
              </a:ext>
            </a:extLst>
          </p:cNvPr>
          <p:cNvSpPr>
            <a:spLocks noGrp="1"/>
          </p:cNvSpPr>
          <p:nvPr>
            <p:custDataLst>
              <p:tags r:id="rId53"/>
            </p:custDataLst>
          </p:nvPr>
        </p:nvSpPr>
        <p:spPr bwMode="gray">
          <a:xfrm>
            <a:off x="6800850" y="265747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3DE274-D9AF-4AA2-84D6-19E5ACBA97B0}" type="datetime'5''''''''''7''''''''.5'''''''''''''''''''''''''''''''''''">
              <a:rPr lang="en-US" altLang="en-US" sz="1000" smtClean="0">
                <a:effectLst/>
                <a:sym typeface="+mn-lt"/>
              </a:rPr>
              <a:pPr marL="0" indent="0" algn="ctr">
                <a:spcBef>
                  <a:spcPct val="0"/>
                </a:spcBef>
                <a:buNone/>
              </a:pPr>
              <a:t>57.5</a:t>
            </a:fld>
            <a:endParaRPr lang="ja-JP" altLang="en-US" sz="1000" dirty="0">
              <a:sym typeface="+mn-lt"/>
            </a:endParaRPr>
          </a:p>
        </p:txBody>
      </p:sp>
      <p:sp>
        <p:nvSpPr>
          <p:cNvPr id="126" name="Text Placeholder 12"/>
          <p:cNvSpPr>
            <a:spLocks noGrp="1"/>
          </p:cNvSpPr>
          <p:nvPr>
            <p:custDataLst>
              <p:tags r:id="rId54"/>
            </p:custDataLst>
          </p:nvPr>
        </p:nvSpPr>
        <p:spPr bwMode="auto">
          <a:xfrm>
            <a:off x="7470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399331-6690-4EF4-8DB6-BD69996AE509}" type="datetime'''''''''''''1''''''''''''''''''''''''1'">
              <a:rPr lang="ja-JP" altLang="en-US" sz="800" b="0"/>
              <a:pPr algn="ctr">
                <a:spcBef>
                  <a:spcPct val="0"/>
                </a:spcBef>
                <a:spcAft>
                  <a:spcPct val="0"/>
                </a:spcAft>
              </a:pPr>
              <a:t>11</a:t>
            </a:fld>
            <a:endParaRPr kumimoji="0" lang="ja-JP" altLang="en-US" sz="800" b="0" dirty="0">
              <a:sym typeface="+mn-lt"/>
            </a:endParaRPr>
          </a:p>
        </p:txBody>
      </p:sp>
      <p:sp>
        <p:nvSpPr>
          <p:cNvPr id="121" name="Text Placeholder 12"/>
          <p:cNvSpPr>
            <a:spLocks noGrp="1"/>
          </p:cNvSpPr>
          <p:nvPr>
            <p:custDataLst>
              <p:tags r:id="rId55"/>
            </p:custDataLst>
          </p:nvPr>
        </p:nvSpPr>
        <p:spPr bwMode="auto">
          <a:xfrm>
            <a:off x="6481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FE1468-8323-4A2C-95B5-D5F8E645B4C9}" type="datetime'0''''''''''''6'''''''''''''''''''''''''">
              <a:rPr lang="ja-JP" altLang="en-US" sz="800" b="0"/>
              <a:pPr algn="ctr">
                <a:spcBef>
                  <a:spcPct val="0"/>
                </a:spcBef>
                <a:spcAft>
                  <a:spcPct val="0"/>
                </a:spcAft>
              </a:pPr>
              <a:t>06</a:t>
            </a:fld>
            <a:endParaRPr kumimoji="0" lang="ja-JP" altLang="en-US" sz="800" b="0" dirty="0">
              <a:sym typeface="+mn-lt"/>
            </a:endParaRPr>
          </a:p>
        </p:txBody>
      </p:sp>
      <p:sp>
        <p:nvSpPr>
          <p:cNvPr id="108" name="Text Placeholder 12"/>
          <p:cNvSpPr>
            <a:spLocks noGrp="1"/>
          </p:cNvSpPr>
          <p:nvPr>
            <p:custDataLst>
              <p:tags r:id="rId56"/>
            </p:custDataLst>
          </p:nvPr>
        </p:nvSpPr>
        <p:spPr bwMode="auto">
          <a:xfrm>
            <a:off x="80629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7DA9CCF-D908-4D33-8872-BD548594F459}" type="datetime'''''''''''''''''''''''''''''''''''1''4'''''''''''''''''''">
              <a:rPr lang="ja-JP" altLang="en-US" sz="800" b="0"/>
              <a:pPr algn="ctr">
                <a:spcBef>
                  <a:spcPct val="0"/>
                </a:spcBef>
                <a:spcAft>
                  <a:spcPct val="0"/>
                </a:spcAft>
              </a:pPr>
              <a:t>14</a:t>
            </a:fld>
            <a:endParaRPr kumimoji="0" lang="ja-JP" altLang="en-US" sz="800" b="0" dirty="0">
              <a:sym typeface="+mn-lt"/>
            </a:endParaRPr>
          </a:p>
        </p:txBody>
      </p:sp>
      <p:sp>
        <p:nvSpPr>
          <p:cNvPr id="122" name="Text Placeholder 12"/>
          <p:cNvSpPr>
            <a:spLocks noGrp="1"/>
          </p:cNvSpPr>
          <p:nvPr>
            <p:custDataLst>
              <p:tags r:id="rId57"/>
            </p:custDataLst>
          </p:nvPr>
        </p:nvSpPr>
        <p:spPr bwMode="auto">
          <a:xfrm>
            <a:off x="66802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4F7D07C-EE92-42B5-87CD-B5ACFAABCAE9}" type="datetime'''''''''''''''''''''''''0''''''''''''''''''7'''''''''''''''''">
              <a:rPr lang="ja-JP" altLang="en-US" sz="800" b="0"/>
              <a:pPr algn="ctr">
                <a:spcBef>
                  <a:spcPct val="0"/>
                </a:spcBef>
                <a:spcAft>
                  <a:spcPct val="0"/>
                </a:spcAft>
              </a:pPr>
              <a:t>07</a:t>
            </a:fld>
            <a:endParaRPr kumimoji="0" lang="ja-JP" altLang="en-US" sz="800" b="0" dirty="0">
              <a:sym typeface="+mn-lt"/>
            </a:endParaRPr>
          </a:p>
        </p:txBody>
      </p:sp>
      <p:sp>
        <p:nvSpPr>
          <p:cNvPr id="123" name="Text Placeholder 12"/>
          <p:cNvSpPr>
            <a:spLocks noGrp="1"/>
          </p:cNvSpPr>
          <p:nvPr>
            <p:custDataLst>
              <p:tags r:id="rId58"/>
            </p:custDataLst>
          </p:nvPr>
        </p:nvSpPr>
        <p:spPr bwMode="auto">
          <a:xfrm>
            <a:off x="68770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444A85-F576-4C1C-92AE-E7CBE74C6272}" type="datetime'''''''0''''''''''''''''''''''8'">
              <a:rPr lang="ja-JP" altLang="en-US" sz="800" b="0"/>
              <a:pPr algn="ctr">
                <a:spcBef>
                  <a:spcPct val="0"/>
                </a:spcBef>
                <a:spcAft>
                  <a:spcPct val="0"/>
                </a:spcAft>
              </a:pPr>
              <a:t>08</a:t>
            </a:fld>
            <a:endParaRPr kumimoji="0" lang="ja-JP" altLang="en-US" sz="800" b="0" dirty="0">
              <a:sym typeface="+mn-lt"/>
            </a:endParaRPr>
          </a:p>
        </p:txBody>
      </p:sp>
      <p:sp useBgFill="1">
        <p:nvSpPr>
          <p:cNvPr id="100" name="テキスト プレースホルダ 9">
            <a:extLst>
              <a:ext uri="{FF2B5EF4-FFF2-40B4-BE49-F238E27FC236}">
                <a16:creationId xmlns:a16="http://schemas.microsoft.com/office/drawing/2014/main" id="{0420F53A-3EEC-4243-A505-67D5D54145B2}"/>
              </a:ext>
            </a:extLst>
          </p:cNvPr>
          <p:cNvSpPr>
            <a:spLocks noGrp="1"/>
          </p:cNvSpPr>
          <p:nvPr>
            <p:custDataLst>
              <p:tags r:id="rId59"/>
            </p:custDataLst>
          </p:nvPr>
        </p:nvSpPr>
        <p:spPr bwMode="gray">
          <a:xfrm>
            <a:off x="5392738" y="2908300"/>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8F2DC0-DB2E-4E0D-B8AC-AD92AF7D58CC}" type="datetime'''''''''''''''''''''''''59''''''''''''''''''''''''.''''''''1'">
              <a:rPr lang="en-US" altLang="en-US" sz="1000" smtClean="0">
                <a:effectLst/>
                <a:sym typeface="+mn-lt"/>
              </a:rPr>
              <a:pPr marL="0" indent="0" algn="ctr">
                <a:spcBef>
                  <a:spcPct val="0"/>
                </a:spcBef>
                <a:buNone/>
              </a:pPr>
              <a:t>59.1</a:t>
            </a:fld>
            <a:endParaRPr lang="ja-JP" altLang="en-US" sz="1000" dirty="0">
              <a:sym typeface="+mn-lt"/>
            </a:endParaRPr>
          </a:p>
        </p:txBody>
      </p:sp>
      <p:sp>
        <p:nvSpPr>
          <p:cNvPr id="124" name="Text Placeholder 12"/>
          <p:cNvSpPr>
            <a:spLocks noGrp="1"/>
          </p:cNvSpPr>
          <p:nvPr>
            <p:custDataLst>
              <p:tags r:id="rId60"/>
            </p:custDataLst>
          </p:nvPr>
        </p:nvSpPr>
        <p:spPr bwMode="auto">
          <a:xfrm>
            <a:off x="707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814E7A-D22A-49DF-996E-1EB8577A5956}" type="datetime'0''''''''''''''9'''''''''">
              <a:rPr lang="ja-JP" altLang="en-US" sz="800" b="0"/>
              <a:pPr algn="ctr">
                <a:spcBef>
                  <a:spcPct val="0"/>
                </a:spcBef>
                <a:spcAft>
                  <a:spcPct val="0"/>
                </a:spcAft>
              </a:pPr>
              <a:t>09</a:t>
            </a:fld>
            <a:endParaRPr kumimoji="0" lang="ja-JP" altLang="en-US" sz="800" b="0" dirty="0">
              <a:sym typeface="+mn-lt"/>
            </a:endParaRPr>
          </a:p>
        </p:txBody>
      </p:sp>
      <p:sp>
        <p:nvSpPr>
          <p:cNvPr id="125" name="Text Placeholder 12"/>
          <p:cNvSpPr>
            <a:spLocks noGrp="1"/>
          </p:cNvSpPr>
          <p:nvPr>
            <p:custDataLst>
              <p:tags r:id="rId61"/>
            </p:custDataLst>
          </p:nvPr>
        </p:nvSpPr>
        <p:spPr bwMode="auto">
          <a:xfrm>
            <a:off x="7272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B5A273-F21E-45D0-8F40-D7CC137B781F}" type="datetime'1''''''''''''''''''''''''''''''''''''''0'''">
              <a:rPr lang="ja-JP" altLang="en-US" sz="800" b="0"/>
              <a:pPr algn="ctr">
                <a:spcBef>
                  <a:spcPct val="0"/>
                </a:spcBef>
                <a:spcAft>
                  <a:spcPct val="0"/>
                </a:spcAft>
              </a:pPr>
              <a:t>10</a:t>
            </a:fld>
            <a:endParaRPr kumimoji="0" lang="ja-JP" altLang="en-US" sz="800" b="0" dirty="0">
              <a:sym typeface="+mn-lt"/>
            </a:endParaRPr>
          </a:p>
        </p:txBody>
      </p:sp>
      <p:sp useBgFill="1">
        <p:nvSpPr>
          <p:cNvPr id="150" name="テキスト プレースホルダ 9">
            <a:extLst>
              <a:ext uri="{FF2B5EF4-FFF2-40B4-BE49-F238E27FC236}">
                <a16:creationId xmlns:a16="http://schemas.microsoft.com/office/drawing/2014/main" id="{4B9C255B-0096-44CA-BFA4-1F946D5F7DF4}"/>
              </a:ext>
            </a:extLst>
          </p:cNvPr>
          <p:cNvSpPr>
            <a:spLocks noGrp="1"/>
          </p:cNvSpPr>
          <p:nvPr>
            <p:custDataLst>
              <p:tags r:id="rId62"/>
            </p:custDataLst>
          </p:nvPr>
        </p:nvSpPr>
        <p:spPr bwMode="gray">
          <a:xfrm>
            <a:off x="8183563" y="381635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75A90F-6256-4ABD-838C-D71346C4B924}" type="datetime'''''''3''''''''''''6''''.''''''''2'''''">
              <a:rPr lang="en-US" altLang="en-US" sz="1000" smtClean="0">
                <a:effectLst/>
                <a:sym typeface="+mn-lt"/>
              </a:rPr>
              <a:pPr marL="0" indent="0" algn="ctr">
                <a:spcBef>
                  <a:spcPct val="0"/>
                </a:spcBef>
                <a:buNone/>
              </a:pPr>
              <a:t>36.2</a:t>
            </a:fld>
            <a:endParaRPr lang="ja-JP" altLang="en-US" sz="1000" dirty="0">
              <a:sym typeface="+mn-lt"/>
            </a:endParaRPr>
          </a:p>
        </p:txBody>
      </p:sp>
      <p:sp>
        <p:nvSpPr>
          <p:cNvPr id="116" name="Text Placeholder 12"/>
          <p:cNvSpPr>
            <a:spLocks noGrp="1"/>
          </p:cNvSpPr>
          <p:nvPr>
            <p:custDataLst>
              <p:tags r:id="rId63"/>
            </p:custDataLst>
          </p:nvPr>
        </p:nvSpPr>
        <p:spPr bwMode="auto">
          <a:xfrm>
            <a:off x="5494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EE3D54-C7A5-4D5C-9E31-57F17480DFB2}" type="datetime'''''0''''''''''''''''''''''''''''''''1'''''''''''">
              <a:rPr lang="ja-JP" altLang="en-US" sz="800" b="0"/>
              <a:pPr algn="ctr">
                <a:spcBef>
                  <a:spcPct val="0"/>
                </a:spcBef>
                <a:spcAft>
                  <a:spcPct val="0"/>
                </a:spcAft>
              </a:pPr>
              <a:t>01</a:t>
            </a:fld>
            <a:endParaRPr kumimoji="0" lang="ja-JP" altLang="en-US" sz="800" b="0" dirty="0">
              <a:sym typeface="+mn-lt"/>
            </a:endParaRPr>
          </a:p>
        </p:txBody>
      </p:sp>
      <p:sp useBgFill="1">
        <p:nvSpPr>
          <p:cNvPr id="101" name="テキスト プレースホルダ 9">
            <a:extLst>
              <a:ext uri="{FF2B5EF4-FFF2-40B4-BE49-F238E27FC236}">
                <a16:creationId xmlns:a16="http://schemas.microsoft.com/office/drawing/2014/main" id="{4E8CC447-EC4D-4925-B8A4-92710F142CC9}"/>
              </a:ext>
            </a:extLst>
          </p:cNvPr>
          <p:cNvSpPr>
            <a:spLocks noGrp="1"/>
          </p:cNvSpPr>
          <p:nvPr>
            <p:custDataLst>
              <p:tags r:id="rId64"/>
            </p:custDataLst>
          </p:nvPr>
        </p:nvSpPr>
        <p:spPr bwMode="gray">
          <a:xfrm>
            <a:off x="5543550" y="340836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4BB8EC3-9186-48B2-8B73-C080D199E8BD}" type="datetime'''''''''''''''''4''''''3''''.''6'''''''''''''">
              <a:rPr lang="en-US" altLang="en-US" sz="1000" smtClean="0">
                <a:effectLst/>
                <a:sym typeface="+mn-lt"/>
              </a:rPr>
              <a:pPr marL="0" indent="0">
                <a:spcBef>
                  <a:spcPct val="0"/>
                </a:spcBef>
                <a:buNone/>
              </a:pPr>
              <a:t>43.6</a:t>
            </a:fld>
            <a:endParaRPr lang="ja-JP" altLang="en-US" sz="1000" dirty="0">
              <a:sym typeface="+mn-lt"/>
            </a:endParaRPr>
          </a:p>
        </p:txBody>
      </p:sp>
      <p:sp>
        <p:nvSpPr>
          <p:cNvPr id="140" name="Text Placeholder 12"/>
          <p:cNvSpPr>
            <a:spLocks noGrp="1"/>
          </p:cNvSpPr>
          <p:nvPr>
            <p:custDataLst>
              <p:tags r:id="rId65"/>
            </p:custDataLst>
          </p:nvPr>
        </p:nvSpPr>
        <p:spPr bwMode="auto">
          <a:xfrm>
            <a:off x="9642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F076B28-8DB4-4F69-BEB4-F50FBFEDB132}" type="datetime'2''''''''''''2'''''''''''''''''''''''''''''">
              <a:rPr lang="en-US" altLang="en-US" sz="800" b="0" smtClean="0"/>
              <a:pPr algn="ctr">
                <a:spcBef>
                  <a:spcPct val="0"/>
                </a:spcBef>
                <a:spcAft>
                  <a:spcPct val="0"/>
                </a:spcAft>
              </a:pPr>
              <a:t>22</a:t>
            </a:fld>
            <a:endParaRPr kumimoji="0" lang="ja-JP" altLang="en-US" sz="800" b="0" dirty="0">
              <a:sym typeface="+mn-lt"/>
            </a:endParaRPr>
          </a:p>
        </p:txBody>
      </p:sp>
      <p:sp useBgFill="1">
        <p:nvSpPr>
          <p:cNvPr id="134" name="Text Placeholder 12"/>
          <p:cNvSpPr>
            <a:spLocks noGrp="1"/>
          </p:cNvSpPr>
          <p:nvPr>
            <p:custDataLst>
              <p:tags r:id="rId66"/>
            </p:custDataLst>
          </p:nvPr>
        </p:nvSpPr>
        <p:spPr bwMode="gray">
          <a:xfrm>
            <a:off x="7591425" y="3559175"/>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7F3E346-0F00-4C4F-B9F1-239C82CBA74E}" type="datetime'4''1''''''''''''''.''''''''''0'''''''''''''''''''''''''">
              <a:rPr lang="en-US" altLang="en-US" sz="1000" b="0" smtClean="0">
                <a:effectLst/>
              </a:rPr>
              <a:pPr/>
              <a:t>41.0</a:t>
            </a:fld>
            <a:endParaRPr kumimoji="0" lang="ja-JP" altLang="en-US" sz="1000" b="0" dirty="0">
              <a:sym typeface="+mn-lt"/>
            </a:endParaRPr>
          </a:p>
        </p:txBody>
      </p:sp>
      <p:sp>
        <p:nvSpPr>
          <p:cNvPr id="127" name="Text Placeholder 12"/>
          <p:cNvSpPr>
            <a:spLocks noGrp="1"/>
          </p:cNvSpPr>
          <p:nvPr>
            <p:custDataLst>
              <p:tags r:id="rId67"/>
            </p:custDataLst>
          </p:nvPr>
        </p:nvSpPr>
        <p:spPr bwMode="auto">
          <a:xfrm>
            <a:off x="7667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45EB3E-C9AF-4A18-953E-F45E687779BD}" type="datetime'''''''''''''''''''''''''''''''''''''''''''''1''''2'''''''''">
              <a:rPr lang="ja-JP" altLang="en-US" sz="800" b="0"/>
              <a:pPr algn="ctr">
                <a:spcBef>
                  <a:spcPct val="0"/>
                </a:spcBef>
                <a:spcAft>
                  <a:spcPct val="0"/>
                </a:spcAft>
              </a:pPr>
              <a:t>12</a:t>
            </a:fld>
            <a:endParaRPr kumimoji="0" lang="ja-JP" altLang="en-US" sz="800" b="0" dirty="0">
              <a:sym typeface="+mn-lt"/>
            </a:endParaRPr>
          </a:p>
        </p:txBody>
      </p:sp>
      <p:sp>
        <p:nvSpPr>
          <p:cNvPr id="128" name="Text Placeholder 12"/>
          <p:cNvSpPr>
            <a:spLocks noGrp="1"/>
          </p:cNvSpPr>
          <p:nvPr>
            <p:custDataLst>
              <p:tags r:id="rId68"/>
            </p:custDataLst>
          </p:nvPr>
        </p:nvSpPr>
        <p:spPr bwMode="auto">
          <a:xfrm>
            <a:off x="7864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344439B-EDB3-47C3-9C4E-C7440BC6358C}" type="datetime'''''''''''''''''1''''''''''''''''''''3'">
              <a:rPr lang="ja-JP" altLang="en-US" sz="800" b="0"/>
              <a:pPr algn="ctr">
                <a:spcBef>
                  <a:spcPct val="0"/>
                </a:spcBef>
                <a:spcAft>
                  <a:spcPct val="0"/>
                </a:spcAft>
              </a:pPr>
              <a:t>13</a:t>
            </a:fld>
            <a:endParaRPr kumimoji="0" lang="ja-JP" altLang="en-US" sz="800" b="0" dirty="0">
              <a:sym typeface="+mn-lt"/>
            </a:endParaRPr>
          </a:p>
        </p:txBody>
      </p:sp>
      <p:sp useBgFill="1">
        <p:nvSpPr>
          <p:cNvPr id="105" name="テキスト プレースホルダ 9">
            <a:extLst>
              <a:ext uri="{FF2B5EF4-FFF2-40B4-BE49-F238E27FC236}">
                <a16:creationId xmlns:a16="http://schemas.microsoft.com/office/drawing/2014/main" id="{10D63A3F-44D5-4543-B4D1-80FFB7B429C1}"/>
              </a:ext>
            </a:extLst>
          </p:cNvPr>
          <p:cNvSpPr>
            <a:spLocks noGrp="1"/>
          </p:cNvSpPr>
          <p:nvPr>
            <p:custDataLst>
              <p:tags r:id="rId69"/>
            </p:custDataLst>
          </p:nvPr>
        </p:nvSpPr>
        <p:spPr bwMode="gray">
          <a:xfrm>
            <a:off x="5813425" y="371792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5DFADA-8DB6-41C2-B225-D652E83EECEC}" type="datetime'''''3''''8''''''''''''''''''''''''''.''1'''">
              <a:rPr lang="en-US" altLang="en-US" sz="1000" smtClean="0">
                <a:effectLst/>
                <a:sym typeface="+mn-lt"/>
              </a:rPr>
              <a:pPr marL="0" indent="0" algn="ctr">
                <a:spcBef>
                  <a:spcPct val="0"/>
                </a:spcBef>
                <a:buNone/>
              </a:pPr>
              <a:t>38.1</a:t>
            </a:fld>
            <a:endParaRPr lang="ja-JP" altLang="en-US" sz="1000" dirty="0">
              <a:sym typeface="+mn-lt"/>
            </a:endParaRPr>
          </a:p>
        </p:txBody>
      </p:sp>
      <p:sp>
        <p:nvSpPr>
          <p:cNvPr id="109" name="Text Placeholder 12"/>
          <p:cNvSpPr>
            <a:spLocks noGrp="1"/>
          </p:cNvSpPr>
          <p:nvPr>
            <p:custDataLst>
              <p:tags r:id="rId70"/>
            </p:custDataLst>
          </p:nvPr>
        </p:nvSpPr>
        <p:spPr bwMode="auto">
          <a:xfrm>
            <a:off x="8259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A82C9-611D-4FBE-AAC6-B5F2AC8EA843}" type="datetime'''''''''''''''''15'''''''''''''''''''''''''">
              <a:rPr lang="ja-JP" altLang="en-US" sz="800" b="0"/>
              <a:pPr algn="ctr">
                <a:spcBef>
                  <a:spcPct val="0"/>
                </a:spcBef>
                <a:spcAft>
                  <a:spcPct val="0"/>
                </a:spcAft>
              </a:pPr>
              <a:t>15</a:t>
            </a:fld>
            <a:endParaRPr kumimoji="0" lang="ja-JP" altLang="en-US" sz="800" b="0" dirty="0">
              <a:sym typeface="+mn-lt"/>
            </a:endParaRPr>
          </a:p>
        </p:txBody>
      </p:sp>
      <p:sp useBgFill="1">
        <p:nvSpPr>
          <p:cNvPr id="131" name="Text Placeholder 12"/>
          <p:cNvSpPr>
            <a:spLocks noGrp="1"/>
          </p:cNvSpPr>
          <p:nvPr>
            <p:custDataLst>
              <p:tags r:id="rId71"/>
            </p:custDataLst>
          </p:nvPr>
        </p:nvSpPr>
        <p:spPr bwMode="gray">
          <a:xfrm>
            <a:off x="8382000" y="4064000"/>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654891E-18A5-4928-A99E-32759B05379F}" type="datetime'''''''''''''''''3''''''''1''.''''''''7'''''''''">
              <a:rPr lang="en-US" altLang="en-US" sz="1000" b="0" smtClean="0">
                <a:effectLst/>
              </a:rPr>
              <a:pPr/>
              <a:t>31.7</a:t>
            </a:fld>
            <a:endParaRPr kumimoji="0" lang="ja-JP" altLang="en-US" sz="1000" b="0" dirty="0">
              <a:sym typeface="+mn-lt"/>
            </a:endParaRPr>
          </a:p>
        </p:txBody>
      </p:sp>
      <p:sp>
        <p:nvSpPr>
          <p:cNvPr id="110" name="Text Placeholder 12"/>
          <p:cNvSpPr>
            <a:spLocks noGrp="1"/>
          </p:cNvSpPr>
          <p:nvPr>
            <p:custDataLst>
              <p:tags r:id="rId72"/>
            </p:custDataLst>
          </p:nvPr>
        </p:nvSpPr>
        <p:spPr bwMode="auto">
          <a:xfrm>
            <a:off x="84582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56B52E-B986-41AE-8C06-187EB90FD48A}" type="datetime'''''''''''''''''''''1''''6'''''''''''''''">
              <a:rPr lang="ja-JP" altLang="en-US" sz="800" b="0"/>
              <a:pPr algn="ctr">
                <a:spcBef>
                  <a:spcPct val="0"/>
                </a:spcBef>
                <a:spcAft>
                  <a:spcPct val="0"/>
                </a:spcAft>
              </a:pPr>
              <a:t>16</a:t>
            </a:fld>
            <a:endParaRPr kumimoji="0" lang="ja-JP" altLang="en-US" sz="800" b="0" dirty="0">
              <a:sym typeface="+mn-lt"/>
            </a:endParaRPr>
          </a:p>
        </p:txBody>
      </p:sp>
      <p:sp>
        <p:nvSpPr>
          <p:cNvPr id="111" name="Text Placeholder 12"/>
          <p:cNvSpPr>
            <a:spLocks noGrp="1"/>
          </p:cNvSpPr>
          <p:nvPr>
            <p:custDataLst>
              <p:tags r:id="rId73"/>
            </p:custDataLst>
          </p:nvPr>
        </p:nvSpPr>
        <p:spPr bwMode="auto">
          <a:xfrm>
            <a:off x="86550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169DAA-E21E-4C22-94ED-CC513B535C05}" type="datetime'''''''''''''''''''''''1''''''''''''''''''7'''''''''''''''''">
              <a:rPr lang="ja-JP" altLang="en-US" sz="800" b="0"/>
              <a:pPr algn="ctr">
                <a:spcBef>
                  <a:spcPct val="0"/>
                </a:spcBef>
                <a:spcAft>
                  <a:spcPct val="0"/>
                </a:spcAft>
              </a:pPr>
              <a:t>17</a:t>
            </a:fld>
            <a:endParaRPr kumimoji="0" lang="ja-JP" altLang="en-US" sz="800" b="0" dirty="0">
              <a:sym typeface="+mn-lt"/>
            </a:endParaRPr>
          </a:p>
        </p:txBody>
      </p:sp>
      <p:sp>
        <p:nvSpPr>
          <p:cNvPr id="112" name="Text Placeholder 12"/>
          <p:cNvSpPr>
            <a:spLocks noGrp="1"/>
          </p:cNvSpPr>
          <p:nvPr>
            <p:custDataLst>
              <p:tags r:id="rId74"/>
            </p:custDataLst>
          </p:nvPr>
        </p:nvSpPr>
        <p:spPr bwMode="auto">
          <a:xfrm>
            <a:off x="88519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3DA8481-5731-47E2-9336-40312B6B3216}" type="datetime'''''''1''''''''''''''''''''''''''''''''''''''''''''8'''''''">
              <a:rPr lang="ja-JP" altLang="en-US" sz="800" b="0"/>
              <a:pPr algn="ctr">
                <a:spcBef>
                  <a:spcPct val="0"/>
                </a:spcBef>
                <a:spcAft>
                  <a:spcPct val="0"/>
                </a:spcAft>
              </a:pPr>
              <a:t>18</a:t>
            </a:fld>
            <a:endParaRPr kumimoji="0" lang="ja-JP" altLang="en-US" sz="800" b="0" dirty="0">
              <a:sym typeface="+mn-lt"/>
            </a:endParaRPr>
          </a:p>
        </p:txBody>
      </p:sp>
      <p:sp>
        <p:nvSpPr>
          <p:cNvPr id="113" name="Text Placeholder 12"/>
          <p:cNvSpPr>
            <a:spLocks noGrp="1"/>
          </p:cNvSpPr>
          <p:nvPr>
            <p:custDataLst>
              <p:tags r:id="rId75"/>
            </p:custDataLst>
          </p:nvPr>
        </p:nvSpPr>
        <p:spPr bwMode="auto">
          <a:xfrm>
            <a:off x="9050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01D891-3A4F-41E2-9A4C-A8667FA45C11}" type="datetime'1''''''''''''''''''''''''''''''''''''''''9'''''''''''''''">
              <a:rPr lang="ja-JP" altLang="en-US" sz="800" b="0"/>
              <a:pPr algn="ctr">
                <a:spcBef>
                  <a:spcPct val="0"/>
                </a:spcBef>
                <a:spcAft>
                  <a:spcPct val="0"/>
                </a:spcAft>
              </a:pPr>
              <a:t>19</a:t>
            </a:fld>
            <a:endParaRPr kumimoji="0" lang="ja-JP" altLang="en-US" sz="800" b="0" dirty="0">
              <a:sym typeface="+mn-lt"/>
            </a:endParaRPr>
          </a:p>
        </p:txBody>
      </p:sp>
      <p:sp>
        <p:nvSpPr>
          <p:cNvPr id="139" name="Text Placeholder 12"/>
          <p:cNvSpPr>
            <a:spLocks noGrp="1"/>
          </p:cNvSpPr>
          <p:nvPr>
            <p:custDataLst>
              <p:tags r:id="rId76"/>
            </p:custDataLst>
          </p:nvPr>
        </p:nvSpPr>
        <p:spPr bwMode="auto">
          <a:xfrm>
            <a:off x="9445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372B9E-9EDF-4C6C-A673-B35DD79D239E}" type="datetime'''''''''''21'''''''''''''''''''''''''">
              <a:rPr lang="en-US" altLang="en-US" sz="800" b="0" smtClean="0"/>
              <a:pPr algn="ctr">
                <a:spcBef>
                  <a:spcPct val="0"/>
                </a:spcBef>
                <a:spcAft>
                  <a:spcPct val="0"/>
                </a:spcAft>
              </a:pPr>
              <a:t>21</a:t>
            </a:fld>
            <a:endParaRPr kumimoji="0" lang="ja-JP" altLang="en-US" sz="800" b="0" dirty="0">
              <a:sym typeface="+mn-lt"/>
            </a:endParaRPr>
          </a:p>
        </p:txBody>
      </p:sp>
      <p:sp useBgFill="1">
        <p:nvSpPr>
          <p:cNvPr id="144" name="テキスト プレースホルダ 9">
            <a:extLst>
              <a:ext uri="{FF2B5EF4-FFF2-40B4-BE49-F238E27FC236}">
                <a16:creationId xmlns:a16="http://schemas.microsoft.com/office/drawing/2014/main" id="{C3358C3A-E183-455F-BDE2-A92B32C75327}"/>
              </a:ext>
            </a:extLst>
          </p:cNvPr>
          <p:cNvSpPr>
            <a:spLocks noGrp="1"/>
          </p:cNvSpPr>
          <p:nvPr>
            <p:custDataLst>
              <p:tags r:id="rId77"/>
            </p:custDataLst>
          </p:nvPr>
        </p:nvSpPr>
        <p:spPr bwMode="gray">
          <a:xfrm>
            <a:off x="6208713" y="326707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BC053F-9E7C-4F5A-8A85-C1468C96FA24}" type="datetime'''''''4''''''''''''''6''''''''.''''3'''''''''''''''''">
              <a:rPr lang="en-US" altLang="en-US" sz="1000" smtClean="0">
                <a:effectLst/>
                <a:sym typeface="+mn-lt"/>
              </a:rPr>
              <a:pPr marL="0" indent="0" algn="ctr">
                <a:spcBef>
                  <a:spcPct val="0"/>
                </a:spcBef>
                <a:buNone/>
              </a:pPr>
              <a:t>46.3</a:t>
            </a:fld>
            <a:endParaRPr lang="ja-JP" altLang="en-US" sz="1000" dirty="0">
              <a:sym typeface="+mn-lt"/>
            </a:endParaRPr>
          </a:p>
        </p:txBody>
      </p:sp>
      <p:sp useBgFill="1">
        <p:nvSpPr>
          <p:cNvPr id="146" name="テキスト プレースホルダ 9">
            <a:extLst>
              <a:ext uri="{FF2B5EF4-FFF2-40B4-BE49-F238E27FC236}">
                <a16:creationId xmlns:a16="http://schemas.microsoft.com/office/drawing/2014/main" id="{526663F0-97FC-494D-A04F-6F7F6815AD62}"/>
              </a:ext>
            </a:extLst>
          </p:cNvPr>
          <p:cNvSpPr>
            <a:spLocks noGrp="1"/>
          </p:cNvSpPr>
          <p:nvPr>
            <p:custDataLst>
              <p:tags r:id="rId78"/>
            </p:custDataLst>
          </p:nvPr>
        </p:nvSpPr>
        <p:spPr bwMode="gray">
          <a:xfrm>
            <a:off x="6604000" y="281146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24832A-19A9-42D2-9046-543D8966A935}" type="datetime'''''''''''6''0''''''''''''''''''.''''''''9'''''''''''''''''">
              <a:rPr lang="en-US" altLang="en-US" sz="1000" smtClean="0">
                <a:effectLst/>
                <a:sym typeface="+mn-lt"/>
              </a:rPr>
              <a:pPr marL="0" indent="0" algn="ctr">
                <a:spcBef>
                  <a:spcPct val="0"/>
                </a:spcBef>
                <a:buNone/>
              </a:pPr>
              <a:t>60.9</a:t>
            </a:fld>
            <a:endParaRPr lang="ja-JP" altLang="en-US" sz="1000" dirty="0">
              <a:sym typeface="+mn-lt"/>
            </a:endParaRPr>
          </a:p>
        </p:txBody>
      </p:sp>
      <p:sp useBgFill="1">
        <p:nvSpPr>
          <p:cNvPr id="149" name="テキスト プレースホルダ 9">
            <a:extLst>
              <a:ext uri="{FF2B5EF4-FFF2-40B4-BE49-F238E27FC236}">
                <a16:creationId xmlns:a16="http://schemas.microsoft.com/office/drawing/2014/main" id="{672E78D9-29F5-4D45-88B9-2299E5A7FA93}"/>
              </a:ext>
            </a:extLst>
          </p:cNvPr>
          <p:cNvSpPr>
            <a:spLocks noGrp="1"/>
          </p:cNvSpPr>
          <p:nvPr>
            <p:custDataLst>
              <p:tags r:id="rId79"/>
            </p:custDataLst>
          </p:nvPr>
        </p:nvSpPr>
        <p:spPr bwMode="gray">
          <a:xfrm>
            <a:off x="7394575" y="3533775"/>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2B23FD-7A73-4F3A-9AC9-32609EB95E39}" type="datetime'''''47''''''''''''''''''''''''''''''''''''''''''''''.''7'">
              <a:rPr lang="en-US" altLang="en-US" sz="1000" smtClean="0">
                <a:effectLst/>
                <a:sym typeface="+mn-lt"/>
              </a:rPr>
              <a:pPr marL="0" indent="0" algn="ctr">
                <a:spcBef>
                  <a:spcPct val="0"/>
                </a:spcBef>
                <a:buNone/>
              </a:pPr>
              <a:t>47.7</a:t>
            </a:fld>
            <a:endParaRPr lang="ja-JP" altLang="en-US" sz="1000" dirty="0">
              <a:sym typeface="+mn-lt"/>
            </a:endParaRPr>
          </a:p>
        </p:txBody>
      </p:sp>
      <p:sp useBgFill="1">
        <p:nvSpPr>
          <p:cNvPr id="152" name="テキスト プレースホルダ 9">
            <a:extLst>
              <a:ext uri="{FF2B5EF4-FFF2-40B4-BE49-F238E27FC236}">
                <a16:creationId xmlns:a16="http://schemas.microsoft.com/office/drawing/2014/main" id="{C8755BA3-199E-41AC-88BA-E63A7305F692}"/>
              </a:ext>
            </a:extLst>
          </p:cNvPr>
          <p:cNvSpPr>
            <a:spLocks noGrp="1"/>
          </p:cNvSpPr>
          <p:nvPr>
            <p:custDataLst>
              <p:tags r:id="rId80"/>
            </p:custDataLst>
          </p:nvPr>
        </p:nvSpPr>
        <p:spPr bwMode="gray">
          <a:xfrm>
            <a:off x="9369425" y="467995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00E4CB-4D7B-437F-9E66-5A89B9C614A6}" type="datetime'''''''''''''''''''''2''0''''''''''''''''''''.''''''''''4'''''">
              <a:rPr lang="en-US" altLang="en-US" sz="1000" smtClean="0">
                <a:effectLst/>
                <a:sym typeface="+mn-lt"/>
              </a:rPr>
              <a:pPr marL="0" indent="0" algn="ctr">
                <a:spcBef>
                  <a:spcPct val="0"/>
                </a:spcBef>
                <a:buNone/>
              </a:pPr>
              <a:t>20.4</a:t>
            </a:fld>
            <a:endParaRPr lang="ja-JP" altLang="en-US" sz="1000" dirty="0">
              <a:sym typeface="+mn-lt"/>
            </a:endParaRPr>
          </a:p>
        </p:txBody>
      </p:sp>
      <p:sp useBgFill="1">
        <p:nvSpPr>
          <p:cNvPr id="153" name="テキスト プレースホルダ 9">
            <a:extLst>
              <a:ext uri="{FF2B5EF4-FFF2-40B4-BE49-F238E27FC236}">
                <a16:creationId xmlns:a16="http://schemas.microsoft.com/office/drawing/2014/main" id="{042CD8E4-8787-4BC5-A1C6-676673487FB0}"/>
              </a:ext>
            </a:extLst>
          </p:cNvPr>
          <p:cNvSpPr>
            <a:spLocks noGrp="1"/>
          </p:cNvSpPr>
          <p:nvPr>
            <p:custDataLst>
              <p:tags r:id="rId81"/>
            </p:custDataLst>
          </p:nvPr>
        </p:nvSpPr>
        <p:spPr bwMode="gray">
          <a:xfrm>
            <a:off x="9566275" y="4732338"/>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E3CF13-503F-4520-8DF3-5520D557D750}" type="datetime'''''''''25''''''''''''.7'''''''''''">
              <a:rPr lang="en-US" altLang="en-US" sz="1000" smtClean="0">
                <a:effectLst/>
                <a:sym typeface="+mn-lt"/>
              </a:rPr>
              <a:pPr marL="0" indent="0" algn="ctr">
                <a:spcBef>
                  <a:spcPct val="0"/>
                </a:spcBef>
                <a:buNone/>
              </a:pPr>
              <a:t>25.7</a:t>
            </a:fld>
            <a:endParaRPr lang="ja-JP" altLang="en-US" sz="1000" dirty="0">
              <a:sym typeface="+mn-lt"/>
            </a:endParaRPr>
          </a:p>
        </p:txBody>
      </p:sp>
      <p:sp useBgFill="1">
        <p:nvSpPr>
          <p:cNvPr id="145" name="テキスト プレースホルダ 9">
            <a:extLst>
              <a:ext uri="{FF2B5EF4-FFF2-40B4-BE49-F238E27FC236}">
                <a16:creationId xmlns:a16="http://schemas.microsoft.com/office/drawing/2014/main" id="{4FD796E7-701C-4C17-9192-1E58934DE9F4}"/>
              </a:ext>
            </a:extLst>
          </p:cNvPr>
          <p:cNvSpPr>
            <a:spLocks noGrp="1"/>
          </p:cNvSpPr>
          <p:nvPr>
            <p:custDataLst>
              <p:tags r:id="rId82"/>
            </p:custDataLst>
          </p:nvPr>
        </p:nvSpPr>
        <p:spPr bwMode="gray">
          <a:xfrm>
            <a:off x="6405563" y="2865438"/>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3433E1-5CD8-4D70-B9B3-81EBD090DE5E}" type="datetime'''''''''''''''5''''''''''''''''3''''''''.''''''''''''''''6'">
              <a:rPr lang="en-US" altLang="en-US" sz="1000" smtClean="0">
                <a:effectLst/>
                <a:sym typeface="+mn-lt"/>
              </a:rPr>
              <a:pPr marL="0" indent="0" algn="ctr">
                <a:spcBef>
                  <a:spcPct val="0"/>
                </a:spcBef>
                <a:buNone/>
              </a:pPr>
              <a:t>53.6</a:t>
            </a:fld>
            <a:endParaRPr lang="ja-JP" altLang="en-US" sz="1000" dirty="0">
              <a:sym typeface="+mn-lt"/>
            </a:endParaRPr>
          </a:p>
        </p:txBody>
      </p:sp>
      <p:sp>
        <p:nvSpPr>
          <p:cNvPr id="106" name="テキスト ボックス 32">
            <a:extLst>
              <a:ext uri="{FF2B5EF4-FFF2-40B4-BE49-F238E27FC236}">
                <a16:creationId xmlns:a16="http://schemas.microsoft.com/office/drawing/2014/main" id="{250F4070-C24D-4EDD-A491-E070CB831F32}"/>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見込まれ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まで低減すると予想される。</a:t>
            </a:r>
          </a:p>
        </p:txBody>
      </p:sp>
    </p:spTree>
    <p:extLst>
      <p:ext uri="{BB962C8B-B14F-4D97-AF65-F5344CB8AC3E}">
        <p14:creationId xmlns:p14="http://schemas.microsoft.com/office/powerpoint/2010/main" val="19563640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PRESENTATIONDONOTDELETE" val="&lt;?xml version=&quot;1.0&quot; encoding=&quot;UTF-16&quot; standalone=&quot;yes&quot;?&gt;&lt;root reqver=&quot;27037&quot;&gt;&lt;version val=&quot;326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4.29397727443812637915E+00&quot;&gt;&lt;m_msothmcolidx val=&quot;0&quot;/&gt;&lt;m_rgb r=&quot;1F&quot; g=&quot;49&quot; b=&quot;7D&quot;/&gt;&lt;/elem&gt;&lt;elem m_fUsage=&quot;3.50703100000000000946E+00&quot;&gt;&lt;m_msothmcolidx val=&quot;0&quot;/&gt;&lt;m_rgb r=&quot;33&quot; g=&quot;99&quot; b=&quot;CC&quot;/&gt;&lt;/elem&gt;&lt;elem m_fUsage=&quot;1.62436415616389773220E+00&quot;&gt;&lt;m_msothmcolidx val=&quot;0&quot;/&gt;&lt;m_rgb r=&quot;80&quot; g=&quot;CC&quot; b=&quot;E8&quot;/&gt;&lt;/elem&gt;&lt;elem m_fUsage=&quot;5.70567016481800193262E-01&quot;&gt;&lt;m_msothmcolidx val=&quot;0&quot;/&gt;&lt;m_rgb r=&quot;C0&quot; g=&quot;E6&quot; b=&quot;F4&quot;/&gt;&lt;/elem&gt;&lt;elem m_fUsage=&quot;8.59504455717143901229E-04&quot;&gt;&lt;m_msothmcolidx val=&quot;0&quot;/&gt;&lt;m_rgb r=&quot;EC&quot; g=&quot;E5&quot; b=&quot;F4&quot;/&gt;&lt;/elem&gt;&lt;elem m_fUsage=&quot;7.73554010145429500264E-04&quot;&gt;&lt;m_msothmcolidx val=&quot;0&quot;/&gt;&lt;m_rgb r=&quot;D2&quot; g=&quot;E0&quot; b=&quot;E6&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YpWun8hHUZEb_sQsExuj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m2.aopiJmkk2WH0QW2FB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2UnAUg8PQamM.cZN.6JvM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fo.nKnE4td6icIhpKTY9G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ETNAsVz8l4vitejx.GmNU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PlbshEkRwuZbhhOf48oW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ISNKKXjUrhqr._WwvIWd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EdVxGuNML3Xc2pY6XMCgK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GCaBfVPzf3awmvX0s1WqR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zYm20.CA5AmX7kkuR575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U5pJJyuYSLQMRrq1F.7.e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vZrJ86U13doV5vPZdV3yM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oMG.o7sBaWqQ1onF0eK8b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sN_JaiuaSxKUpnyXM2y5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uE.9W_xxdkWtsVXIBV5so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4pXjW.9EIyZMmw7hD9nH9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m1u4PBCin4ECBRitjv1f5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eayxftgxiQoXO9U5SL9BO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vQUskIFFos9MchMBEv6Wf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X5kWuq4Wke9lWV7.av_I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kwyXzQaiBnRE_ICxjCk1z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ABjmWFiUJj7y8bsc3A9.V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Ud3PEbg4OsIGx33bE29W9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IznfPbsiKe7PXSvk90YG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Py0TGrQbZZSrUKayqBpml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8g3720t1N_kQ_xH_aE2c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Bx9wXPhafToljnd.VaeJk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8jpHQ6eOQxmTCMqv8ChUr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xV6kl4X2SLeGUIk7SAEps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cW7Ff_zDSK2Wpyd7nosYu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xv0B3HwHTwOKDLPykZVAV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PIoRHkqYTnu4aw0eV_IM1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ZIDoV5enRSil7oVODKAT7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lCoO02ZaQzuNTG7LruY.L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SgyrlBdPRsCB30Rwco_rb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snF4u9PyTFa6gx_0a4b9M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ptf9_CCfSHaM.sp_sMGN5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g8H.UJ1fQe2VpIefTemjL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TEKX83kzQ7Gcfvuf_07zE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SD7or.HcRLCzVDHyWyyfE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mwGu0RIlTH.taZsOYnONG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GIgG08zXSle_w5fUjetpm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B1ZGlvk_T.Cg0PtwHxNIC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8_QigWWjQ4Wf8xfZVQE1o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Q5x08voVS76ZF2ed3S0tC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NB7NT2zCRJOOHfJj3k.ki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JAeptNFiQtunJisG7xFoS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KWxWdXG0Rd6Sl7TL0HMS5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nLhwHdD7TzWv3BmP90VkV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O4H00v6HQKKRMTtHtdFUE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Ahad8mIxR2aixKgVYUMz1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py5YlqsfTxyVqypxHQ2u7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KL0EOgI0T922qT0FhBXOT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_naSdggqTXqlPjB7YImgZ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yGpEY5kjR_mPpdeKw4fI1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Zj_iYNoDRjOqLi_oEK8VX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zStlCt5uTZegBKNu8z4U.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DJCTHP_mSPeZzl9LtJ86N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UOZ6yQHVRd2_yFrumvqTs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I97enRZVQxWz9Y84yOnAX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tMnM9O_MRm.4cMXYuN6cL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6g5daC6kSkiiwSr0LTT1j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BU.kNNePQVes6LTlkAoqp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lL0iqlRRlQjj_7Efw7zaQ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4QepldvqKyK82v2IXrast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wKxyiI9PsLTTTs1BHGHAr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2cHr.UA23rh4ZMb7m.aX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Jv4G95HK1dfyrldOWK.d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lXQxe1zcNbtbM_khk4atr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NyYaHZkq8ukybC_d1qof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g8I7jqItiNLehtqUUfn4D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_sgLLwDfY9LLI4jEvUNf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tceedmMDR9eiyO84VA9t6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0VEtOGsb5SbnYIz.6IfMU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zJVkxtrdQBWmS.NGX_B3m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xIdk9aauRyuMmRGt5x42H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S6U4CpmaRMKlwWT9zZliZ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yKozt1ozg5qbmoJs5u6Va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JTwnUF5G1zgKPpsxQhiDG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mJ4jb5slMzwtRnX..dtyw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35VeIu373aLlhf760fCou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K9osU.HjduRJFoUhCAKMt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YNlREi3iSuSMin.QDvT8l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P_z6qqLJykdMMs.f0H8sF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HmtV_q6BHHxmdj70By.N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scLqGoBH39sY5B.2DkFjZ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bUSRbkj8qKkN0eWTE3btd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01ZqETkkS.asE5RL4g1PB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FENGXePK1W2JsnK2D77ZK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2M2tNTFxHhlxSEH3b3RAU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8vSXAXWT97asT2lTkEsDe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Gp5uBp6b.iZuJ.7hs7u0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K9AXvefctNohuLSEv.zVM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SU0nXCTwSOw_xjEXCp_O.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sEG8pz16oZWdBT0wM3hSn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j5qRkJQL83YqDL2TXY37U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seVlX40LVWFaJlCnVNxn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ISCp1_QfcE2n3DbNQ1q_L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S7QkJjPQXyzZo8ibghfZ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XXdLnsH3CnM2kUdU0EF2y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8gQJgw_QhLeXbNuXciVMl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mwG2kohb_B7lmnPLjt6NV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kacJfwOcQRm4i.oSudXyp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x8Mk9jkJFVb9hXFZyBqwC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nWPLcpCpTN2JRIGWDmfr1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qUa04uYeT8alt9RRNgjDO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8.lOZ2bJmSuVtP9lAzsFL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1SysR1dyqFx9dXoYgtPG8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R2BD1ltbm0Z89clNgmxpL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usdOhfKbTJ6wnY.Lpipbx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mqMV3BLURzKBKv7a7L2o0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RbolSZMyp1ZEOSr9nHggF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StLcM.YGTwWtMQDlgt_oD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06MPg9bOXoblxWiih2gRn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Dkj64szvRGeVuvI02Jon9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RbAQDqcQT9aW1AUjldklf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PoVUBqzITOma8m048VTYO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yv9wqgzGKWAhW..6IP5f7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ODkLkMCV_pukFPBJ7CB3R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gQdddqt5OUfrdNBtgK.Yc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2OhJlM2U8HMqeQTZHLVh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z.Ay.xEQOuSl35BPo8ATD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I8OhPSN6bLe89DUUtGLv0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sbRK7UIELvPGQhdmOn.5J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dChTjl.i.Yuj6vZAimBS7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z6XOrEDAdd6WPWUkOeV3h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6uFiju0_3d93xVvwRaln_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6c.CQk2ZX.1Axr_xZIk6t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_qn5rW.Tiso8BpnA1NIkN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sThC4zpjTNCj41nzrTPJE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SDr8vgyHonHd1MRuSEa9V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CoXS_54QseqZ0m5MrJ2Gz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K6TO5lhMyB5K62jlbBOrQ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xMwoNQz7fUeYfsmQHXk0.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_TsmwnPbD5H.b_2BiRNDN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c.Dg0O8.TF11zQ6Qt7CC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wXu79sObSfmxcqczOQh4e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3Xvr090NnrmGm2Cf0Vh0U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DZBaVjt3wNQx45O55Goaq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ovQn_0hVQ9WsnRRQiBm8F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U.fXJ5STh1oIdFuLQ3EoT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NIBBecK3_1rP1aXXWP_7K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ObZTB593hQ_BBXe_06TIl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PnjehPkeakdin5tW7yrfD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6mC2fjeWzXai1d7N18ay3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uQwweyP3_.37rnhTYszPl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_ddcPAUxkIISGfPvyleG1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aPmos4.2LTJSoCpNpKAaY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eUHSsjHHvf8ggOPUnk1EH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3cOsV5LsqcvnYa1Xg_gn7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ydyAVTUqpXJ5V3VhJ9s.j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Qmr9kPicB2ni.l47PD4sU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2VmAzfsTjI.tTvN0i7B6f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Loi4cTpxgp4CJZBv3RuWj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SbLhZTSZePANNnqVQy6MR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Cq5nISzx93EhtRT5o1Azd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2wn5iuEvMuLxbrVQXyKhr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f831MTm6TTU9JnWrJArjz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lmI8zLQPFv2vUagGk0Qz7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Ue96jgzXIedUfy5Otvtxg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XCKZFDlIMEOItVYGOvrFC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tFnIgExkuy.dkG4B9EpFp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iS9MGexDT3P7X9zrpbfr8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EKLQ2GxM9IYhCdbGN0LVL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5aI65Yb_y3epOa9JUq44G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ubmyEHPlHnuC9sOKGTnWw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cErk50jdQAuy7FA018bBZ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pTgGjcCWOGE7WyXOEjFi9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cNNWtMueRx.kXDNTWyemC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3wKJsXlssy933Pq1c_tu9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woek5EHNnRamJVWB4KLLo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FWVfE3MS4YMfHqlTiSD_i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g5Uy4rw1OPSsBks.3OjXX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0tN2usRjyKxli.EfHi_78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MHD_BhBo9Jp6rf3VO3qaK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nAi8d2vCTfoUXbssVe9Tz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c0ps3DRjhXKf75P44vR2p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yaRBpv66Sq6aBlMosFOcC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DM.mC9o1S4WCnF1sCd7yT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gytE6R6tToCbLJK7m5ZER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PdDMa_paKvXWDrYwngnIR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EEyNLynqEhv_jOgn4ww1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z2aXMoOy6VePDiEu6_Dpi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88jRqa23.RCWOUCateOBt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fOtDzuB0hiHqs1EChsNwg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CO0rLzgCBxgOX3rDtHT8X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Xjdsmza95uDn7HipUdAVM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disWxjVRwKQ64W82qli.v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40nme.Z5KbQ91LoZDpR4q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Yf1Z.tzuQ87yl7hga1VoS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G.NyrCiQYo4gzvVb2IYdu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aqbbY6yxd.hXTKkoeyee7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5fcfzLjgH3ZLt0RFTHBmL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G33KUNsZL2f0GWP_cExyl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bxZZKeGmQB3w5IfFNiQFX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A7qtnP6S5lKDZpgSCrwB6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K.Z8dRIndFf.MrHOZ2x3W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bnuzT3qt.leoV3oxtFA1e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WbR1qVabY2BK6niqpD1eF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WcdRt7LKVYD9j7ThX7TfP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_tJ2uSjg70RBlcxYUV_eA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CSyosZEYCQ8mGjKFyEZgp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WgenZfQhFeyMI7fC6.hCr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CNmZ8ICDYOEUelJtXEYVm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93A8QkNaMJOIsHJDUkDFn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ZPoT2JZ8uaaCnJb2AGb4l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DoByivPoT0xQ1VgYJXkHo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MMrO4A_dVOHu6Cp64iBhQ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RlRS0c2iG7T_ydVHqD.a5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iCYmSjEb8rtqxvRgrizdW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PgFfBY3yvQ5NxqvpJP2sc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nYr1qgyIkuxuJEEpwL1So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OQ2ye.lmMPs51i1VG776T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3fte4951wI9D6kD1caWuJ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7aUR56JVQuivWHLJNvB7H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6mbKCuxrQeC3fiZ.Sp7ho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4lERHYWAR5mq_p0kBfVlV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peF8ShBiQBKGOwju0GVgC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r70gDjTJT3KGYw9Mk6GYm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NOOwhk0MRbGr9uF4efMkb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fWHfduPmR0StKYH3Qqjib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wUdHDMBuQhuYZDbXGCRbi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UZKTfP12T0a29XRg59pWM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8ZTf75iWTHytvTrQuVS8H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5uGAFeC0Rf..4Wh3DXpI.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4kjeCYCDmvb_5YLjw50fx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I1RXgvxBSgGLKle6OEGXS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Ml8YIO7iSACDewhlcDbzR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dQ6cWiwRAemn9S2qYoWj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vkZDUv1BRsGLqir0qHmo5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F8KoJvd3ToyXS4zYMXhe4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mTW6QdZrTm2Dk7wCWrI6S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zXIdw8L9jnObr2iOJvLDF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efStjoS8cRdOETpfDoC..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5JQSFzJCTiWT1HxDwKMXY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0vFw5rrVRkW3FMSX306QV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quUV_RyhT1aDVYhowEwrZ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MykCZs2.Q2GD0MXkzj1t9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FpL2oovNSQmwTATAMx.ZY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tR6Jwp7Ehppv66xT.GXws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RhpVkSvqOs7wVHAj7nXzd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xJBWthHZFaT7ETRFziUfX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TBIxCqQrTP22jERmHraMh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isuzT9nrQierqzpTbxV2O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3qwlsKMQxWIzNOE8Sb0J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APDc8gpmTnO92zR9_59pU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QQNhyy1YBmvD6T3xGIqL1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Qp13RgvRSuSLDCKvEAmPd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ndMVUT7GT5itpt1CxlkjE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ICcspXdDnRP7qFwY5gqTR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mQm7z21ARUCHuZwIyj7q_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oNtRpRhF0GtFF6NfKNmuz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ra6W2URNRZSQJac4v5xkl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TXSPNOf6RnS2fpH2pvO1L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jboubBJUpJQSupPGSk1pu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wgnoxa9kTQi_VG8mG60SM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AyQ3E.IRLCiiM5qNv4NQ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TdXWO3gJMy7_qqeycotoX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0izOTQxIGqKexUCAgHRi7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UJYBubHpVn1bJ4pPsW_px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IolIEqwBgYQpGss_nJOh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yDyDbBvU31ng28.aWNk_7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zK8aEkiD9keZBXdvgL6Qk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PYcqGZceSrq8TfyVou95i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r4D12PSdlHT7Z567dmi4i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EBrrQ5oW0WVpf1ibCWbJ7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k5i4s1WD9TiVW35TIQyO.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agz6Uip0I21KvUkOJPcVd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UEA2aZJdHfdy6XErWB9bR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RnPM5CnTCezCLokcpQJBy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7X2WscedaZARW7II3o0Q_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wkvsi5rSTOW1LY6pQtHlo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4ReX8UHIQE27YIk4Ay4hu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qK57puTHSt.EA1hY6x6V7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jDamhoRcQtC1ZLHdl.VC8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Q5mmxxz3Q7.vXlQRIDe80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_rBn6CmOQ1q54HXhldEPR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NTJ.u2Nt5G334L.WztjNP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O3cH3H2Ze_Xpl.KpK1oPg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GcK2NFt9F7AJeODobdig6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Xe1jmphA.f8qbfd4iOwFD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PROiH8JRS.quQ_BVbewbY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_0ALS7YrQK.j66QQsAjn8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76lFV8loSualI8Lj.__Cz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2nQUZPLxQKK.9wIlG90ub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7ItTlBWMTT2xj3V7OX0sg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QivJJUYzTx6QNDqnyYoly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iv69vx5o8DAVxL91uuPMQ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2D8qLsumQvqjYdL7yasxf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9cLNscxbqPl7K9Dy1b50u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PDj3.7nAUkMlX2uTgH992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e5OyXs_9zTBtHjKHQr1Dj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xlXJ07qYu1EfReTDAAP.f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CmfbjuruwikSH4kJ78ioc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owJqRrS3H1TMZGzIkMjee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4zmsdvVmC6jU3v9bpJ2TO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0tPt4ONc.n6o0QNX5suET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E16C4K2yTBqwMRXnhOt0Z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lUJO80ViRmW.4kumoXNgN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G6A931gcTxyAC1UiQM5KW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D8JpA0GYSLasNXIGLR0Qc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YQEMsCOvSnWq6xJTV6Pvt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9OBNveQSSgSneunb.Scb2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Fd2.6zYCTlOuLowwZkk.Q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gZ4ifqxJetWOT.uNKvFjh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brFbPmafg5p9HzSDzxDNP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_P61v5Be8l6_gegarxCPb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y8OnzmAF6R.Pd6BjdchEm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gMlZmavkT2Hk5W04ZRJ06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gFkTXy5QuqTedXWP4f40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3zXAeMaS86DoTJOFJg3D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qh1uu.45QsOF_auMARVyi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KmvXD7_DRQGEBAOjrRnPl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n3L.w5_GQNicEavtDiP00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gLxtrI1dT.K5Jq9wovuSJ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0mncQzFHSWy6l2ljEbfe9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TeEpGSsARCGUcZCtpL96B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TmGWonFTQ7WJqo4YXQytH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RAiNH2cJQuSI_T48Yi1ry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sj07Jbs4T8qUu_xZicw4S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fVNjkSWzS9aWDTvW1O4tB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8H18sSpFbQq3IH8YgXRZX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p0Birb5fUTCT7pPYdV5Ys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jGsszhM6TO7WPGndQQnQ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EDcfwzBwm3WyJ.Thelnef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vNSYKGk9Zq5dRQVop_81l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KuTNLSilKR2dE9iv8QZOZ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631Q4IkYz.qR7E8UreAu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tW8BeufWnhA.HR7xjVFl7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sbcJHLdG6gXluKQ_MNnOH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vMOBsFfgrJ0Bxb22ytfTz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4eRk30jNgC.iasiJLkfOC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Md2_8r9LkIpUAoo54EvCO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BPeW73.Sqa6Yal06ZyrSs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VCGveKUS3hq0PO6BJ2lFK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1rkjCf6zDM.mlwliUWRJ0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S0VCROJBAY8pceEdlGWw3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dPYkoRghybXS3K_d_2mky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B7_h6vgRfytEnxSSoC9y0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zR1Z6N3eKgo5xa2IpGy9c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TkIAEXNIspRLOBPSCmfji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KsM64PHBaKhwVn3nCpHBL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2Z.lvn5HQsbkKuEex5Rfm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6PulOO1r1w5lUHRU8knik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cGVk2qak7f.L1r13n262d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n.b47Lu5d2uC1q.Lp68L7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LH4gdlne2TXTw4lrV3Ee7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mLoIc44O375U0A4jYX3Jn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oLZ10I3fcMsgiA4KBImlr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yHl9g2M6VSaHPOj8w.YWY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MFgmYu7E.UQIu4CltzPN1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cI9Lwu4k8M7XG5_GIaZeq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YzULpPsbewQDRqi6GJ5F0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7QjZhttLWoVytLnBBqZRA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Hm9KN_qQVfqRgqMcyH6L4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bAVq2FWh5j8K0FoI37vgd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dprxRBXxACREEq_VoMf01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Jqr4VX_Rzo2ycLOPv5RWK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XuAaHntaEcU75qbYzkuUb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o7oSOVcnIFXBPRN7ZSvSM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AbWhMeaGrGaPNRSMLPJBY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LP4mtrdtxMFT09XyhZAB5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dPLojrmnzO9n70lpO3HRS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FPZbu7vYkRWy_peSaaV6q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4FG8tzxfxbxh0QzeC2hN6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b7_e0IkSZ4JBz7DUSv5pC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I34_S8uN9KpYosZ53pcy4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1N.gCM96rLDgx9Rw4L2NH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GANAr5IjjwE5BFT2LuEegA"/>
</p:tagLst>
</file>

<file path=ppt/tags/tag802.xml><?xml version="1.0" encoding="utf-8"?>
<p:tagLst xmlns:a="http://schemas.openxmlformats.org/drawingml/2006/main" xmlns:r="http://schemas.openxmlformats.org/officeDocument/2006/relationships" xmlns:p="http://schemas.openxmlformats.org/presentationml/2006/main">
  <p:tag name="NAME" val="Sticky"/>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WuCzEM3OAtTvkw6cfr6tN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WnNbT0dGQE_siSoBODDX.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CBbAyOiaJBO54GA2WePhE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XETIlg1J0HAr0BjvQU6Gm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toyXc5QHX9Ht59gZjLa.X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je.tmnmVQX5EJj4NbxI4v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wOn8jGWwyGgnmkSMvKq9H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W9YmvD6ZR1X5sT0ByUGul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4.YNu1YMUKqRjwsCJGMbV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_tVLxqhdofYzD_VzvwR4h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8mV_aPI2Stv.2yaWM8c.E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dmUGjOGh2ecQ_qV2LmUjE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y.6pvITtVs8x6R6yEz03q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IDgZu.3Ac3j3Fo50TZtUt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i236b9J_SPULN06OfPAD3Q"/>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g8T7aUnkdf4T1J5VHKCtk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WMmV4KVxbnUnpXkqmLZbr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6rcnAo2036W1OB1AfImS_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tYbMGfRSt885yoH49qIKZ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Ard2s3ypa8eU9SUS3PH.P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2a4p.XsVH93FUeHhg3WmQ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cKtpsBITprCwUVeNgpk8I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kemUSngn8DevYspzOpAV3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JbtPxoLSBpzQofU8Mxik1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Cj3jcY1Tlwcp6aJtqU8W.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z_zqTW4AEzfPKJjxmJXV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0ABQLhOjsZ6M.64BvX7LM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AOviJqgta8OUk2ajX.95I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M8o_vmpQeFwXMsk5BdDkA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1_JJDXbUSXEiLRUZjJ7xV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dx.t36.AsLEINRITOcC9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0682</TotalTime>
  <Words>29254</Words>
  <Application>Microsoft Office PowerPoint</Application>
  <PresentationFormat>A4 Paper (210x297 mm)</PresentationFormat>
  <Paragraphs>2862</Paragraphs>
  <Slides>77</Slides>
  <Notes>1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77</vt:i4>
      </vt:variant>
    </vt:vector>
  </HeadingPairs>
  <TitlesOfParts>
    <vt:vector size="89" baseType="lpstr">
      <vt:lpstr>HGP創英角ｺﾞｼｯｸUB</vt:lpstr>
      <vt:lpstr>HGS創英角ｺﾞｼｯｸUB</vt:lpstr>
      <vt:lpstr>MS Pゴシック</vt:lpstr>
      <vt:lpstr>ＭＳ Ｐゴシック</vt:lpstr>
      <vt:lpstr>ヒラギノ角ゴ Pro W3</vt:lpstr>
      <vt:lpstr>Arial</vt:lpstr>
      <vt:lpstr>Arial Black</vt:lpstr>
      <vt:lpstr>Segoe UI</vt:lpstr>
      <vt:lpstr>Wingdings</vt:lpstr>
      <vt:lpstr>NRI Template</vt:lpstr>
      <vt:lpstr>think-cell Slide</vt:lpstr>
      <vt:lpstr>Chart</vt:lpstr>
      <vt:lpstr>PowerPoint Presentation</vt:lpstr>
      <vt:lpstr>PowerPoint Presentation</vt:lpstr>
      <vt:lpstr>PowerPoint Presentation</vt:lpstr>
      <vt:lpstr>一般概況</vt:lpstr>
      <vt:lpstr>ブラジル／一般概況</vt:lpstr>
      <vt:lpstr>ブラジル／一般概況／経済</vt:lpstr>
      <vt:lpstr>ブラジル／一般概況／経済</vt:lpstr>
      <vt:lpstr>ブラジル／一般概況／経済</vt:lpstr>
      <vt:lpstr>ブラジル／一般概況／経済</vt:lpstr>
      <vt:lpstr>ブラジル／一般概況／規制</vt:lpstr>
      <vt:lpstr>ブラジル／一般概況／規制</vt:lpstr>
      <vt:lpstr>ブラジル／一般概況／規制</vt:lpstr>
      <vt:lpstr>医療関連</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医療・公衆衛生</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制度</vt:lpstr>
      <vt:lpstr>ブラジル／医療関連／医療サービス</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療機器</vt:lpstr>
      <vt:lpstr>ブラジル／医療関連／医薬品</vt:lpstr>
      <vt:lpstr>ブラジル／医療関連／医薬品</vt:lpstr>
      <vt:lpstr>ブラジル／医療関連／医薬品</vt:lpstr>
      <vt:lpstr>ブラジル／医療関連／医薬品</vt:lpstr>
      <vt:lpstr>ブラジル／医療関連／介護</vt:lpstr>
      <vt:lpstr>ブラジル／医療関連／介護</vt:lpstr>
      <vt:lpstr>ブラジル／医療関連／歯科</vt:lpstr>
      <vt:lpstr>その他</vt:lpstr>
      <vt:lpstr>ブラジル／医療関連／その他</vt:lpstr>
      <vt:lpstr>ブラジル／医療関連／その他</vt:lpstr>
      <vt:lpstr>ブラジル／医療関連／その他</vt:lpstr>
      <vt:lpstr>ブラジル／医療関連／その他</vt:lpstr>
      <vt:lpstr>ブラジル／医療関連／その他</vt:lpstr>
      <vt:lpstr>政策動向</vt:lpstr>
      <vt:lpstr>ブラジル／政策動向</vt:lpstr>
      <vt:lpstr>ブラジル／政策動向</vt:lpstr>
      <vt:lpstr>ブラジル／政策動向</vt:lpstr>
      <vt:lpstr>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lpstr>ブラジル／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更新countryreport_Brazil_20221201</dc:title>
  <dc:creator>TOKSPC Yang Fan</dc:creator>
  <cp:lastModifiedBy>Yukiko Fukushima</cp:lastModifiedBy>
  <cp:revision>5752</cp:revision>
  <cp:lastPrinted>2023-03-27T01:41:39Z</cp:lastPrinted>
  <dcterms:created xsi:type="dcterms:W3CDTF">2014-08-05T09:20:40Z</dcterms:created>
  <dcterms:modified xsi:type="dcterms:W3CDTF">2023-03-30T06:17: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